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media/image23.bin" ContentType="image/unknown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media/image32.jpg" ContentType="image/jpg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0" r:id="rId5"/>
    <p:sldMasterId id="2147483799" r:id="rId6"/>
    <p:sldMasterId id="2147483803" r:id="rId7"/>
    <p:sldMasterId id="2147483806" r:id="rId8"/>
  </p:sldMasterIdLst>
  <p:notesMasterIdLst>
    <p:notesMasterId r:id="rId30"/>
  </p:notesMasterIdLst>
  <p:handoutMasterIdLst>
    <p:handoutMasterId r:id="rId31"/>
  </p:handoutMasterIdLst>
  <p:sldIdLst>
    <p:sldId id="597" r:id="rId9"/>
    <p:sldId id="7188" r:id="rId10"/>
    <p:sldId id="7187" r:id="rId11"/>
    <p:sldId id="7189" r:id="rId12"/>
    <p:sldId id="2651" r:id="rId13"/>
    <p:sldId id="2634" r:id="rId14"/>
    <p:sldId id="2642" r:id="rId15"/>
    <p:sldId id="7190" r:id="rId16"/>
    <p:sldId id="606" r:id="rId17"/>
    <p:sldId id="357" r:id="rId18"/>
    <p:sldId id="7182" r:id="rId19"/>
    <p:sldId id="7185" r:id="rId20"/>
    <p:sldId id="7183" r:id="rId21"/>
    <p:sldId id="7186" r:id="rId22"/>
    <p:sldId id="7184" r:id="rId23"/>
    <p:sldId id="2692" r:id="rId24"/>
    <p:sldId id="7176" r:id="rId25"/>
    <p:sldId id="588" r:id="rId26"/>
    <p:sldId id="621" r:id="rId27"/>
    <p:sldId id="623" r:id="rId28"/>
    <p:sldId id="2693" r:id="rId29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64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2750" userDrawn="1">
          <p15:clr>
            <a:srgbClr val="A4A3A4"/>
          </p15:clr>
        </p15:guide>
        <p15:guide id="7" orient="horz" pos="3521" userDrawn="1">
          <p15:clr>
            <a:srgbClr val="A4A3A4"/>
          </p15:clr>
        </p15:guide>
        <p15:guide id="13" orient="horz" pos="2818" userDrawn="1">
          <p15:clr>
            <a:srgbClr val="A4A3A4"/>
          </p15:clr>
        </p15:guide>
        <p15:guide id="14" orient="horz" pos="3612" userDrawn="1">
          <p15:clr>
            <a:srgbClr val="A4A3A4"/>
          </p15:clr>
        </p15:guide>
        <p15:guide id="15" pos="393" userDrawn="1">
          <p15:clr>
            <a:srgbClr val="A4A3A4"/>
          </p15:clr>
        </p15:guide>
        <p15:guide id="16" pos="2411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orient="horz" pos="2478" userDrawn="1">
          <p15:clr>
            <a:srgbClr val="A4A3A4"/>
          </p15:clr>
        </p15:guide>
        <p15:guide id="19" pos="7219" userDrawn="1">
          <p15:clr>
            <a:srgbClr val="A4A3A4"/>
          </p15:clr>
        </p15:guide>
        <p15:guide id="20" orient="horz" pos="890" userDrawn="1">
          <p15:clr>
            <a:srgbClr val="A4A3A4"/>
          </p15:clr>
        </p15:guide>
        <p15:guide id="21" pos="43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Бейгер Мария Игоревна" initials="БМИ" lastIdx="26" clrIdx="0">
    <p:extLst>
      <p:ext uri="{19B8F6BF-5375-455C-9EA6-DF929625EA0E}">
        <p15:presenceInfo xmlns:p15="http://schemas.microsoft.com/office/powerpoint/2012/main" userId="S-1-5-21-2356986669-2968398607-3214276193-36580" providerId="AD"/>
      </p:ext>
    </p:extLst>
  </p:cmAuthor>
  <p:cmAuthor id="2" name="Музыка Анна Александровна" initials="МАА" lastIdx="3" clrIdx="1">
    <p:extLst>
      <p:ext uri="{19B8F6BF-5375-455C-9EA6-DF929625EA0E}">
        <p15:presenceInfo xmlns:p15="http://schemas.microsoft.com/office/powerpoint/2012/main" userId="S-1-5-21-2356986669-2968398607-3214276193-41335" providerId="AD"/>
      </p:ext>
    </p:extLst>
  </p:cmAuthor>
  <p:cmAuthor id="3" name="Шевченко Анна Андреевна" initials="ШАА" lastIdx="5" clrIdx="2">
    <p:extLst>
      <p:ext uri="{19B8F6BF-5375-455C-9EA6-DF929625EA0E}">
        <p15:presenceInfo xmlns:p15="http://schemas.microsoft.com/office/powerpoint/2012/main" userId="S-1-5-21-2356986669-2968398607-3214276193-8429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D31B"/>
    <a:srgbClr val="0078DC"/>
    <a:srgbClr val="0775BB"/>
    <a:srgbClr val="5E5E5E"/>
    <a:srgbClr val="ED8C1C"/>
    <a:srgbClr val="FFEA00"/>
    <a:srgbClr val="FFCC66"/>
    <a:srgbClr val="FFFF00"/>
    <a:srgbClr val="363636"/>
    <a:srgbClr val="E625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93" autoAdjust="0"/>
    <p:restoredTop sz="93883" autoAdjust="0"/>
  </p:normalViewPr>
  <p:slideViewPr>
    <p:cSldViewPr snapToGrid="0">
      <p:cViewPr varScale="1">
        <p:scale>
          <a:sx n="47" d="100"/>
          <a:sy n="47" d="100"/>
        </p:scale>
        <p:origin x="29" y="451"/>
      </p:cViewPr>
      <p:guideLst>
        <p:guide orient="horz" pos="2364"/>
        <p:guide orient="horz" pos="3974"/>
        <p:guide orient="horz" pos="2750"/>
        <p:guide orient="horz" pos="3521"/>
        <p:guide orient="horz" pos="2818"/>
        <p:guide orient="horz" pos="3612"/>
        <p:guide pos="393"/>
        <p:guide pos="2411"/>
        <p:guide orient="horz" pos="2954"/>
        <p:guide orient="horz" pos="2478"/>
        <p:guide pos="7219"/>
        <p:guide orient="horz" pos="890"/>
        <p:guide pos="43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7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в выработке тепловых электростанций России</c:v>
                </c:pt>
              </c:strCache>
            </c:strRef>
          </c:tx>
          <c:spPr>
            <a:solidFill>
              <a:srgbClr val="0078DC"/>
            </a:solidFill>
            <a:ln>
              <a:noFill/>
            </a:ln>
          </c:spPr>
          <c:dPt>
            <c:idx val="0"/>
            <c:bubble3D val="0"/>
            <c:spPr>
              <a:solidFill>
                <a:srgbClr val="69AB4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675-449D-9352-3F3BD04A637E}"/>
              </c:ext>
            </c:extLst>
          </c:dPt>
          <c:dPt>
            <c:idx val="1"/>
            <c:bubble3D val="0"/>
            <c:spPr>
              <a:solidFill>
                <a:srgbClr val="0078D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675-449D-9352-3F3BD04A637E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.7</c:v>
                </c:pt>
                <c:pt idx="1">
                  <c:v>9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75-449D-9352-3F3BD04A63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в выработке тепловых электростанций России</c:v>
                </c:pt>
              </c:strCache>
            </c:strRef>
          </c:tx>
          <c:spPr>
            <a:solidFill>
              <a:srgbClr val="0078DC"/>
            </a:solidFill>
            <a:ln>
              <a:noFill/>
            </a:ln>
          </c:spPr>
          <c:dPt>
            <c:idx val="0"/>
            <c:bubble3D val="0"/>
            <c:spPr>
              <a:solidFill>
                <a:srgbClr val="69AB4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85B-429B-B016-0CA4A97AA78D}"/>
              </c:ext>
            </c:extLst>
          </c:dPt>
          <c:dPt>
            <c:idx val="1"/>
            <c:bubble3D val="0"/>
            <c:spPr>
              <a:solidFill>
                <a:srgbClr val="0078D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85B-429B-B016-0CA4A97AA78D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.5999999999999996</c:v>
                </c:pt>
                <c:pt idx="1">
                  <c:v>9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5B-429B-B016-0CA4A97AA7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D17DAE-0CB4-4D14-924D-756A8586C814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8AEC6A0-8F4B-49C5-9B68-CCE7333BB200}">
      <dgm:prSet phldrT="[Текст]" custT="1"/>
      <dgm:spPr>
        <a:solidFill>
          <a:srgbClr val="0078DC"/>
        </a:solidFill>
        <a:ln>
          <a:noFill/>
        </a:ln>
      </dgm:spPr>
      <dgm:t>
        <a:bodyPr/>
        <a:lstStyle/>
        <a:p>
          <a:pPr algn="ctr"/>
          <a:r>
            <a:rPr lang="ru-RU" sz="2000" dirty="0"/>
            <a:t>студент 1-4 курса</a:t>
          </a:r>
        </a:p>
        <a:p>
          <a:pPr algn="ctr"/>
          <a:endParaRPr lang="ru-RU" sz="2000" dirty="0"/>
        </a:p>
        <a:p>
          <a:pPr algn="ctr"/>
          <a:r>
            <a:rPr lang="ru-RU" sz="2000" dirty="0"/>
            <a:t>участник отборочного тура от Общества в учебном заведении</a:t>
          </a:r>
        </a:p>
        <a:p>
          <a:pPr algn="ctr"/>
          <a:endParaRPr lang="ru-RU" sz="2000" dirty="0"/>
        </a:p>
        <a:p>
          <a:pPr algn="ctr"/>
          <a:r>
            <a:rPr lang="ru-RU" sz="2000" dirty="0"/>
            <a:t>успешный финалист этапов тестирования и интервью</a:t>
          </a:r>
        </a:p>
        <a:p>
          <a:pPr algn="ctr"/>
          <a:endParaRPr lang="ru-RU" sz="1700" dirty="0"/>
        </a:p>
      </dgm:t>
    </dgm:pt>
    <dgm:pt modelId="{B9BB001D-9F3E-4D9E-A9E2-5AB34241D63B}" type="parTrans" cxnId="{BCCE4960-A82C-4DEF-A7D1-1ED587B800CA}">
      <dgm:prSet/>
      <dgm:spPr/>
      <dgm:t>
        <a:bodyPr/>
        <a:lstStyle/>
        <a:p>
          <a:endParaRPr lang="ru-RU"/>
        </a:p>
      </dgm:t>
    </dgm:pt>
    <dgm:pt modelId="{F04916FA-B395-474B-84E3-B0C75F07E2F1}" type="sibTrans" cxnId="{BCCE4960-A82C-4DEF-A7D1-1ED587B800CA}">
      <dgm:prSet/>
      <dgm:spPr/>
      <dgm:t>
        <a:bodyPr/>
        <a:lstStyle/>
        <a:p>
          <a:endParaRPr lang="ru-RU"/>
        </a:p>
      </dgm:t>
    </dgm:pt>
    <dgm:pt modelId="{735E5033-B2F9-47AA-BE44-74C84EF862CB}">
      <dgm:prSet phldrT="[Текст]" custT="1"/>
      <dgm:spPr>
        <a:noFill/>
        <a:ln>
          <a:noFill/>
        </a:ln>
      </dgm:spPr>
      <dgm:t>
        <a:bodyPr/>
        <a:lstStyle/>
        <a:p>
          <a:pPr algn="ctr"/>
          <a:r>
            <a:rPr lang="ru-RU" sz="2000" dirty="0"/>
            <a:t>студент получает стипендию 9000 рублей*</a:t>
          </a:r>
        </a:p>
        <a:p>
          <a:pPr algn="ctr"/>
          <a:endParaRPr lang="ru-RU" sz="2000" dirty="0"/>
        </a:p>
        <a:p>
          <a:pPr algn="ctr"/>
          <a:r>
            <a:rPr lang="ru-RU" sz="2000" dirty="0"/>
            <a:t>гарантированное место для прохождения практики</a:t>
          </a:r>
        </a:p>
        <a:p>
          <a:pPr algn="ctr"/>
          <a:endParaRPr lang="ru-RU" sz="2000" dirty="0"/>
        </a:p>
        <a:p>
          <a:pPr algn="l"/>
          <a:r>
            <a:rPr lang="ru-RU" sz="1600" dirty="0"/>
            <a:t>*на 2023 год</a:t>
          </a:r>
        </a:p>
        <a:p>
          <a:pPr algn="ctr"/>
          <a:endParaRPr lang="ru-RU" sz="1700" dirty="0"/>
        </a:p>
      </dgm:t>
    </dgm:pt>
    <dgm:pt modelId="{F1AA50F5-58CB-47E6-A517-26F962FBB297}" type="parTrans" cxnId="{E6439C22-747D-4641-B2D9-C1B649B3328B}">
      <dgm:prSet/>
      <dgm:spPr/>
      <dgm:t>
        <a:bodyPr/>
        <a:lstStyle/>
        <a:p>
          <a:endParaRPr lang="ru-RU"/>
        </a:p>
      </dgm:t>
    </dgm:pt>
    <dgm:pt modelId="{CF6A1512-E20A-423B-8036-5F65394EEBF2}" type="sibTrans" cxnId="{E6439C22-747D-4641-B2D9-C1B649B3328B}">
      <dgm:prSet/>
      <dgm:spPr/>
      <dgm:t>
        <a:bodyPr/>
        <a:lstStyle/>
        <a:p>
          <a:endParaRPr lang="ru-RU"/>
        </a:p>
      </dgm:t>
    </dgm:pt>
    <dgm:pt modelId="{09E5BCBA-F29C-4007-B00B-DA9C55864C6B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2000" dirty="0"/>
            <a:t>гарантированное трудоустройство</a:t>
          </a:r>
        </a:p>
        <a:p>
          <a:endParaRPr lang="ru-RU" sz="2000" dirty="0"/>
        </a:p>
        <a:p>
          <a:r>
            <a:rPr lang="ru-RU" sz="2000" dirty="0"/>
            <a:t>минимум времени на адаптацию</a:t>
          </a:r>
        </a:p>
        <a:p>
          <a:endParaRPr lang="ru-RU" sz="2000" dirty="0"/>
        </a:p>
        <a:p>
          <a:r>
            <a:rPr lang="ru-RU" sz="2000" dirty="0"/>
            <a:t>знакомый коллектив</a:t>
          </a:r>
        </a:p>
        <a:p>
          <a:endParaRPr lang="ru-RU" sz="2000" dirty="0"/>
        </a:p>
        <a:p>
          <a:endParaRPr lang="ru-RU" sz="1800" dirty="0"/>
        </a:p>
        <a:p>
          <a:endParaRPr lang="ru-RU" sz="1800" dirty="0"/>
        </a:p>
      </dgm:t>
    </dgm:pt>
    <dgm:pt modelId="{F2D3B47C-A3D0-461D-A2F8-6F550E4E4268}" type="parTrans" cxnId="{1C1F75F6-7BAA-46B8-8177-0A08DD73D677}">
      <dgm:prSet/>
      <dgm:spPr/>
      <dgm:t>
        <a:bodyPr/>
        <a:lstStyle/>
        <a:p>
          <a:endParaRPr lang="ru-RU"/>
        </a:p>
      </dgm:t>
    </dgm:pt>
    <dgm:pt modelId="{26F744D3-B172-47AB-918C-5C70605CAADD}" type="sibTrans" cxnId="{1C1F75F6-7BAA-46B8-8177-0A08DD73D677}">
      <dgm:prSet/>
      <dgm:spPr/>
      <dgm:t>
        <a:bodyPr/>
        <a:lstStyle/>
        <a:p>
          <a:endParaRPr lang="ru-RU"/>
        </a:p>
      </dgm:t>
    </dgm:pt>
    <dgm:pt modelId="{2CC7F919-24D3-4004-9685-1924E710335F}" type="pres">
      <dgm:prSet presAssocID="{B4D17DAE-0CB4-4D14-924D-756A8586C814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AE88E07-BD24-406C-81BB-AD56D9CAFF14}" type="pres">
      <dgm:prSet presAssocID="{E8AEC6A0-8F4B-49C5-9B68-CCE7333BB200}" presName="node" presStyleLbl="node1" presStyleIdx="0" presStyleCnt="3" custScaleX="46479" custLinFactNeighborX="-5458" custLinFactNeighborY="3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729248-CAFE-49D2-841B-85DAB6DEF494}" type="pres">
      <dgm:prSet presAssocID="{F04916FA-B395-474B-84E3-B0C75F07E2F1}" presName="sibTrans" presStyleCnt="0"/>
      <dgm:spPr/>
    </dgm:pt>
    <dgm:pt modelId="{7D235315-C091-47AF-A768-86E8381968E7}" type="pres">
      <dgm:prSet presAssocID="{735E5033-B2F9-47AA-BE44-74C84EF862CB}" presName="node" presStyleLbl="node1" presStyleIdx="1" presStyleCnt="3" custScaleX="44100" custLinFactNeighborX="-5124" custLinFactNeighborY="-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9CAE0A-A885-4F2B-A5A3-9D997C04F18D}" type="pres">
      <dgm:prSet presAssocID="{CF6A1512-E20A-423B-8036-5F65394EEBF2}" presName="sibTrans" presStyleCnt="0"/>
      <dgm:spPr/>
    </dgm:pt>
    <dgm:pt modelId="{F944F395-95A2-4D84-BB27-B1B53791ADF4}" type="pres">
      <dgm:prSet presAssocID="{09E5BCBA-F29C-4007-B00B-DA9C55864C6B}" presName="node" presStyleLbl="node1" presStyleIdx="2" presStyleCnt="3" custScaleX="41004" custLinFactNeighborX="-53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C1F75F6-7BAA-46B8-8177-0A08DD73D677}" srcId="{B4D17DAE-0CB4-4D14-924D-756A8586C814}" destId="{09E5BCBA-F29C-4007-B00B-DA9C55864C6B}" srcOrd="2" destOrd="0" parTransId="{F2D3B47C-A3D0-461D-A2F8-6F550E4E4268}" sibTransId="{26F744D3-B172-47AB-918C-5C70605CAADD}"/>
    <dgm:cxn modelId="{1D18576B-AB2F-4E71-85C6-50ADC857409D}" type="presOf" srcId="{735E5033-B2F9-47AA-BE44-74C84EF862CB}" destId="{7D235315-C091-47AF-A768-86E8381968E7}" srcOrd="0" destOrd="0" presId="urn:microsoft.com/office/officeart/2005/8/layout/default"/>
    <dgm:cxn modelId="{E6439C22-747D-4641-B2D9-C1B649B3328B}" srcId="{B4D17DAE-0CB4-4D14-924D-756A8586C814}" destId="{735E5033-B2F9-47AA-BE44-74C84EF862CB}" srcOrd="1" destOrd="0" parTransId="{F1AA50F5-58CB-47E6-A517-26F962FBB297}" sibTransId="{CF6A1512-E20A-423B-8036-5F65394EEBF2}"/>
    <dgm:cxn modelId="{15F0D7B8-5273-401E-9140-0B81A31A10BA}" type="presOf" srcId="{B4D17DAE-0CB4-4D14-924D-756A8586C814}" destId="{2CC7F919-24D3-4004-9685-1924E710335F}" srcOrd="0" destOrd="0" presId="urn:microsoft.com/office/officeart/2005/8/layout/default"/>
    <dgm:cxn modelId="{27A00382-B608-4BD4-8D4F-904C49F8D289}" type="presOf" srcId="{09E5BCBA-F29C-4007-B00B-DA9C55864C6B}" destId="{F944F395-95A2-4D84-BB27-B1B53791ADF4}" srcOrd="0" destOrd="0" presId="urn:microsoft.com/office/officeart/2005/8/layout/default"/>
    <dgm:cxn modelId="{E1ABB3CE-0B3A-4A6C-B107-7FCAC948EA90}" type="presOf" srcId="{E8AEC6A0-8F4B-49C5-9B68-CCE7333BB200}" destId="{8AE88E07-BD24-406C-81BB-AD56D9CAFF14}" srcOrd="0" destOrd="0" presId="urn:microsoft.com/office/officeart/2005/8/layout/default"/>
    <dgm:cxn modelId="{BCCE4960-A82C-4DEF-A7D1-1ED587B800CA}" srcId="{B4D17DAE-0CB4-4D14-924D-756A8586C814}" destId="{E8AEC6A0-8F4B-49C5-9B68-CCE7333BB200}" srcOrd="0" destOrd="0" parTransId="{B9BB001D-9F3E-4D9E-A9E2-5AB34241D63B}" sibTransId="{F04916FA-B395-474B-84E3-B0C75F07E2F1}"/>
    <dgm:cxn modelId="{4CE0676F-0EA1-4B3F-81D8-B4D2551B472E}" type="presParOf" srcId="{2CC7F919-24D3-4004-9685-1924E710335F}" destId="{8AE88E07-BD24-406C-81BB-AD56D9CAFF14}" srcOrd="0" destOrd="0" presId="urn:microsoft.com/office/officeart/2005/8/layout/default"/>
    <dgm:cxn modelId="{A175C561-D278-47BE-941D-6DFD7DCD3DD3}" type="presParOf" srcId="{2CC7F919-24D3-4004-9685-1924E710335F}" destId="{FF729248-CAFE-49D2-841B-85DAB6DEF494}" srcOrd="1" destOrd="0" presId="urn:microsoft.com/office/officeart/2005/8/layout/default"/>
    <dgm:cxn modelId="{DB6ED8AE-1295-4F5C-8590-7AF081CC04ED}" type="presParOf" srcId="{2CC7F919-24D3-4004-9685-1924E710335F}" destId="{7D235315-C091-47AF-A768-86E8381968E7}" srcOrd="2" destOrd="0" presId="urn:microsoft.com/office/officeart/2005/8/layout/default"/>
    <dgm:cxn modelId="{4316A126-AFC7-46C9-B29E-D824DC5A67C3}" type="presParOf" srcId="{2CC7F919-24D3-4004-9685-1924E710335F}" destId="{C59CAE0A-A885-4F2B-A5A3-9D997C04F18D}" srcOrd="3" destOrd="0" presId="urn:microsoft.com/office/officeart/2005/8/layout/default"/>
    <dgm:cxn modelId="{776B205E-9A9F-4ADF-BF1D-EFB25AD4F68F}" type="presParOf" srcId="{2CC7F919-24D3-4004-9685-1924E710335F}" destId="{F944F395-95A2-4D84-BB27-B1B53791ADF4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E88E07-BD24-406C-81BB-AD56D9CAFF14}">
      <dsp:nvSpPr>
        <dsp:cNvPr id="0" name=""/>
        <dsp:cNvSpPr/>
      </dsp:nvSpPr>
      <dsp:spPr>
        <a:xfrm>
          <a:off x="692041" y="592"/>
          <a:ext cx="3061397" cy="3951975"/>
        </a:xfrm>
        <a:prstGeom prst="rect">
          <a:avLst/>
        </a:prstGeom>
        <a:solidFill>
          <a:srgbClr val="0078DC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студент 1-4 курса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участник отборочного тура от Общества в учебном заведении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успешный финалист этапов тестирования и интервью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 dirty="0"/>
        </a:p>
      </dsp:txBody>
      <dsp:txXfrm>
        <a:off x="692041" y="592"/>
        <a:ext cx="3061397" cy="3951975"/>
      </dsp:txXfrm>
    </dsp:sp>
    <dsp:sp modelId="{7D235315-C091-47AF-A768-86E8381968E7}">
      <dsp:nvSpPr>
        <dsp:cNvPr id="0" name=""/>
        <dsp:cNvSpPr/>
      </dsp:nvSpPr>
      <dsp:spPr>
        <a:xfrm>
          <a:off x="4434101" y="19"/>
          <a:ext cx="2904701" cy="3951975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студент получает стипендию 9000 рублей*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гарантированное место для прохождения практики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*на 2023 год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 dirty="0"/>
        </a:p>
      </dsp:txBody>
      <dsp:txXfrm>
        <a:off x="4434101" y="19"/>
        <a:ext cx="2904701" cy="3951975"/>
      </dsp:txXfrm>
    </dsp:sp>
    <dsp:sp modelId="{F944F395-95A2-4D84-BB27-B1B53791ADF4}">
      <dsp:nvSpPr>
        <dsp:cNvPr id="0" name=""/>
        <dsp:cNvSpPr/>
      </dsp:nvSpPr>
      <dsp:spPr>
        <a:xfrm>
          <a:off x="7983106" y="296"/>
          <a:ext cx="2700779" cy="3951975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гарантированное трудоустройство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минимум времени на адаптацию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/>
            <a:t>знакомый коллектив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/>
        </a:p>
      </dsp:txBody>
      <dsp:txXfrm>
        <a:off x="7983106" y="296"/>
        <a:ext cx="2700779" cy="39519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E6317-AD28-4B98-BB3E-EFD2E34F51D4}" type="datetimeFigureOut">
              <a:rPr lang="ru-RU" smtClean="0"/>
              <a:t>21.11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1D172-0742-4393-BAB0-33DF1CF4E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4797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406194-630E-42D5-9E72-FA13795A31A5}" type="datetimeFigureOut">
              <a:rPr lang="ru-RU" smtClean="0"/>
              <a:t>21.11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EDEE80-DBD8-440B-94ED-F3005F728B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00671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85A4D9-18F6-41DC-BAE5-D67C4F81C72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3733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0"/>
          <a:stretch/>
        </p:blipFill>
        <p:spPr>
          <a:xfrm>
            <a:off x="3564" y="-8467"/>
            <a:ext cx="12197961" cy="6862119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62857" y="539039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795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 userDrawn="1">
          <p15:clr>
            <a:srgbClr val="FBAE40"/>
          </p15:clr>
        </p15:guide>
        <p15:guide id="2" pos="438" userDrawn="1">
          <p15:clr>
            <a:srgbClr val="FBAE40"/>
          </p15:clr>
        </p15:guide>
        <p15:guide id="3" orient="horz" pos="365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а Юнипро_синий лого на белом фон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2CB0A440-F26D-49A2-A7ED-79C4CF7903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dirty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E2A755CE-E0F0-4F78-9EC6-2B22134C65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smtClean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D543ADB-E95E-4587-963D-D3C6AB2E96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33199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78DC"/>
              </a:buClr>
              <a:buAutoNum type="arabicPeriod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944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B93E0F38-D7CD-4B0A-B7AC-C04A4514A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dirty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C3656A4B-6258-4B96-BB22-F340A61F74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smtClean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D543ADB-E95E-4587-963D-D3C6AB2E96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685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3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78DC"/>
              </a:buClr>
              <a:buAutoNum type="arabicPeriod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12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ED8C1C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E61EABF-4FDD-46D7-8C6B-AEE8EBCF02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dirty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2A28A7F-E80C-49FD-BD96-5CCC83283F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smtClean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D543ADB-E95E-4587-963D-D3C6AB2E96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477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раздел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78DC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4E432FEA-89EC-4305-AA1A-B74E427D4E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dirty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70E064F-F284-486B-B3F6-9631DBE47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smtClean="0">
                <a:solidFill>
                  <a:srgbClr val="0078DC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D543ADB-E95E-4587-963D-D3C6AB2E96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9848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per blue wor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68" b="2112"/>
          <a:stretch/>
        </p:blipFill>
        <p:spPr>
          <a:xfrm>
            <a:off x="-16945" y="-36992"/>
            <a:ext cx="12208945" cy="689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190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niper Blue wor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7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0441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Uniper Blue wor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4" y="0"/>
            <a:ext cx="121877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8268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5928" b="-1"/>
          <a:stretch/>
        </p:blipFill>
        <p:spPr>
          <a:xfrm>
            <a:off x="0" y="-7434"/>
            <a:ext cx="12192000" cy="686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6127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bg>
      <p:bgPr>
        <a:blipFill dpi="0" rotWithShape="1">
          <a:blip r:embed="rId2">
            <a:alphaModFix amt="96000"/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106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7C3E7DA1-0C87-4B3C-BD3E-AE55A6DB5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1E3F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BABCCE0A-672C-4D7F-879E-105521C27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C1E3FC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Текст 21">
            <a:extLst>
              <a:ext uri="{FF2B5EF4-FFF2-40B4-BE49-F238E27FC236}">
                <a16:creationId xmlns:a16="http://schemas.microsoft.com/office/drawing/2014/main" id="{661CC988-6D3B-4171-B07D-BC1D350A50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Текст 12">
            <a:extLst>
              <a:ext uri="{FF2B5EF4-FFF2-40B4-BE49-F238E27FC236}">
                <a16:creationId xmlns:a16="http://schemas.microsoft.com/office/drawing/2014/main" id="{35CFB56F-E16F-42D3-9971-6897E82EF4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chemeClr val="bg1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  <a:endParaRPr lang="ru-RU" dirty="0"/>
          </a:p>
          <a:p>
            <a:pPr lvl="0"/>
            <a:endParaRPr lang="en-US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3527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лист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7" y="0"/>
            <a:ext cx="5188585" cy="2931268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4"/>
          <a:stretch/>
        </p:blipFill>
        <p:spPr>
          <a:xfrm>
            <a:off x="0" y="-1044"/>
            <a:ext cx="12192000" cy="6859043"/>
          </a:xfrm>
          <a:prstGeom prst="rect">
            <a:avLst/>
          </a:prstGeom>
        </p:spPr>
      </p:pic>
      <p:sp>
        <p:nvSpPr>
          <p:cNvPr id="13" name="Текст 2"/>
          <p:cNvSpPr>
            <a:spLocks noGrp="1"/>
          </p:cNvSpPr>
          <p:nvPr>
            <p:ph type="body" sz="quarter" idx="11" hasCustomPrompt="1"/>
          </p:nvPr>
        </p:nvSpPr>
        <p:spPr>
          <a:xfrm>
            <a:off x="653331" y="5537993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01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3748" userDrawn="1">
          <p15:clr>
            <a:srgbClr val="FBAE40"/>
          </p15:clr>
        </p15:guide>
        <p15:guide id="1" orient="horz" pos="436" userDrawn="1">
          <p15:clr>
            <a:srgbClr val="FBAE40"/>
          </p15:clr>
        </p15:guide>
        <p15:guide id="2" pos="438" userDrawn="1">
          <p15:clr>
            <a:srgbClr val="FBAE40"/>
          </p15:clr>
        </p15:guide>
        <p15:guide id="3" pos="63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7C3E7DA1-0C87-4B3C-BD3E-AE55A6DB5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1E3F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BABCCE0A-672C-4D7F-879E-105521C27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C1E3FC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Текст 21">
            <a:extLst>
              <a:ext uri="{FF2B5EF4-FFF2-40B4-BE49-F238E27FC236}">
                <a16:creationId xmlns:a16="http://schemas.microsoft.com/office/drawing/2014/main" id="{661CC988-6D3B-4171-B07D-BC1D350A50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Текст 12">
            <a:extLst>
              <a:ext uri="{FF2B5EF4-FFF2-40B4-BE49-F238E27FC236}">
                <a16:creationId xmlns:a16="http://schemas.microsoft.com/office/drawing/2014/main" id="{35CFB56F-E16F-42D3-9971-6897E82EF4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chemeClr val="bg1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  <a:endParaRPr lang="ru-RU" dirty="0"/>
          </a:p>
          <a:p>
            <a:pPr lvl="0"/>
            <a:endParaRPr lang="en-US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42245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A457A66-633A-4F96-8130-915EAB9289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42" b="388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3703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7D8467-4986-4E09-B566-DD6F9A028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AFBC788-0EC7-4FA1-A56C-C5406E7E42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92A7799-68AE-48BE-8593-DB270EF09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65209-E6BD-4D9B-9A6C-3E79CAE61F41}" type="datetimeFigureOut">
              <a:rPr lang="ru-RU" smtClean="0"/>
              <a:t>21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881637-1BA9-47A5-BA41-AC60AE202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6904C02-719D-4A33-B2FD-99EE6B39D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793B7-D27F-4EB9-B0DD-60790AB828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8843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лист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317AE9A4-18CD-4D4C-9094-6DF329350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D5B515D4-C7A9-4991-AB17-18F8D53D59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3782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7E3F9A26-CBEF-46E5-98A7-27422D83C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D130E2E0-E4C4-48CE-8C7A-039B3384E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D543ADB-E95E-4587-963D-D3C6AB2E96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Текст 21">
            <a:extLst>
              <a:ext uri="{FF2B5EF4-FFF2-40B4-BE49-F238E27FC236}">
                <a16:creationId xmlns:a16="http://schemas.microsoft.com/office/drawing/2014/main" id="{0C999D3B-330F-4835-B1D3-28650ACDEB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1055" y="333404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78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51771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7E3F9A26-CBEF-46E5-98A7-27422D83C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D130E2E0-E4C4-48CE-8C7A-039B3384E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D543ADB-E95E-4587-963D-D3C6AB2E96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Текст 21">
            <a:extLst>
              <a:ext uri="{FF2B5EF4-FFF2-40B4-BE49-F238E27FC236}">
                <a16:creationId xmlns:a16="http://schemas.microsoft.com/office/drawing/2014/main" id="{39DAA9C5-0A5E-4B6B-BFE1-15F0205BD8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1055" y="333404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78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19983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bg>
      <p:bgPr>
        <a:solidFill>
          <a:srgbClr val="0078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8C3E1A80-78DA-48D3-98B2-021EC074D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5A67E6E-3DB6-4D80-81F4-E2B0F3E9E4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EB2524B-4345-41EE-8E50-3DF816A64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8F0988-0D73-493C-B74C-CE60A8D891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63354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7E3F9A26-CBEF-46E5-98A7-27422D83C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D130E2E0-E4C4-48CE-8C7A-039B3384E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lang="de-DE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D543ADB-E95E-4587-963D-D3C6AB2E96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36677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51CB3D20-D358-4BBC-BA31-B28B5DC75C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FECC6ECC-6686-4B53-ADE8-AAF308199E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22600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51CB3D20-D358-4BBC-BA31-B28B5DC75C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FECC6ECC-6686-4B53-ADE8-AAF308199E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4900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89743"/>
            <a:ext cx="3132138" cy="187928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68" b="2112"/>
          <a:stretch/>
        </p:blipFill>
        <p:spPr>
          <a:xfrm>
            <a:off x="-8473" y="0"/>
            <a:ext cx="12208945" cy="6894992"/>
          </a:xfrm>
          <a:prstGeom prst="rect">
            <a:avLst/>
          </a:prstGeom>
        </p:spPr>
      </p:pic>
      <p:sp>
        <p:nvSpPr>
          <p:cNvPr id="6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736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pos="2434" userDrawn="1">
          <p15:clr>
            <a:srgbClr val="FBAE40"/>
          </p15:clr>
        </p15:guide>
        <p15:guide id="5" orient="horz" pos="1457" userDrawn="1">
          <p15:clr>
            <a:srgbClr val="FBAE40"/>
          </p15:clr>
        </p15:guide>
        <p15:guide id="6" orient="horz" pos="43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0"/>
          <a:stretch/>
        </p:blipFill>
        <p:spPr>
          <a:xfrm>
            <a:off x="3564" y="-8467"/>
            <a:ext cx="12197961" cy="6862119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62857" y="539039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623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38">
          <p15:clr>
            <a:srgbClr val="FBAE40"/>
          </p15:clr>
        </p15:guide>
        <p15:guide id="3" orient="horz" pos="365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лист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7" y="0"/>
            <a:ext cx="5188585" cy="2931268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4"/>
          <a:stretch/>
        </p:blipFill>
        <p:spPr>
          <a:xfrm>
            <a:off x="0" y="-1044"/>
            <a:ext cx="12192000" cy="6859043"/>
          </a:xfrm>
          <a:prstGeom prst="rect">
            <a:avLst/>
          </a:prstGeom>
        </p:spPr>
      </p:pic>
      <p:sp>
        <p:nvSpPr>
          <p:cNvPr id="13" name="Текст 2"/>
          <p:cNvSpPr>
            <a:spLocks noGrp="1"/>
          </p:cNvSpPr>
          <p:nvPr>
            <p:ph type="body" sz="quarter" idx="11" hasCustomPrompt="1"/>
          </p:nvPr>
        </p:nvSpPr>
        <p:spPr>
          <a:xfrm>
            <a:off x="653331" y="5537993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257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3748">
          <p15:clr>
            <a:srgbClr val="FBAE40"/>
          </p15:clr>
        </p15:guide>
        <p15:guide id="1" orient="horz" pos="436">
          <p15:clr>
            <a:srgbClr val="FBAE40"/>
          </p15:clr>
        </p15:guide>
        <p15:guide id="2" pos="438">
          <p15:clr>
            <a:srgbClr val="FBAE40"/>
          </p15:clr>
        </p15:guide>
        <p15:guide id="3" pos="63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89743"/>
            <a:ext cx="3132138" cy="187928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68" b="2112"/>
          <a:stretch/>
        </p:blipFill>
        <p:spPr>
          <a:xfrm>
            <a:off x="-8473" y="0"/>
            <a:ext cx="12208945" cy="6894992"/>
          </a:xfrm>
          <a:prstGeom prst="rect">
            <a:avLst/>
          </a:prstGeom>
        </p:spPr>
      </p:pic>
      <p:sp>
        <p:nvSpPr>
          <p:cNvPr id="6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182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2434">
          <p15:clr>
            <a:srgbClr val="FBAE40"/>
          </p15:clr>
        </p15:guide>
        <p15:guide id="5" orient="horz" pos="1457">
          <p15:clr>
            <a:srgbClr val="FBAE40"/>
          </p15:clr>
        </p15:guide>
        <p15:guide id="6" orient="horz" pos="43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67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01775"/>
            <a:ext cx="2016125" cy="1209674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08BF0F0-E1CB-44A6-90F2-902ADFDB757C}"/>
              </a:ext>
            </a:extLst>
          </p:cNvPr>
          <p:cNvSpPr/>
          <p:nvPr userDrawn="1"/>
        </p:nvSpPr>
        <p:spPr>
          <a:xfrm>
            <a:off x="0" y="5354198"/>
            <a:ext cx="1542361" cy="150380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44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6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057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323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990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4">
          <p15:clr>
            <a:srgbClr val="FBAE40"/>
          </p15:clr>
        </p15:guide>
        <p15:guide id="2" pos="1708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165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4">
          <p15:clr>
            <a:srgbClr val="FBAE40"/>
          </p15:clr>
        </p15:guide>
        <p15:guide id="2" pos="1708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Титульный лист - синий логотип Юнипр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01775"/>
            <a:ext cx="2016125" cy="120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104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17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лист - синий логотип Юнипр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01775"/>
            <a:ext cx="2016125" cy="120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98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лист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0821209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7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600" b="1" kern="1200" dirty="0" smtClean="0">
                <a:solidFill>
                  <a:srgbClr val="FFEA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036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лист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7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600" b="1" kern="1200" dirty="0" smtClean="0">
                <a:solidFill>
                  <a:srgbClr val="FFEA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5" name="Grafik 2">
            <a:extLst>
              <a:ext uri="{FF2B5EF4-FFF2-40B4-BE49-F238E27FC236}">
                <a16:creationId xmlns:a16="http://schemas.microsoft.com/office/drawing/2014/main" id="{66874557-BEB2-478D-9C99-F4A5EFC491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31479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78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а Юнипро_синий лого на белом фон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83707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78DC"/>
              </a:buClr>
              <a:buAutoNum type="arabicPeriod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944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0706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3840">
          <p15:clr>
            <a:srgbClr val="FBAE40"/>
          </p15:clr>
        </p15:guide>
        <p15:guide id="3" pos="33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78DC"/>
              </a:buClr>
              <a:buAutoNum type="arabicPeriod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12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ED8C1C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01684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раздел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69AB46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0496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раздел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78DC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84758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Титульный лист - синий логотип Юнипро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212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слайда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78DC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  <a:endParaRPr lang="ru-RU" dirty="0"/>
          </a:p>
          <a:p>
            <a:pPr lvl="0"/>
            <a:endParaRPr lang="en-US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30712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слайд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DE3A6B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  <a:endParaRPr lang="ru-RU" dirty="0"/>
          </a:p>
          <a:p>
            <a:pPr lvl="0"/>
            <a:endParaRPr lang="en-US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5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30224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слайда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800" b="1" kern="1200" dirty="0" smtClean="0">
                <a:solidFill>
                  <a:srgbClr val="ED8C1C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838" y="1479220"/>
            <a:ext cx="11167533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 (</a:t>
            </a:r>
            <a:r>
              <a:rPr lang="en-US" dirty="0"/>
              <a:t>Arial, 18)</a:t>
            </a:r>
            <a:endParaRPr lang="ru-RU" dirty="0"/>
          </a:p>
          <a:p>
            <a:pPr lvl="0"/>
            <a:endParaRPr lang="en-US" dirty="0"/>
          </a:p>
          <a:p>
            <a:pPr lvl="0"/>
            <a:endParaRPr lang="ru-RU" dirty="0"/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234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3840">
          <p15:clr>
            <a:srgbClr val="FBAE40"/>
          </p15:clr>
        </p15:guide>
        <p15:guide id="3" pos="33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Название слайда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12345" y="356802"/>
            <a:ext cx="10848000" cy="900000"/>
          </a:xfrm>
          <a:prstGeom prst="rect">
            <a:avLst/>
          </a:prstGeom>
        </p:spPr>
        <p:txBody>
          <a:bodyPr/>
          <a:lstStyle>
            <a:lvl1pPr>
              <a:defRPr lang="ru-RU" sz="2800" b="1" kern="1200" dirty="0">
                <a:solidFill>
                  <a:srgbClr val="0078DC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sz="half" idx="1"/>
          </p:nvPr>
        </p:nvSpPr>
        <p:spPr>
          <a:xfrm>
            <a:off x="412345" y="1370734"/>
            <a:ext cx="5184000" cy="4546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ru-RU" sz="1800" kern="1200" dirty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half" idx="2"/>
          </p:nvPr>
        </p:nvSpPr>
        <p:spPr>
          <a:xfrm>
            <a:off x="6121503" y="1370734"/>
            <a:ext cx="5184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970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33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слайда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89767" y="373736"/>
            <a:ext cx="10848000" cy="9000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0078DC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sz="half" idx="1"/>
          </p:nvPr>
        </p:nvSpPr>
        <p:spPr>
          <a:xfrm>
            <a:off x="378497" y="1328399"/>
            <a:ext cx="3456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half" idx="2"/>
          </p:nvPr>
        </p:nvSpPr>
        <p:spPr>
          <a:xfrm>
            <a:off x="4074497" y="1328399"/>
            <a:ext cx="3456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 dirty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9" name="Объект 5"/>
          <p:cNvSpPr>
            <a:spLocks noGrp="1"/>
          </p:cNvSpPr>
          <p:nvPr>
            <p:ph sz="half" idx="14"/>
          </p:nvPr>
        </p:nvSpPr>
        <p:spPr>
          <a:xfrm>
            <a:off x="7770497" y="1328400"/>
            <a:ext cx="3456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6949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33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  <p:grpSp>
        <p:nvGrpSpPr>
          <p:cNvPr id="391" name="Group 1"/>
          <p:cNvGrpSpPr>
            <a:grpSpLocks noChangeAspect="1"/>
          </p:cNvGrpSpPr>
          <p:nvPr userDrawn="1"/>
        </p:nvGrpSpPr>
        <p:grpSpPr bwMode="auto">
          <a:xfrm>
            <a:off x="932815" y="824881"/>
            <a:ext cx="12783185" cy="5670705"/>
            <a:chOff x="1" y="0"/>
            <a:chExt cx="11809" cy="4943"/>
          </a:xfrm>
        </p:grpSpPr>
        <p:sp>
          <p:nvSpPr>
            <p:cNvPr id="392" name="AutoShape 398"/>
            <p:cNvSpPr>
              <a:spLocks noChangeAspect="1" noChangeArrowheads="1" noTextEdit="1"/>
            </p:cNvSpPr>
            <p:nvPr/>
          </p:nvSpPr>
          <p:spPr bwMode="auto">
            <a:xfrm>
              <a:off x="1" y="0"/>
              <a:ext cx="11809" cy="4943"/>
            </a:xfrm>
            <a:prstGeom prst="rect">
              <a:avLst/>
            </a:prstGeom>
            <a:noFill/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397"/>
            <p:cNvSpPr>
              <a:spLocks/>
            </p:cNvSpPr>
            <p:nvPr/>
          </p:nvSpPr>
          <p:spPr bwMode="auto">
            <a:xfrm>
              <a:off x="1249" y="2391"/>
              <a:ext cx="496" cy="449"/>
            </a:xfrm>
            <a:custGeom>
              <a:avLst/>
              <a:gdLst>
                <a:gd name="T0" fmla="*/ 185 w 497"/>
                <a:gd name="T1" fmla="*/ 39 h 449"/>
                <a:gd name="T2" fmla="*/ 204 w 497"/>
                <a:gd name="T3" fmla="*/ 20 h 449"/>
                <a:gd name="T4" fmla="*/ 214 w 497"/>
                <a:gd name="T5" fmla="*/ 10 h 449"/>
                <a:gd name="T6" fmla="*/ 243 w 497"/>
                <a:gd name="T7" fmla="*/ 0 h 449"/>
                <a:gd name="T8" fmla="*/ 282 w 497"/>
                <a:gd name="T9" fmla="*/ 10 h 449"/>
                <a:gd name="T10" fmla="*/ 341 w 497"/>
                <a:gd name="T11" fmla="*/ 59 h 449"/>
                <a:gd name="T12" fmla="*/ 351 w 497"/>
                <a:gd name="T13" fmla="*/ 88 h 449"/>
                <a:gd name="T14" fmla="*/ 370 w 497"/>
                <a:gd name="T15" fmla="*/ 108 h 449"/>
                <a:gd name="T16" fmla="*/ 380 w 497"/>
                <a:gd name="T17" fmla="*/ 117 h 449"/>
                <a:gd name="T18" fmla="*/ 390 w 497"/>
                <a:gd name="T19" fmla="*/ 137 h 449"/>
                <a:gd name="T20" fmla="*/ 438 w 497"/>
                <a:gd name="T21" fmla="*/ 157 h 449"/>
                <a:gd name="T22" fmla="*/ 419 w 497"/>
                <a:gd name="T23" fmla="*/ 215 h 449"/>
                <a:gd name="T24" fmla="*/ 399 w 497"/>
                <a:gd name="T25" fmla="*/ 244 h 449"/>
                <a:gd name="T26" fmla="*/ 429 w 497"/>
                <a:gd name="T27" fmla="*/ 254 h 449"/>
                <a:gd name="T28" fmla="*/ 438 w 497"/>
                <a:gd name="T29" fmla="*/ 274 h 449"/>
                <a:gd name="T30" fmla="*/ 448 w 497"/>
                <a:gd name="T31" fmla="*/ 303 h 449"/>
                <a:gd name="T32" fmla="*/ 468 w 497"/>
                <a:gd name="T33" fmla="*/ 293 h 449"/>
                <a:gd name="T34" fmla="*/ 468 w 497"/>
                <a:gd name="T35" fmla="*/ 332 h 449"/>
                <a:gd name="T36" fmla="*/ 487 w 497"/>
                <a:gd name="T37" fmla="*/ 342 h 449"/>
                <a:gd name="T38" fmla="*/ 497 w 497"/>
                <a:gd name="T39" fmla="*/ 361 h 449"/>
                <a:gd name="T40" fmla="*/ 477 w 497"/>
                <a:gd name="T41" fmla="*/ 381 h 449"/>
                <a:gd name="T42" fmla="*/ 429 w 497"/>
                <a:gd name="T43" fmla="*/ 381 h 449"/>
                <a:gd name="T44" fmla="*/ 380 w 497"/>
                <a:gd name="T45" fmla="*/ 410 h 449"/>
                <a:gd name="T46" fmla="*/ 380 w 497"/>
                <a:gd name="T47" fmla="*/ 439 h 449"/>
                <a:gd name="T48" fmla="*/ 321 w 497"/>
                <a:gd name="T49" fmla="*/ 449 h 449"/>
                <a:gd name="T50" fmla="*/ 282 w 497"/>
                <a:gd name="T51" fmla="*/ 420 h 449"/>
                <a:gd name="T52" fmla="*/ 243 w 497"/>
                <a:gd name="T53" fmla="*/ 400 h 449"/>
                <a:gd name="T54" fmla="*/ 224 w 497"/>
                <a:gd name="T55" fmla="*/ 400 h 449"/>
                <a:gd name="T56" fmla="*/ 204 w 497"/>
                <a:gd name="T57" fmla="*/ 391 h 449"/>
                <a:gd name="T58" fmla="*/ 195 w 497"/>
                <a:gd name="T59" fmla="*/ 439 h 449"/>
                <a:gd name="T60" fmla="*/ 165 w 497"/>
                <a:gd name="T61" fmla="*/ 400 h 449"/>
                <a:gd name="T62" fmla="*/ 146 w 497"/>
                <a:gd name="T63" fmla="*/ 391 h 449"/>
                <a:gd name="T64" fmla="*/ 126 w 497"/>
                <a:gd name="T65" fmla="*/ 371 h 449"/>
                <a:gd name="T66" fmla="*/ 117 w 497"/>
                <a:gd name="T67" fmla="*/ 400 h 449"/>
                <a:gd name="T68" fmla="*/ 87 w 497"/>
                <a:gd name="T69" fmla="*/ 381 h 449"/>
                <a:gd name="T70" fmla="*/ 58 w 497"/>
                <a:gd name="T71" fmla="*/ 381 h 449"/>
                <a:gd name="T72" fmla="*/ 48 w 497"/>
                <a:gd name="T73" fmla="*/ 391 h 449"/>
                <a:gd name="T74" fmla="*/ 19 w 497"/>
                <a:gd name="T75" fmla="*/ 342 h 449"/>
                <a:gd name="T76" fmla="*/ 19 w 497"/>
                <a:gd name="T77" fmla="*/ 313 h 449"/>
                <a:gd name="T78" fmla="*/ 39 w 497"/>
                <a:gd name="T79" fmla="*/ 283 h 449"/>
                <a:gd name="T80" fmla="*/ 19 w 497"/>
                <a:gd name="T81" fmla="*/ 254 h 449"/>
                <a:gd name="T82" fmla="*/ 58 w 497"/>
                <a:gd name="T83" fmla="*/ 225 h 449"/>
                <a:gd name="T84" fmla="*/ 107 w 497"/>
                <a:gd name="T85" fmla="*/ 225 h 449"/>
                <a:gd name="T86" fmla="*/ 126 w 497"/>
                <a:gd name="T87" fmla="*/ 176 h 449"/>
                <a:gd name="T88" fmla="*/ 136 w 497"/>
                <a:gd name="T89" fmla="*/ 137 h 449"/>
                <a:gd name="T90" fmla="*/ 165 w 497"/>
                <a:gd name="T91" fmla="*/ 127 h 449"/>
                <a:gd name="T92" fmla="*/ 165 w 497"/>
                <a:gd name="T93" fmla="*/ 49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97"/>
                <a:gd name="T142" fmla="*/ 0 h 449"/>
                <a:gd name="T143" fmla="*/ 497 w 497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97" h="449">
                  <a:moveTo>
                    <a:pt x="165" y="49"/>
                  </a:moveTo>
                  <a:lnTo>
                    <a:pt x="185" y="39"/>
                  </a:lnTo>
                  <a:lnTo>
                    <a:pt x="195" y="39"/>
                  </a:lnTo>
                  <a:lnTo>
                    <a:pt x="204" y="20"/>
                  </a:lnTo>
                  <a:lnTo>
                    <a:pt x="214" y="20"/>
                  </a:lnTo>
                  <a:lnTo>
                    <a:pt x="214" y="10"/>
                  </a:lnTo>
                  <a:lnTo>
                    <a:pt x="214" y="0"/>
                  </a:lnTo>
                  <a:lnTo>
                    <a:pt x="243" y="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12" y="49"/>
                  </a:lnTo>
                  <a:lnTo>
                    <a:pt x="341" y="59"/>
                  </a:lnTo>
                  <a:lnTo>
                    <a:pt x="351" y="69"/>
                  </a:lnTo>
                  <a:lnTo>
                    <a:pt x="351" y="88"/>
                  </a:lnTo>
                  <a:lnTo>
                    <a:pt x="360" y="108"/>
                  </a:lnTo>
                  <a:lnTo>
                    <a:pt x="370" y="108"/>
                  </a:lnTo>
                  <a:lnTo>
                    <a:pt x="390" y="108"/>
                  </a:lnTo>
                  <a:lnTo>
                    <a:pt x="380" y="117"/>
                  </a:lnTo>
                  <a:lnTo>
                    <a:pt x="380" y="127"/>
                  </a:lnTo>
                  <a:lnTo>
                    <a:pt x="390" y="137"/>
                  </a:lnTo>
                  <a:lnTo>
                    <a:pt x="409" y="127"/>
                  </a:lnTo>
                  <a:lnTo>
                    <a:pt x="438" y="157"/>
                  </a:lnTo>
                  <a:lnTo>
                    <a:pt x="448" y="176"/>
                  </a:lnTo>
                  <a:lnTo>
                    <a:pt x="419" y="215"/>
                  </a:lnTo>
                  <a:lnTo>
                    <a:pt x="390" y="235"/>
                  </a:lnTo>
                  <a:lnTo>
                    <a:pt x="399" y="244"/>
                  </a:lnTo>
                  <a:lnTo>
                    <a:pt x="419" y="264"/>
                  </a:lnTo>
                  <a:lnTo>
                    <a:pt x="429" y="254"/>
                  </a:lnTo>
                  <a:lnTo>
                    <a:pt x="448" y="264"/>
                  </a:lnTo>
                  <a:lnTo>
                    <a:pt x="438" y="274"/>
                  </a:lnTo>
                  <a:lnTo>
                    <a:pt x="429" y="283"/>
                  </a:lnTo>
                  <a:lnTo>
                    <a:pt x="448" y="303"/>
                  </a:lnTo>
                  <a:lnTo>
                    <a:pt x="458" y="293"/>
                  </a:lnTo>
                  <a:lnTo>
                    <a:pt x="468" y="293"/>
                  </a:lnTo>
                  <a:lnTo>
                    <a:pt x="477" y="303"/>
                  </a:lnTo>
                  <a:lnTo>
                    <a:pt x="468" y="332"/>
                  </a:lnTo>
                  <a:lnTo>
                    <a:pt x="487" y="332"/>
                  </a:lnTo>
                  <a:lnTo>
                    <a:pt x="487" y="342"/>
                  </a:lnTo>
                  <a:lnTo>
                    <a:pt x="487" y="352"/>
                  </a:lnTo>
                  <a:lnTo>
                    <a:pt x="497" y="361"/>
                  </a:lnTo>
                  <a:lnTo>
                    <a:pt x="487" y="371"/>
                  </a:lnTo>
                  <a:lnTo>
                    <a:pt x="477" y="381"/>
                  </a:lnTo>
                  <a:lnTo>
                    <a:pt x="458" y="381"/>
                  </a:lnTo>
                  <a:lnTo>
                    <a:pt x="429" y="381"/>
                  </a:lnTo>
                  <a:lnTo>
                    <a:pt x="399" y="391"/>
                  </a:lnTo>
                  <a:lnTo>
                    <a:pt x="380" y="410"/>
                  </a:lnTo>
                  <a:lnTo>
                    <a:pt x="380" y="420"/>
                  </a:lnTo>
                  <a:lnTo>
                    <a:pt x="380" y="439"/>
                  </a:lnTo>
                  <a:lnTo>
                    <a:pt x="360" y="449"/>
                  </a:lnTo>
                  <a:lnTo>
                    <a:pt x="321" y="449"/>
                  </a:lnTo>
                  <a:lnTo>
                    <a:pt x="312" y="439"/>
                  </a:lnTo>
                  <a:lnTo>
                    <a:pt x="282" y="420"/>
                  </a:lnTo>
                  <a:lnTo>
                    <a:pt x="263" y="420"/>
                  </a:lnTo>
                  <a:lnTo>
                    <a:pt x="243" y="400"/>
                  </a:lnTo>
                  <a:lnTo>
                    <a:pt x="224" y="400"/>
                  </a:lnTo>
                  <a:lnTo>
                    <a:pt x="214" y="400"/>
                  </a:lnTo>
                  <a:lnTo>
                    <a:pt x="204" y="391"/>
                  </a:lnTo>
                  <a:lnTo>
                    <a:pt x="195" y="391"/>
                  </a:lnTo>
                  <a:lnTo>
                    <a:pt x="195" y="439"/>
                  </a:lnTo>
                  <a:lnTo>
                    <a:pt x="175" y="420"/>
                  </a:lnTo>
                  <a:lnTo>
                    <a:pt x="165" y="400"/>
                  </a:lnTo>
                  <a:lnTo>
                    <a:pt x="156" y="400"/>
                  </a:lnTo>
                  <a:lnTo>
                    <a:pt x="146" y="391"/>
                  </a:lnTo>
                  <a:lnTo>
                    <a:pt x="146" y="371"/>
                  </a:lnTo>
                  <a:lnTo>
                    <a:pt x="126" y="371"/>
                  </a:lnTo>
                  <a:lnTo>
                    <a:pt x="126" y="391"/>
                  </a:lnTo>
                  <a:lnTo>
                    <a:pt x="117" y="400"/>
                  </a:lnTo>
                  <a:lnTo>
                    <a:pt x="107" y="381"/>
                  </a:lnTo>
                  <a:lnTo>
                    <a:pt x="87" y="381"/>
                  </a:lnTo>
                  <a:lnTo>
                    <a:pt x="58" y="371"/>
                  </a:lnTo>
                  <a:lnTo>
                    <a:pt x="58" y="381"/>
                  </a:lnTo>
                  <a:lnTo>
                    <a:pt x="48" y="400"/>
                  </a:lnTo>
                  <a:lnTo>
                    <a:pt x="48" y="391"/>
                  </a:lnTo>
                  <a:lnTo>
                    <a:pt x="29" y="361"/>
                  </a:lnTo>
                  <a:lnTo>
                    <a:pt x="19" y="342"/>
                  </a:lnTo>
                  <a:lnTo>
                    <a:pt x="0" y="342"/>
                  </a:lnTo>
                  <a:lnTo>
                    <a:pt x="19" y="313"/>
                  </a:lnTo>
                  <a:lnTo>
                    <a:pt x="19" y="293"/>
                  </a:lnTo>
                  <a:lnTo>
                    <a:pt x="39" y="283"/>
                  </a:lnTo>
                  <a:lnTo>
                    <a:pt x="19" y="264"/>
                  </a:lnTo>
                  <a:lnTo>
                    <a:pt x="19" y="254"/>
                  </a:lnTo>
                  <a:lnTo>
                    <a:pt x="39" y="235"/>
                  </a:lnTo>
                  <a:lnTo>
                    <a:pt x="58" y="225"/>
                  </a:lnTo>
                  <a:lnTo>
                    <a:pt x="87" y="235"/>
                  </a:lnTo>
                  <a:lnTo>
                    <a:pt x="107" y="225"/>
                  </a:lnTo>
                  <a:lnTo>
                    <a:pt x="117" y="196"/>
                  </a:lnTo>
                  <a:lnTo>
                    <a:pt x="126" y="176"/>
                  </a:lnTo>
                  <a:lnTo>
                    <a:pt x="126" y="166"/>
                  </a:lnTo>
                  <a:lnTo>
                    <a:pt x="136" y="137"/>
                  </a:lnTo>
                  <a:lnTo>
                    <a:pt x="156" y="137"/>
                  </a:lnTo>
                  <a:lnTo>
                    <a:pt x="165" y="127"/>
                  </a:lnTo>
                  <a:lnTo>
                    <a:pt x="175" y="59"/>
                  </a:lnTo>
                  <a:lnTo>
                    <a:pt x="165" y="49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396"/>
            <p:cNvSpPr>
              <a:spLocks/>
            </p:cNvSpPr>
            <p:nvPr/>
          </p:nvSpPr>
          <p:spPr bwMode="auto">
            <a:xfrm>
              <a:off x="966" y="2412"/>
              <a:ext cx="459" cy="468"/>
            </a:xfrm>
            <a:custGeom>
              <a:avLst/>
              <a:gdLst>
                <a:gd name="T0" fmla="*/ 322 w 458"/>
                <a:gd name="T1" fmla="*/ 390 h 468"/>
                <a:gd name="T2" fmla="*/ 351 w 458"/>
                <a:gd name="T3" fmla="*/ 390 h 468"/>
                <a:gd name="T4" fmla="*/ 370 w 458"/>
                <a:gd name="T5" fmla="*/ 410 h 468"/>
                <a:gd name="T6" fmla="*/ 322 w 458"/>
                <a:gd name="T7" fmla="*/ 439 h 468"/>
                <a:gd name="T8" fmla="*/ 283 w 458"/>
                <a:gd name="T9" fmla="*/ 439 h 468"/>
                <a:gd name="T10" fmla="*/ 273 w 458"/>
                <a:gd name="T11" fmla="*/ 458 h 468"/>
                <a:gd name="T12" fmla="*/ 244 w 458"/>
                <a:gd name="T13" fmla="*/ 468 h 468"/>
                <a:gd name="T14" fmla="*/ 204 w 458"/>
                <a:gd name="T15" fmla="*/ 449 h 468"/>
                <a:gd name="T16" fmla="*/ 195 w 458"/>
                <a:gd name="T17" fmla="*/ 410 h 468"/>
                <a:gd name="T18" fmla="*/ 175 w 458"/>
                <a:gd name="T19" fmla="*/ 380 h 468"/>
                <a:gd name="T20" fmla="*/ 165 w 458"/>
                <a:gd name="T21" fmla="*/ 341 h 468"/>
                <a:gd name="T22" fmla="*/ 156 w 458"/>
                <a:gd name="T23" fmla="*/ 361 h 468"/>
                <a:gd name="T24" fmla="*/ 117 w 458"/>
                <a:gd name="T25" fmla="*/ 351 h 468"/>
                <a:gd name="T26" fmla="*/ 87 w 458"/>
                <a:gd name="T27" fmla="*/ 361 h 468"/>
                <a:gd name="T28" fmla="*/ 58 w 458"/>
                <a:gd name="T29" fmla="*/ 312 h 468"/>
                <a:gd name="T30" fmla="*/ 78 w 458"/>
                <a:gd name="T31" fmla="*/ 293 h 468"/>
                <a:gd name="T32" fmla="*/ 48 w 458"/>
                <a:gd name="T33" fmla="*/ 263 h 468"/>
                <a:gd name="T34" fmla="*/ 48 w 458"/>
                <a:gd name="T35" fmla="*/ 244 h 468"/>
                <a:gd name="T36" fmla="*/ 68 w 458"/>
                <a:gd name="T37" fmla="*/ 215 h 468"/>
                <a:gd name="T38" fmla="*/ 48 w 458"/>
                <a:gd name="T39" fmla="*/ 156 h 468"/>
                <a:gd name="T40" fmla="*/ 19 w 458"/>
                <a:gd name="T41" fmla="*/ 166 h 468"/>
                <a:gd name="T42" fmla="*/ 0 w 458"/>
                <a:gd name="T43" fmla="*/ 146 h 468"/>
                <a:gd name="T44" fmla="*/ 19 w 458"/>
                <a:gd name="T45" fmla="*/ 117 h 468"/>
                <a:gd name="T46" fmla="*/ 58 w 458"/>
                <a:gd name="T47" fmla="*/ 137 h 468"/>
                <a:gd name="T48" fmla="*/ 68 w 458"/>
                <a:gd name="T49" fmla="*/ 127 h 468"/>
                <a:gd name="T50" fmla="*/ 68 w 458"/>
                <a:gd name="T51" fmla="*/ 97 h 468"/>
                <a:gd name="T52" fmla="*/ 48 w 458"/>
                <a:gd name="T53" fmla="*/ 88 h 468"/>
                <a:gd name="T54" fmla="*/ 29 w 458"/>
                <a:gd name="T55" fmla="*/ 68 h 468"/>
                <a:gd name="T56" fmla="*/ 39 w 458"/>
                <a:gd name="T57" fmla="*/ 68 h 468"/>
                <a:gd name="T58" fmla="*/ 58 w 458"/>
                <a:gd name="T59" fmla="*/ 49 h 468"/>
                <a:gd name="T60" fmla="*/ 78 w 458"/>
                <a:gd name="T61" fmla="*/ 39 h 468"/>
                <a:gd name="T62" fmla="*/ 107 w 458"/>
                <a:gd name="T63" fmla="*/ 58 h 468"/>
                <a:gd name="T64" fmla="*/ 136 w 458"/>
                <a:gd name="T65" fmla="*/ 78 h 468"/>
                <a:gd name="T66" fmla="*/ 175 w 458"/>
                <a:gd name="T67" fmla="*/ 107 h 468"/>
                <a:gd name="T68" fmla="*/ 204 w 458"/>
                <a:gd name="T69" fmla="*/ 97 h 468"/>
                <a:gd name="T70" fmla="*/ 224 w 458"/>
                <a:gd name="T71" fmla="*/ 78 h 468"/>
                <a:gd name="T72" fmla="*/ 224 w 458"/>
                <a:gd name="T73" fmla="*/ 49 h 468"/>
                <a:gd name="T74" fmla="*/ 253 w 458"/>
                <a:gd name="T75" fmla="*/ 39 h 468"/>
                <a:gd name="T76" fmla="*/ 283 w 458"/>
                <a:gd name="T77" fmla="*/ 49 h 468"/>
                <a:gd name="T78" fmla="*/ 273 w 458"/>
                <a:gd name="T79" fmla="*/ 29 h 468"/>
                <a:gd name="T80" fmla="*/ 312 w 458"/>
                <a:gd name="T81" fmla="*/ 29 h 468"/>
                <a:gd name="T82" fmla="*/ 322 w 458"/>
                <a:gd name="T83" fmla="*/ 0 h 468"/>
                <a:gd name="T84" fmla="*/ 380 w 458"/>
                <a:gd name="T85" fmla="*/ 39 h 468"/>
                <a:gd name="T86" fmla="*/ 419 w 458"/>
                <a:gd name="T87" fmla="*/ 19 h 468"/>
                <a:gd name="T88" fmla="*/ 439 w 458"/>
                <a:gd name="T89" fmla="*/ 39 h 468"/>
                <a:gd name="T90" fmla="*/ 458 w 458"/>
                <a:gd name="T91" fmla="*/ 49 h 468"/>
                <a:gd name="T92" fmla="*/ 448 w 458"/>
                <a:gd name="T93" fmla="*/ 117 h 468"/>
                <a:gd name="T94" fmla="*/ 409 w 458"/>
                <a:gd name="T95" fmla="*/ 146 h 468"/>
                <a:gd name="T96" fmla="*/ 409 w 458"/>
                <a:gd name="T97" fmla="*/ 176 h 468"/>
                <a:gd name="T98" fmla="*/ 380 w 458"/>
                <a:gd name="T99" fmla="*/ 215 h 468"/>
                <a:gd name="T100" fmla="*/ 322 w 458"/>
                <a:gd name="T101" fmla="*/ 215 h 468"/>
                <a:gd name="T102" fmla="*/ 312 w 458"/>
                <a:gd name="T103" fmla="*/ 244 h 468"/>
                <a:gd name="T104" fmla="*/ 312 w 458"/>
                <a:gd name="T105" fmla="*/ 273 h 468"/>
                <a:gd name="T106" fmla="*/ 292 w 458"/>
                <a:gd name="T107" fmla="*/ 322 h 468"/>
                <a:gd name="T108" fmla="*/ 312 w 458"/>
                <a:gd name="T109" fmla="*/ 341 h 468"/>
                <a:gd name="T110" fmla="*/ 331 w 458"/>
                <a:gd name="T111" fmla="*/ 371 h 4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58"/>
                <a:gd name="T169" fmla="*/ 0 h 468"/>
                <a:gd name="T170" fmla="*/ 458 w 458"/>
                <a:gd name="T171" fmla="*/ 468 h 4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58" h="468">
                  <a:moveTo>
                    <a:pt x="331" y="371"/>
                  </a:moveTo>
                  <a:lnTo>
                    <a:pt x="322" y="390"/>
                  </a:lnTo>
                  <a:lnTo>
                    <a:pt x="331" y="400"/>
                  </a:lnTo>
                  <a:lnTo>
                    <a:pt x="351" y="390"/>
                  </a:lnTo>
                  <a:lnTo>
                    <a:pt x="361" y="400"/>
                  </a:lnTo>
                  <a:lnTo>
                    <a:pt x="370" y="410"/>
                  </a:lnTo>
                  <a:lnTo>
                    <a:pt x="351" y="419"/>
                  </a:lnTo>
                  <a:lnTo>
                    <a:pt x="322" y="439"/>
                  </a:lnTo>
                  <a:lnTo>
                    <a:pt x="302" y="449"/>
                  </a:lnTo>
                  <a:lnTo>
                    <a:pt x="283" y="439"/>
                  </a:lnTo>
                  <a:lnTo>
                    <a:pt x="263" y="449"/>
                  </a:lnTo>
                  <a:lnTo>
                    <a:pt x="273" y="458"/>
                  </a:lnTo>
                  <a:lnTo>
                    <a:pt x="253" y="468"/>
                  </a:lnTo>
                  <a:lnTo>
                    <a:pt x="244" y="468"/>
                  </a:lnTo>
                  <a:lnTo>
                    <a:pt x="244" y="458"/>
                  </a:lnTo>
                  <a:lnTo>
                    <a:pt x="204" y="449"/>
                  </a:lnTo>
                  <a:lnTo>
                    <a:pt x="204" y="439"/>
                  </a:lnTo>
                  <a:lnTo>
                    <a:pt x="195" y="410"/>
                  </a:lnTo>
                  <a:lnTo>
                    <a:pt x="195" y="390"/>
                  </a:lnTo>
                  <a:lnTo>
                    <a:pt x="175" y="380"/>
                  </a:lnTo>
                  <a:lnTo>
                    <a:pt x="175" y="361"/>
                  </a:lnTo>
                  <a:lnTo>
                    <a:pt x="165" y="341"/>
                  </a:lnTo>
                  <a:lnTo>
                    <a:pt x="165" y="351"/>
                  </a:lnTo>
                  <a:lnTo>
                    <a:pt x="156" y="361"/>
                  </a:lnTo>
                  <a:lnTo>
                    <a:pt x="146" y="361"/>
                  </a:lnTo>
                  <a:lnTo>
                    <a:pt x="117" y="351"/>
                  </a:lnTo>
                  <a:lnTo>
                    <a:pt x="107" y="351"/>
                  </a:lnTo>
                  <a:lnTo>
                    <a:pt x="87" y="361"/>
                  </a:lnTo>
                  <a:lnTo>
                    <a:pt x="58" y="33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63"/>
                  </a:lnTo>
                  <a:lnTo>
                    <a:pt x="48" y="244"/>
                  </a:lnTo>
                  <a:lnTo>
                    <a:pt x="58" y="215"/>
                  </a:lnTo>
                  <a:lnTo>
                    <a:pt x="68" y="215"/>
                  </a:lnTo>
                  <a:lnTo>
                    <a:pt x="68" y="185"/>
                  </a:lnTo>
                  <a:lnTo>
                    <a:pt x="48" y="156"/>
                  </a:lnTo>
                  <a:lnTo>
                    <a:pt x="39" y="156"/>
                  </a:lnTo>
                  <a:lnTo>
                    <a:pt x="19" y="166"/>
                  </a:lnTo>
                  <a:lnTo>
                    <a:pt x="9" y="156"/>
                  </a:lnTo>
                  <a:lnTo>
                    <a:pt x="0" y="146"/>
                  </a:lnTo>
                  <a:lnTo>
                    <a:pt x="19" y="137"/>
                  </a:lnTo>
                  <a:lnTo>
                    <a:pt x="19" y="117"/>
                  </a:lnTo>
                  <a:lnTo>
                    <a:pt x="39" y="127"/>
                  </a:lnTo>
                  <a:lnTo>
                    <a:pt x="58" y="137"/>
                  </a:lnTo>
                  <a:lnTo>
                    <a:pt x="68" y="146"/>
                  </a:lnTo>
                  <a:lnTo>
                    <a:pt x="68" y="127"/>
                  </a:lnTo>
                  <a:lnTo>
                    <a:pt x="78" y="117"/>
                  </a:lnTo>
                  <a:lnTo>
                    <a:pt x="68" y="97"/>
                  </a:lnTo>
                  <a:lnTo>
                    <a:pt x="48" y="88"/>
                  </a:lnTo>
                  <a:lnTo>
                    <a:pt x="39" y="88"/>
                  </a:lnTo>
                  <a:lnTo>
                    <a:pt x="29" y="68"/>
                  </a:lnTo>
                  <a:lnTo>
                    <a:pt x="9" y="68"/>
                  </a:lnTo>
                  <a:lnTo>
                    <a:pt x="39" y="68"/>
                  </a:lnTo>
                  <a:lnTo>
                    <a:pt x="39" y="49"/>
                  </a:lnTo>
                  <a:lnTo>
                    <a:pt x="58" y="49"/>
                  </a:lnTo>
                  <a:lnTo>
                    <a:pt x="68" y="39"/>
                  </a:lnTo>
                  <a:lnTo>
                    <a:pt x="78" y="39"/>
                  </a:lnTo>
                  <a:lnTo>
                    <a:pt x="97" y="58"/>
                  </a:lnTo>
                  <a:lnTo>
                    <a:pt x="107" y="58"/>
                  </a:lnTo>
                  <a:lnTo>
                    <a:pt x="126" y="58"/>
                  </a:lnTo>
                  <a:lnTo>
                    <a:pt x="136" y="78"/>
                  </a:lnTo>
                  <a:lnTo>
                    <a:pt x="156" y="97"/>
                  </a:lnTo>
                  <a:lnTo>
                    <a:pt x="175" y="107"/>
                  </a:lnTo>
                  <a:lnTo>
                    <a:pt x="185" y="97"/>
                  </a:lnTo>
                  <a:lnTo>
                    <a:pt x="204" y="97"/>
                  </a:lnTo>
                  <a:lnTo>
                    <a:pt x="204" y="78"/>
                  </a:lnTo>
                  <a:lnTo>
                    <a:pt x="224" y="78"/>
                  </a:lnTo>
                  <a:lnTo>
                    <a:pt x="224" y="68"/>
                  </a:lnTo>
                  <a:lnTo>
                    <a:pt x="224" y="49"/>
                  </a:lnTo>
                  <a:lnTo>
                    <a:pt x="234" y="29"/>
                  </a:lnTo>
                  <a:lnTo>
                    <a:pt x="253" y="39"/>
                  </a:lnTo>
                  <a:lnTo>
                    <a:pt x="273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73" y="29"/>
                  </a:lnTo>
                  <a:lnTo>
                    <a:pt x="292" y="29"/>
                  </a:lnTo>
                  <a:lnTo>
                    <a:pt x="312" y="29"/>
                  </a:lnTo>
                  <a:lnTo>
                    <a:pt x="322" y="19"/>
                  </a:lnTo>
                  <a:lnTo>
                    <a:pt x="322" y="0"/>
                  </a:lnTo>
                  <a:lnTo>
                    <a:pt x="361" y="19"/>
                  </a:lnTo>
                  <a:lnTo>
                    <a:pt x="380" y="39"/>
                  </a:lnTo>
                  <a:lnTo>
                    <a:pt x="390" y="39"/>
                  </a:lnTo>
                  <a:lnTo>
                    <a:pt x="419" y="19"/>
                  </a:lnTo>
                  <a:lnTo>
                    <a:pt x="429" y="19"/>
                  </a:lnTo>
                  <a:lnTo>
                    <a:pt x="439" y="39"/>
                  </a:lnTo>
                  <a:lnTo>
                    <a:pt x="458" y="29"/>
                  </a:lnTo>
                  <a:lnTo>
                    <a:pt x="458" y="49"/>
                  </a:lnTo>
                  <a:lnTo>
                    <a:pt x="458" y="107"/>
                  </a:lnTo>
                  <a:lnTo>
                    <a:pt x="448" y="117"/>
                  </a:lnTo>
                  <a:lnTo>
                    <a:pt x="429" y="117"/>
                  </a:lnTo>
                  <a:lnTo>
                    <a:pt x="409" y="146"/>
                  </a:lnTo>
                  <a:lnTo>
                    <a:pt x="419" y="156"/>
                  </a:lnTo>
                  <a:lnTo>
                    <a:pt x="409" y="176"/>
                  </a:lnTo>
                  <a:lnTo>
                    <a:pt x="390" y="205"/>
                  </a:lnTo>
                  <a:lnTo>
                    <a:pt x="380" y="215"/>
                  </a:lnTo>
                  <a:lnTo>
                    <a:pt x="341" y="205"/>
                  </a:lnTo>
                  <a:lnTo>
                    <a:pt x="322" y="215"/>
                  </a:lnTo>
                  <a:lnTo>
                    <a:pt x="302" y="234"/>
                  </a:lnTo>
                  <a:lnTo>
                    <a:pt x="312" y="244"/>
                  </a:lnTo>
                  <a:lnTo>
                    <a:pt x="322" y="263"/>
                  </a:lnTo>
                  <a:lnTo>
                    <a:pt x="312" y="273"/>
                  </a:lnTo>
                  <a:lnTo>
                    <a:pt x="302" y="293"/>
                  </a:lnTo>
                  <a:lnTo>
                    <a:pt x="292" y="322"/>
                  </a:lnTo>
                  <a:lnTo>
                    <a:pt x="302" y="322"/>
                  </a:lnTo>
                  <a:lnTo>
                    <a:pt x="312" y="341"/>
                  </a:lnTo>
                  <a:lnTo>
                    <a:pt x="331" y="371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395" name="Group 393"/>
            <p:cNvGrpSpPr>
              <a:grpSpLocks/>
            </p:cNvGrpSpPr>
            <p:nvPr/>
          </p:nvGrpSpPr>
          <p:grpSpPr bwMode="auto">
            <a:xfrm>
              <a:off x="7871" y="3825"/>
              <a:ext cx="439" cy="907"/>
              <a:chOff x="7872" y="3825"/>
              <a:chExt cx="439" cy="907"/>
            </a:xfrm>
          </p:grpSpPr>
          <p:sp>
            <p:nvSpPr>
              <p:cNvPr id="766" name="Freeform 395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  <a:lnTo>
                      <a:pt x="390" y="8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7" name="Freeform 394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6" name="Freeform 392"/>
            <p:cNvSpPr>
              <a:spLocks/>
            </p:cNvSpPr>
            <p:nvPr/>
          </p:nvSpPr>
          <p:spPr bwMode="auto">
            <a:xfrm>
              <a:off x="3805" y="3561"/>
              <a:ext cx="624" cy="449"/>
            </a:xfrm>
            <a:custGeom>
              <a:avLst/>
              <a:gdLst>
                <a:gd name="T0" fmla="*/ 488 w 624"/>
                <a:gd name="T1" fmla="*/ 361 h 449"/>
                <a:gd name="T2" fmla="*/ 517 w 624"/>
                <a:gd name="T3" fmla="*/ 342 h 449"/>
                <a:gd name="T4" fmla="*/ 527 w 624"/>
                <a:gd name="T5" fmla="*/ 322 h 449"/>
                <a:gd name="T6" fmla="*/ 556 w 624"/>
                <a:gd name="T7" fmla="*/ 312 h 449"/>
                <a:gd name="T8" fmla="*/ 585 w 624"/>
                <a:gd name="T9" fmla="*/ 312 h 449"/>
                <a:gd name="T10" fmla="*/ 585 w 624"/>
                <a:gd name="T11" fmla="*/ 283 h 449"/>
                <a:gd name="T12" fmla="*/ 624 w 624"/>
                <a:gd name="T13" fmla="*/ 283 h 449"/>
                <a:gd name="T14" fmla="*/ 605 w 624"/>
                <a:gd name="T15" fmla="*/ 264 h 449"/>
                <a:gd name="T16" fmla="*/ 615 w 624"/>
                <a:gd name="T17" fmla="*/ 225 h 449"/>
                <a:gd name="T18" fmla="*/ 595 w 624"/>
                <a:gd name="T19" fmla="*/ 205 h 449"/>
                <a:gd name="T20" fmla="*/ 615 w 624"/>
                <a:gd name="T21" fmla="*/ 195 h 449"/>
                <a:gd name="T22" fmla="*/ 624 w 624"/>
                <a:gd name="T23" fmla="*/ 176 h 449"/>
                <a:gd name="T24" fmla="*/ 605 w 624"/>
                <a:gd name="T25" fmla="*/ 166 h 449"/>
                <a:gd name="T26" fmla="*/ 585 w 624"/>
                <a:gd name="T27" fmla="*/ 127 h 449"/>
                <a:gd name="T28" fmla="*/ 566 w 624"/>
                <a:gd name="T29" fmla="*/ 108 h 449"/>
                <a:gd name="T30" fmla="*/ 546 w 624"/>
                <a:gd name="T31" fmla="*/ 78 h 449"/>
                <a:gd name="T32" fmla="*/ 527 w 624"/>
                <a:gd name="T33" fmla="*/ 59 h 449"/>
                <a:gd name="T34" fmla="*/ 498 w 624"/>
                <a:gd name="T35" fmla="*/ 49 h 449"/>
                <a:gd name="T36" fmla="*/ 478 w 624"/>
                <a:gd name="T37" fmla="*/ 69 h 449"/>
                <a:gd name="T38" fmla="*/ 449 w 624"/>
                <a:gd name="T39" fmla="*/ 59 h 449"/>
                <a:gd name="T40" fmla="*/ 410 w 624"/>
                <a:gd name="T41" fmla="*/ 59 h 449"/>
                <a:gd name="T42" fmla="*/ 390 w 624"/>
                <a:gd name="T43" fmla="*/ 69 h 449"/>
                <a:gd name="T44" fmla="*/ 381 w 624"/>
                <a:gd name="T45" fmla="*/ 59 h 449"/>
                <a:gd name="T46" fmla="*/ 351 w 624"/>
                <a:gd name="T47" fmla="*/ 69 h 449"/>
                <a:gd name="T48" fmla="*/ 342 w 624"/>
                <a:gd name="T49" fmla="*/ 88 h 449"/>
                <a:gd name="T50" fmla="*/ 332 w 624"/>
                <a:gd name="T51" fmla="*/ 98 h 449"/>
                <a:gd name="T52" fmla="*/ 303 w 624"/>
                <a:gd name="T53" fmla="*/ 78 h 449"/>
                <a:gd name="T54" fmla="*/ 293 w 624"/>
                <a:gd name="T55" fmla="*/ 49 h 449"/>
                <a:gd name="T56" fmla="*/ 244 w 624"/>
                <a:gd name="T57" fmla="*/ 0 h 449"/>
                <a:gd name="T58" fmla="*/ 205 w 624"/>
                <a:gd name="T59" fmla="*/ 10 h 449"/>
                <a:gd name="T60" fmla="*/ 137 w 624"/>
                <a:gd name="T61" fmla="*/ 20 h 449"/>
                <a:gd name="T62" fmla="*/ 117 w 624"/>
                <a:gd name="T63" fmla="*/ 29 h 449"/>
                <a:gd name="T64" fmla="*/ 68 w 624"/>
                <a:gd name="T65" fmla="*/ 20 h 449"/>
                <a:gd name="T66" fmla="*/ 20 w 624"/>
                <a:gd name="T67" fmla="*/ 0 h 449"/>
                <a:gd name="T68" fmla="*/ 20 w 624"/>
                <a:gd name="T69" fmla="*/ 20 h 449"/>
                <a:gd name="T70" fmla="*/ 0 w 624"/>
                <a:gd name="T71" fmla="*/ 20 h 449"/>
                <a:gd name="T72" fmla="*/ 20 w 624"/>
                <a:gd name="T73" fmla="*/ 78 h 449"/>
                <a:gd name="T74" fmla="*/ 29 w 624"/>
                <a:gd name="T75" fmla="*/ 156 h 449"/>
                <a:gd name="T76" fmla="*/ 49 w 624"/>
                <a:gd name="T77" fmla="*/ 283 h 449"/>
                <a:gd name="T78" fmla="*/ 68 w 624"/>
                <a:gd name="T79" fmla="*/ 342 h 449"/>
                <a:gd name="T80" fmla="*/ 78 w 624"/>
                <a:gd name="T81" fmla="*/ 361 h 449"/>
                <a:gd name="T82" fmla="*/ 98 w 624"/>
                <a:gd name="T83" fmla="*/ 342 h 449"/>
                <a:gd name="T84" fmla="*/ 107 w 624"/>
                <a:gd name="T85" fmla="*/ 332 h 449"/>
                <a:gd name="T86" fmla="*/ 127 w 624"/>
                <a:gd name="T87" fmla="*/ 312 h 449"/>
                <a:gd name="T88" fmla="*/ 146 w 624"/>
                <a:gd name="T89" fmla="*/ 312 h 449"/>
                <a:gd name="T90" fmla="*/ 146 w 624"/>
                <a:gd name="T91" fmla="*/ 342 h 449"/>
                <a:gd name="T92" fmla="*/ 156 w 624"/>
                <a:gd name="T93" fmla="*/ 361 h 449"/>
                <a:gd name="T94" fmla="*/ 166 w 624"/>
                <a:gd name="T95" fmla="*/ 371 h 449"/>
                <a:gd name="T96" fmla="*/ 176 w 624"/>
                <a:gd name="T97" fmla="*/ 390 h 449"/>
                <a:gd name="T98" fmla="*/ 205 w 624"/>
                <a:gd name="T99" fmla="*/ 390 h 449"/>
                <a:gd name="T100" fmla="*/ 244 w 624"/>
                <a:gd name="T101" fmla="*/ 410 h 449"/>
                <a:gd name="T102" fmla="*/ 264 w 624"/>
                <a:gd name="T103" fmla="*/ 400 h 449"/>
                <a:gd name="T104" fmla="*/ 303 w 624"/>
                <a:gd name="T105" fmla="*/ 390 h 449"/>
                <a:gd name="T106" fmla="*/ 342 w 624"/>
                <a:gd name="T107" fmla="*/ 400 h 449"/>
                <a:gd name="T108" fmla="*/ 351 w 624"/>
                <a:gd name="T109" fmla="*/ 439 h 449"/>
                <a:gd name="T110" fmla="*/ 361 w 624"/>
                <a:gd name="T111" fmla="*/ 449 h 449"/>
                <a:gd name="T112" fmla="*/ 381 w 624"/>
                <a:gd name="T113" fmla="*/ 439 h 449"/>
                <a:gd name="T114" fmla="*/ 381 w 624"/>
                <a:gd name="T115" fmla="*/ 420 h 449"/>
                <a:gd name="T116" fmla="*/ 361 w 624"/>
                <a:gd name="T117" fmla="*/ 390 h 449"/>
                <a:gd name="T118" fmla="*/ 390 w 624"/>
                <a:gd name="T119" fmla="*/ 381 h 449"/>
                <a:gd name="T120" fmla="*/ 449 w 624"/>
                <a:gd name="T121" fmla="*/ 371 h 44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4"/>
                <a:gd name="T184" fmla="*/ 0 h 449"/>
                <a:gd name="T185" fmla="*/ 624 w 624"/>
                <a:gd name="T186" fmla="*/ 449 h 44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4" h="449">
                  <a:moveTo>
                    <a:pt x="468" y="361"/>
                  </a:moveTo>
                  <a:lnTo>
                    <a:pt x="488" y="361"/>
                  </a:lnTo>
                  <a:lnTo>
                    <a:pt x="498" y="361"/>
                  </a:lnTo>
                  <a:lnTo>
                    <a:pt x="517" y="342"/>
                  </a:lnTo>
                  <a:lnTo>
                    <a:pt x="517" y="322"/>
                  </a:lnTo>
                  <a:lnTo>
                    <a:pt x="527" y="322"/>
                  </a:lnTo>
                  <a:lnTo>
                    <a:pt x="546" y="322"/>
                  </a:lnTo>
                  <a:lnTo>
                    <a:pt x="556" y="312"/>
                  </a:lnTo>
                  <a:lnTo>
                    <a:pt x="566" y="312"/>
                  </a:lnTo>
                  <a:lnTo>
                    <a:pt x="585" y="312"/>
                  </a:lnTo>
                  <a:lnTo>
                    <a:pt x="585" y="303"/>
                  </a:lnTo>
                  <a:lnTo>
                    <a:pt x="585" y="283"/>
                  </a:lnTo>
                  <a:lnTo>
                    <a:pt x="595" y="283"/>
                  </a:lnTo>
                  <a:lnTo>
                    <a:pt x="624" y="283"/>
                  </a:lnTo>
                  <a:lnTo>
                    <a:pt x="615" y="273"/>
                  </a:lnTo>
                  <a:lnTo>
                    <a:pt x="605" y="264"/>
                  </a:lnTo>
                  <a:lnTo>
                    <a:pt x="605" y="244"/>
                  </a:lnTo>
                  <a:lnTo>
                    <a:pt x="615" y="225"/>
                  </a:lnTo>
                  <a:lnTo>
                    <a:pt x="605" y="215"/>
                  </a:lnTo>
                  <a:lnTo>
                    <a:pt x="595" y="205"/>
                  </a:lnTo>
                  <a:lnTo>
                    <a:pt x="605" y="195"/>
                  </a:lnTo>
                  <a:lnTo>
                    <a:pt x="615" y="195"/>
                  </a:lnTo>
                  <a:lnTo>
                    <a:pt x="624" y="195"/>
                  </a:lnTo>
                  <a:lnTo>
                    <a:pt x="624" y="176"/>
                  </a:lnTo>
                  <a:lnTo>
                    <a:pt x="624" y="166"/>
                  </a:lnTo>
                  <a:lnTo>
                    <a:pt x="605" y="166"/>
                  </a:lnTo>
                  <a:lnTo>
                    <a:pt x="595" y="147"/>
                  </a:lnTo>
                  <a:lnTo>
                    <a:pt x="585" y="127"/>
                  </a:lnTo>
                  <a:lnTo>
                    <a:pt x="585" y="117"/>
                  </a:lnTo>
                  <a:lnTo>
                    <a:pt x="566" y="108"/>
                  </a:lnTo>
                  <a:lnTo>
                    <a:pt x="556" y="88"/>
                  </a:lnTo>
                  <a:lnTo>
                    <a:pt x="546" y="78"/>
                  </a:lnTo>
                  <a:lnTo>
                    <a:pt x="537" y="78"/>
                  </a:lnTo>
                  <a:lnTo>
                    <a:pt x="527" y="59"/>
                  </a:lnTo>
                  <a:lnTo>
                    <a:pt x="517" y="49"/>
                  </a:lnTo>
                  <a:lnTo>
                    <a:pt x="498" y="49"/>
                  </a:lnTo>
                  <a:lnTo>
                    <a:pt x="488" y="59"/>
                  </a:lnTo>
                  <a:lnTo>
                    <a:pt x="478" y="69"/>
                  </a:lnTo>
                  <a:lnTo>
                    <a:pt x="468" y="69"/>
                  </a:lnTo>
                  <a:lnTo>
                    <a:pt x="449" y="59"/>
                  </a:lnTo>
                  <a:lnTo>
                    <a:pt x="429" y="59"/>
                  </a:lnTo>
                  <a:lnTo>
                    <a:pt x="410" y="59"/>
                  </a:lnTo>
                  <a:lnTo>
                    <a:pt x="410" y="78"/>
                  </a:lnTo>
                  <a:lnTo>
                    <a:pt x="390" y="69"/>
                  </a:lnTo>
                  <a:lnTo>
                    <a:pt x="390" y="59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1" y="69"/>
                  </a:lnTo>
                  <a:lnTo>
                    <a:pt x="351" y="78"/>
                  </a:lnTo>
                  <a:lnTo>
                    <a:pt x="342" y="88"/>
                  </a:lnTo>
                  <a:lnTo>
                    <a:pt x="332" y="88"/>
                  </a:lnTo>
                  <a:lnTo>
                    <a:pt x="332" y="98"/>
                  </a:lnTo>
                  <a:lnTo>
                    <a:pt x="322" y="98"/>
                  </a:lnTo>
                  <a:lnTo>
                    <a:pt x="303" y="78"/>
                  </a:lnTo>
                  <a:lnTo>
                    <a:pt x="283" y="78"/>
                  </a:lnTo>
                  <a:lnTo>
                    <a:pt x="293" y="49"/>
                  </a:lnTo>
                  <a:lnTo>
                    <a:pt x="254" y="20"/>
                  </a:lnTo>
                  <a:lnTo>
                    <a:pt x="244" y="0"/>
                  </a:lnTo>
                  <a:lnTo>
                    <a:pt x="215" y="0"/>
                  </a:lnTo>
                  <a:lnTo>
                    <a:pt x="205" y="10"/>
                  </a:lnTo>
                  <a:lnTo>
                    <a:pt x="156" y="20"/>
                  </a:lnTo>
                  <a:lnTo>
                    <a:pt x="137" y="20"/>
                  </a:lnTo>
                  <a:lnTo>
                    <a:pt x="117" y="29"/>
                  </a:lnTo>
                  <a:lnTo>
                    <a:pt x="107" y="20"/>
                  </a:lnTo>
                  <a:lnTo>
                    <a:pt x="68" y="20"/>
                  </a:lnTo>
                  <a:lnTo>
                    <a:pt x="39" y="20"/>
                  </a:lnTo>
                  <a:lnTo>
                    <a:pt x="2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10" y="49"/>
                  </a:lnTo>
                  <a:lnTo>
                    <a:pt x="20" y="78"/>
                  </a:lnTo>
                  <a:lnTo>
                    <a:pt x="20" y="108"/>
                  </a:lnTo>
                  <a:lnTo>
                    <a:pt x="29" y="156"/>
                  </a:lnTo>
                  <a:lnTo>
                    <a:pt x="49" y="215"/>
                  </a:lnTo>
                  <a:lnTo>
                    <a:pt x="49" y="283"/>
                  </a:lnTo>
                  <a:lnTo>
                    <a:pt x="68" y="322"/>
                  </a:lnTo>
                  <a:lnTo>
                    <a:pt x="68" y="342"/>
                  </a:lnTo>
                  <a:lnTo>
                    <a:pt x="68" y="361"/>
                  </a:lnTo>
                  <a:lnTo>
                    <a:pt x="78" y="361"/>
                  </a:lnTo>
                  <a:lnTo>
                    <a:pt x="78" y="351"/>
                  </a:lnTo>
                  <a:lnTo>
                    <a:pt x="98" y="342"/>
                  </a:lnTo>
                  <a:lnTo>
                    <a:pt x="107" y="342"/>
                  </a:lnTo>
                  <a:lnTo>
                    <a:pt x="107" y="332"/>
                  </a:lnTo>
                  <a:lnTo>
                    <a:pt x="117" y="322"/>
                  </a:lnTo>
                  <a:lnTo>
                    <a:pt x="127" y="312"/>
                  </a:lnTo>
                  <a:lnTo>
                    <a:pt x="137" y="312"/>
                  </a:lnTo>
                  <a:lnTo>
                    <a:pt x="146" y="312"/>
                  </a:lnTo>
                  <a:lnTo>
                    <a:pt x="156" y="322"/>
                  </a:lnTo>
                  <a:lnTo>
                    <a:pt x="146" y="342"/>
                  </a:lnTo>
                  <a:lnTo>
                    <a:pt x="146" y="361"/>
                  </a:lnTo>
                  <a:lnTo>
                    <a:pt x="156" y="361"/>
                  </a:lnTo>
                  <a:lnTo>
                    <a:pt x="166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76" y="390"/>
                  </a:lnTo>
                  <a:lnTo>
                    <a:pt x="195" y="390"/>
                  </a:lnTo>
                  <a:lnTo>
                    <a:pt x="205" y="390"/>
                  </a:lnTo>
                  <a:lnTo>
                    <a:pt x="224" y="400"/>
                  </a:lnTo>
                  <a:lnTo>
                    <a:pt x="244" y="410"/>
                  </a:lnTo>
                  <a:lnTo>
                    <a:pt x="254" y="410"/>
                  </a:lnTo>
                  <a:lnTo>
                    <a:pt x="264" y="400"/>
                  </a:lnTo>
                  <a:lnTo>
                    <a:pt x="283" y="390"/>
                  </a:lnTo>
                  <a:lnTo>
                    <a:pt x="303" y="390"/>
                  </a:lnTo>
                  <a:lnTo>
                    <a:pt x="322" y="400"/>
                  </a:lnTo>
                  <a:lnTo>
                    <a:pt x="342" y="400"/>
                  </a:lnTo>
                  <a:lnTo>
                    <a:pt x="342" y="420"/>
                  </a:lnTo>
                  <a:lnTo>
                    <a:pt x="351" y="439"/>
                  </a:lnTo>
                  <a:lnTo>
                    <a:pt x="351" y="449"/>
                  </a:lnTo>
                  <a:lnTo>
                    <a:pt x="361" y="449"/>
                  </a:lnTo>
                  <a:lnTo>
                    <a:pt x="371" y="439"/>
                  </a:lnTo>
                  <a:lnTo>
                    <a:pt x="381" y="439"/>
                  </a:lnTo>
                  <a:lnTo>
                    <a:pt x="381" y="420"/>
                  </a:lnTo>
                  <a:lnTo>
                    <a:pt x="361" y="410"/>
                  </a:lnTo>
                  <a:lnTo>
                    <a:pt x="361" y="390"/>
                  </a:lnTo>
                  <a:lnTo>
                    <a:pt x="361" y="381"/>
                  </a:lnTo>
                  <a:lnTo>
                    <a:pt x="390" y="381"/>
                  </a:lnTo>
                  <a:lnTo>
                    <a:pt x="420" y="371"/>
                  </a:lnTo>
                  <a:lnTo>
                    <a:pt x="449" y="371"/>
                  </a:lnTo>
                  <a:lnTo>
                    <a:pt x="468" y="361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7" name="Freeform 391"/>
            <p:cNvSpPr>
              <a:spLocks/>
            </p:cNvSpPr>
            <p:nvPr/>
          </p:nvSpPr>
          <p:spPr bwMode="auto">
            <a:xfrm>
              <a:off x="3699" y="3131"/>
              <a:ext cx="643" cy="529"/>
            </a:xfrm>
            <a:custGeom>
              <a:avLst/>
              <a:gdLst>
                <a:gd name="T0" fmla="*/ 127 w 644"/>
                <a:gd name="T1" fmla="*/ 449 h 527"/>
                <a:gd name="T2" fmla="*/ 146 w 644"/>
                <a:gd name="T3" fmla="*/ 439 h 527"/>
                <a:gd name="T4" fmla="*/ 224 w 644"/>
                <a:gd name="T5" fmla="*/ 458 h 527"/>
                <a:gd name="T6" fmla="*/ 263 w 644"/>
                <a:gd name="T7" fmla="*/ 439 h 527"/>
                <a:gd name="T8" fmla="*/ 341 w 644"/>
                <a:gd name="T9" fmla="*/ 429 h 527"/>
                <a:gd name="T10" fmla="*/ 390 w 644"/>
                <a:gd name="T11" fmla="*/ 507 h 527"/>
                <a:gd name="T12" fmla="*/ 439 w 644"/>
                <a:gd name="T13" fmla="*/ 527 h 527"/>
                <a:gd name="T14" fmla="*/ 458 w 644"/>
                <a:gd name="T15" fmla="*/ 507 h 527"/>
                <a:gd name="T16" fmla="*/ 488 w 644"/>
                <a:gd name="T17" fmla="*/ 488 h 527"/>
                <a:gd name="T18" fmla="*/ 517 w 644"/>
                <a:gd name="T19" fmla="*/ 507 h 527"/>
                <a:gd name="T20" fmla="*/ 556 w 644"/>
                <a:gd name="T21" fmla="*/ 488 h 527"/>
                <a:gd name="T22" fmla="*/ 595 w 644"/>
                <a:gd name="T23" fmla="*/ 488 h 527"/>
                <a:gd name="T24" fmla="*/ 614 w 644"/>
                <a:gd name="T25" fmla="*/ 458 h 527"/>
                <a:gd name="T26" fmla="*/ 634 w 644"/>
                <a:gd name="T27" fmla="*/ 439 h 527"/>
                <a:gd name="T28" fmla="*/ 624 w 644"/>
                <a:gd name="T29" fmla="*/ 410 h 527"/>
                <a:gd name="T30" fmla="*/ 644 w 644"/>
                <a:gd name="T31" fmla="*/ 371 h 527"/>
                <a:gd name="T32" fmla="*/ 644 w 644"/>
                <a:gd name="T33" fmla="*/ 351 h 527"/>
                <a:gd name="T34" fmla="*/ 634 w 644"/>
                <a:gd name="T35" fmla="*/ 322 h 527"/>
                <a:gd name="T36" fmla="*/ 614 w 644"/>
                <a:gd name="T37" fmla="*/ 293 h 527"/>
                <a:gd name="T38" fmla="*/ 575 w 644"/>
                <a:gd name="T39" fmla="*/ 312 h 527"/>
                <a:gd name="T40" fmla="*/ 556 w 644"/>
                <a:gd name="T41" fmla="*/ 302 h 527"/>
                <a:gd name="T42" fmla="*/ 556 w 644"/>
                <a:gd name="T43" fmla="*/ 244 h 527"/>
                <a:gd name="T44" fmla="*/ 556 w 644"/>
                <a:gd name="T45" fmla="*/ 224 h 527"/>
                <a:gd name="T46" fmla="*/ 536 w 644"/>
                <a:gd name="T47" fmla="*/ 234 h 527"/>
                <a:gd name="T48" fmla="*/ 478 w 644"/>
                <a:gd name="T49" fmla="*/ 224 h 527"/>
                <a:gd name="T50" fmla="*/ 449 w 644"/>
                <a:gd name="T51" fmla="*/ 185 h 527"/>
                <a:gd name="T52" fmla="*/ 410 w 644"/>
                <a:gd name="T53" fmla="*/ 176 h 527"/>
                <a:gd name="T54" fmla="*/ 371 w 644"/>
                <a:gd name="T55" fmla="*/ 146 h 527"/>
                <a:gd name="T56" fmla="*/ 302 w 644"/>
                <a:gd name="T57" fmla="*/ 78 h 527"/>
                <a:gd name="T58" fmla="*/ 244 w 644"/>
                <a:gd name="T59" fmla="*/ 49 h 527"/>
                <a:gd name="T60" fmla="*/ 185 w 644"/>
                <a:gd name="T61" fmla="*/ 19 h 527"/>
                <a:gd name="T62" fmla="*/ 146 w 644"/>
                <a:gd name="T63" fmla="*/ 39 h 527"/>
                <a:gd name="T64" fmla="*/ 127 w 644"/>
                <a:gd name="T65" fmla="*/ 78 h 527"/>
                <a:gd name="T66" fmla="*/ 127 w 644"/>
                <a:gd name="T67" fmla="*/ 117 h 527"/>
                <a:gd name="T68" fmla="*/ 107 w 644"/>
                <a:gd name="T69" fmla="*/ 127 h 527"/>
                <a:gd name="T70" fmla="*/ 58 w 644"/>
                <a:gd name="T71" fmla="*/ 127 h 527"/>
                <a:gd name="T72" fmla="*/ 39 w 644"/>
                <a:gd name="T73" fmla="*/ 156 h 527"/>
                <a:gd name="T74" fmla="*/ 19 w 644"/>
                <a:gd name="T75" fmla="*/ 176 h 527"/>
                <a:gd name="T76" fmla="*/ 19 w 644"/>
                <a:gd name="T77" fmla="*/ 234 h 527"/>
                <a:gd name="T78" fmla="*/ 29 w 644"/>
                <a:gd name="T79" fmla="*/ 273 h 527"/>
                <a:gd name="T80" fmla="*/ 10 w 644"/>
                <a:gd name="T81" fmla="*/ 293 h 527"/>
                <a:gd name="T82" fmla="*/ 0 w 644"/>
                <a:gd name="T83" fmla="*/ 332 h 527"/>
                <a:gd name="T84" fmla="*/ 39 w 644"/>
                <a:gd name="T85" fmla="*/ 322 h 527"/>
                <a:gd name="T86" fmla="*/ 88 w 644"/>
                <a:gd name="T87" fmla="*/ 322 h 527"/>
                <a:gd name="T88" fmla="*/ 88 w 644"/>
                <a:gd name="T89" fmla="*/ 341 h 527"/>
                <a:gd name="T90" fmla="*/ 49 w 644"/>
                <a:gd name="T91" fmla="*/ 351 h 527"/>
                <a:gd name="T92" fmla="*/ 88 w 644"/>
                <a:gd name="T93" fmla="*/ 419 h 5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4"/>
                <a:gd name="T142" fmla="*/ 0 h 527"/>
                <a:gd name="T143" fmla="*/ 644 w 644"/>
                <a:gd name="T144" fmla="*/ 527 h 5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4" h="527">
                  <a:moveTo>
                    <a:pt x="107" y="449"/>
                  </a:move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46" y="439"/>
                  </a:lnTo>
                  <a:lnTo>
                    <a:pt x="175" y="449"/>
                  </a:lnTo>
                  <a:lnTo>
                    <a:pt x="214" y="449"/>
                  </a:lnTo>
                  <a:lnTo>
                    <a:pt x="224" y="458"/>
                  </a:lnTo>
                  <a:lnTo>
                    <a:pt x="244" y="449"/>
                  </a:lnTo>
                  <a:lnTo>
                    <a:pt x="244" y="439"/>
                  </a:lnTo>
                  <a:lnTo>
                    <a:pt x="263" y="439"/>
                  </a:lnTo>
                  <a:lnTo>
                    <a:pt x="312" y="439"/>
                  </a:lnTo>
                  <a:lnTo>
                    <a:pt x="322" y="429"/>
                  </a:lnTo>
                  <a:lnTo>
                    <a:pt x="341" y="429"/>
                  </a:lnTo>
                  <a:lnTo>
                    <a:pt x="361" y="449"/>
                  </a:lnTo>
                  <a:lnTo>
                    <a:pt x="400" y="478"/>
                  </a:lnTo>
                  <a:lnTo>
                    <a:pt x="390" y="507"/>
                  </a:lnTo>
                  <a:lnTo>
                    <a:pt x="410" y="507"/>
                  </a:lnTo>
                  <a:lnTo>
                    <a:pt x="429" y="527"/>
                  </a:lnTo>
                  <a:lnTo>
                    <a:pt x="439" y="527"/>
                  </a:lnTo>
                  <a:lnTo>
                    <a:pt x="439" y="517"/>
                  </a:lnTo>
                  <a:lnTo>
                    <a:pt x="449" y="517"/>
                  </a:lnTo>
                  <a:lnTo>
                    <a:pt x="458" y="507"/>
                  </a:lnTo>
                  <a:lnTo>
                    <a:pt x="458" y="498"/>
                  </a:lnTo>
                  <a:lnTo>
                    <a:pt x="478" y="498"/>
                  </a:lnTo>
                  <a:lnTo>
                    <a:pt x="488" y="488"/>
                  </a:lnTo>
                  <a:lnTo>
                    <a:pt x="497" y="488"/>
                  </a:lnTo>
                  <a:lnTo>
                    <a:pt x="497" y="498"/>
                  </a:lnTo>
                  <a:lnTo>
                    <a:pt x="517" y="507"/>
                  </a:lnTo>
                  <a:lnTo>
                    <a:pt x="517" y="488"/>
                  </a:lnTo>
                  <a:lnTo>
                    <a:pt x="536" y="488"/>
                  </a:lnTo>
                  <a:lnTo>
                    <a:pt x="556" y="488"/>
                  </a:lnTo>
                  <a:lnTo>
                    <a:pt x="575" y="498"/>
                  </a:lnTo>
                  <a:lnTo>
                    <a:pt x="585" y="498"/>
                  </a:lnTo>
                  <a:lnTo>
                    <a:pt x="595" y="488"/>
                  </a:lnTo>
                  <a:lnTo>
                    <a:pt x="605" y="478"/>
                  </a:lnTo>
                  <a:lnTo>
                    <a:pt x="624" y="478"/>
                  </a:lnTo>
                  <a:lnTo>
                    <a:pt x="614" y="458"/>
                  </a:lnTo>
                  <a:lnTo>
                    <a:pt x="624" y="449"/>
                  </a:lnTo>
                  <a:lnTo>
                    <a:pt x="624" y="439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24" y="419"/>
                  </a:lnTo>
                  <a:lnTo>
                    <a:pt x="624" y="410"/>
                  </a:lnTo>
                  <a:lnTo>
                    <a:pt x="634" y="400"/>
                  </a:lnTo>
                  <a:lnTo>
                    <a:pt x="634" y="380"/>
                  </a:lnTo>
                  <a:lnTo>
                    <a:pt x="644" y="371"/>
                  </a:lnTo>
                  <a:lnTo>
                    <a:pt x="634" y="361"/>
                  </a:lnTo>
                  <a:lnTo>
                    <a:pt x="624" y="351"/>
                  </a:lnTo>
                  <a:lnTo>
                    <a:pt x="644" y="351"/>
                  </a:lnTo>
                  <a:lnTo>
                    <a:pt x="644" y="341"/>
                  </a:lnTo>
                  <a:lnTo>
                    <a:pt x="644" y="332"/>
                  </a:lnTo>
                  <a:lnTo>
                    <a:pt x="634" y="322"/>
                  </a:lnTo>
                  <a:lnTo>
                    <a:pt x="634" y="312"/>
                  </a:lnTo>
                  <a:lnTo>
                    <a:pt x="624" y="293"/>
                  </a:lnTo>
                  <a:lnTo>
                    <a:pt x="614" y="293"/>
                  </a:lnTo>
                  <a:lnTo>
                    <a:pt x="595" y="293"/>
                  </a:lnTo>
                  <a:lnTo>
                    <a:pt x="575" y="302"/>
                  </a:lnTo>
                  <a:lnTo>
                    <a:pt x="575" y="312"/>
                  </a:lnTo>
                  <a:lnTo>
                    <a:pt x="566" y="312"/>
                  </a:lnTo>
                  <a:lnTo>
                    <a:pt x="556" y="312"/>
                  </a:lnTo>
                  <a:lnTo>
                    <a:pt x="556" y="302"/>
                  </a:lnTo>
                  <a:lnTo>
                    <a:pt x="556" y="293"/>
                  </a:lnTo>
                  <a:lnTo>
                    <a:pt x="556" y="263"/>
                  </a:lnTo>
                  <a:lnTo>
                    <a:pt x="556" y="244"/>
                  </a:lnTo>
                  <a:lnTo>
                    <a:pt x="566" y="234"/>
                  </a:lnTo>
                  <a:lnTo>
                    <a:pt x="556" y="224"/>
                  </a:lnTo>
                  <a:lnTo>
                    <a:pt x="546" y="215"/>
                  </a:lnTo>
                  <a:lnTo>
                    <a:pt x="536" y="224"/>
                  </a:lnTo>
                  <a:lnTo>
                    <a:pt x="536" y="234"/>
                  </a:lnTo>
                  <a:lnTo>
                    <a:pt x="517" y="234"/>
                  </a:lnTo>
                  <a:lnTo>
                    <a:pt x="497" y="224"/>
                  </a:lnTo>
                  <a:lnTo>
                    <a:pt x="478" y="224"/>
                  </a:lnTo>
                  <a:lnTo>
                    <a:pt x="468" y="224"/>
                  </a:lnTo>
                  <a:lnTo>
                    <a:pt x="458" y="215"/>
                  </a:lnTo>
                  <a:lnTo>
                    <a:pt x="449" y="185"/>
                  </a:lnTo>
                  <a:lnTo>
                    <a:pt x="439" y="176"/>
                  </a:lnTo>
                  <a:lnTo>
                    <a:pt x="429" y="176"/>
                  </a:lnTo>
                  <a:lnTo>
                    <a:pt x="410" y="176"/>
                  </a:lnTo>
                  <a:lnTo>
                    <a:pt x="390" y="176"/>
                  </a:lnTo>
                  <a:lnTo>
                    <a:pt x="380" y="166"/>
                  </a:lnTo>
                  <a:lnTo>
                    <a:pt x="371" y="146"/>
                  </a:lnTo>
                  <a:lnTo>
                    <a:pt x="351" y="117"/>
                  </a:lnTo>
                  <a:lnTo>
                    <a:pt x="322" y="88"/>
                  </a:lnTo>
                  <a:lnTo>
                    <a:pt x="302" y="78"/>
                  </a:lnTo>
                  <a:lnTo>
                    <a:pt x="292" y="68"/>
                  </a:lnTo>
                  <a:lnTo>
                    <a:pt x="283" y="58"/>
                  </a:lnTo>
                  <a:lnTo>
                    <a:pt x="244" y="49"/>
                  </a:lnTo>
                  <a:lnTo>
                    <a:pt x="224" y="39"/>
                  </a:lnTo>
                  <a:lnTo>
                    <a:pt x="205" y="29"/>
                  </a:lnTo>
                  <a:lnTo>
                    <a:pt x="185" y="19"/>
                  </a:lnTo>
                  <a:lnTo>
                    <a:pt x="166" y="19"/>
                  </a:lnTo>
                  <a:lnTo>
                    <a:pt x="146" y="0"/>
                  </a:lnTo>
                  <a:lnTo>
                    <a:pt x="146" y="39"/>
                  </a:lnTo>
                  <a:lnTo>
                    <a:pt x="146" y="58"/>
                  </a:lnTo>
                  <a:lnTo>
                    <a:pt x="146" y="68"/>
                  </a:lnTo>
                  <a:lnTo>
                    <a:pt x="127" y="78"/>
                  </a:lnTo>
                  <a:lnTo>
                    <a:pt x="117" y="78"/>
                  </a:lnTo>
                  <a:lnTo>
                    <a:pt x="107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17" y="127"/>
                  </a:lnTo>
                  <a:lnTo>
                    <a:pt x="107" y="127"/>
                  </a:lnTo>
                  <a:lnTo>
                    <a:pt x="88" y="117"/>
                  </a:lnTo>
                  <a:lnTo>
                    <a:pt x="88" y="127"/>
                  </a:lnTo>
                  <a:lnTo>
                    <a:pt x="58" y="127"/>
                  </a:lnTo>
                  <a:lnTo>
                    <a:pt x="49" y="137"/>
                  </a:lnTo>
                  <a:lnTo>
                    <a:pt x="49" y="156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76"/>
                  </a:lnTo>
                  <a:lnTo>
                    <a:pt x="19" y="176"/>
                  </a:lnTo>
                  <a:lnTo>
                    <a:pt x="10" y="195"/>
                  </a:lnTo>
                  <a:lnTo>
                    <a:pt x="10" y="215"/>
                  </a:lnTo>
                  <a:lnTo>
                    <a:pt x="19" y="234"/>
                  </a:lnTo>
                  <a:lnTo>
                    <a:pt x="29" y="244"/>
                  </a:lnTo>
                  <a:lnTo>
                    <a:pt x="29" y="263"/>
                  </a:lnTo>
                  <a:lnTo>
                    <a:pt x="29" y="273"/>
                  </a:lnTo>
                  <a:lnTo>
                    <a:pt x="19" y="273"/>
                  </a:lnTo>
                  <a:lnTo>
                    <a:pt x="10" y="293"/>
                  </a:lnTo>
                  <a:lnTo>
                    <a:pt x="10" y="312"/>
                  </a:lnTo>
                  <a:lnTo>
                    <a:pt x="0" y="322"/>
                  </a:lnTo>
                  <a:lnTo>
                    <a:pt x="0" y="332"/>
                  </a:lnTo>
                  <a:lnTo>
                    <a:pt x="10" y="332"/>
                  </a:lnTo>
                  <a:lnTo>
                    <a:pt x="29" y="332"/>
                  </a:lnTo>
                  <a:lnTo>
                    <a:pt x="39" y="322"/>
                  </a:lnTo>
                  <a:lnTo>
                    <a:pt x="49" y="322"/>
                  </a:lnTo>
                  <a:lnTo>
                    <a:pt x="68" y="332"/>
                  </a:lnTo>
                  <a:lnTo>
                    <a:pt x="88" y="322"/>
                  </a:lnTo>
                  <a:lnTo>
                    <a:pt x="97" y="322"/>
                  </a:lnTo>
                  <a:lnTo>
                    <a:pt x="97" y="332"/>
                  </a:lnTo>
                  <a:lnTo>
                    <a:pt x="88" y="341"/>
                  </a:lnTo>
                  <a:lnTo>
                    <a:pt x="78" y="351"/>
                  </a:lnTo>
                  <a:lnTo>
                    <a:pt x="58" y="351"/>
                  </a:lnTo>
                  <a:lnTo>
                    <a:pt x="49" y="351"/>
                  </a:lnTo>
                  <a:lnTo>
                    <a:pt x="58" y="371"/>
                  </a:lnTo>
                  <a:lnTo>
                    <a:pt x="68" y="390"/>
                  </a:lnTo>
                  <a:lnTo>
                    <a:pt x="88" y="419"/>
                  </a:lnTo>
                  <a:lnTo>
                    <a:pt x="97" y="439"/>
                  </a:lnTo>
                  <a:lnTo>
                    <a:pt x="107" y="449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8" name="Freeform 390"/>
            <p:cNvSpPr>
              <a:spLocks/>
            </p:cNvSpPr>
            <p:nvPr/>
          </p:nvSpPr>
          <p:spPr bwMode="auto">
            <a:xfrm>
              <a:off x="2040" y="1787"/>
              <a:ext cx="476" cy="294"/>
            </a:xfrm>
            <a:custGeom>
              <a:avLst/>
              <a:gdLst>
                <a:gd name="T0" fmla="*/ 458 w 478"/>
                <a:gd name="T1" fmla="*/ 186 h 293"/>
                <a:gd name="T2" fmla="*/ 42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54 h 293"/>
                <a:gd name="T58" fmla="*/ 243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74 h 293"/>
                <a:gd name="T70" fmla="*/ 458 w 478"/>
                <a:gd name="T71" fmla="*/ 254 h 293"/>
                <a:gd name="T72" fmla="*/ 468 w 478"/>
                <a:gd name="T73" fmla="*/ 225 h 293"/>
                <a:gd name="T74" fmla="*/ 478 w 478"/>
                <a:gd name="T75" fmla="*/ 205 h 2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8"/>
                <a:gd name="T115" fmla="*/ 0 h 293"/>
                <a:gd name="T116" fmla="*/ 478 w 478"/>
                <a:gd name="T117" fmla="*/ 293 h 2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2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2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96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54"/>
                  </a:lnTo>
                  <a:lnTo>
                    <a:pt x="214" y="254"/>
                  </a:lnTo>
                  <a:lnTo>
                    <a:pt x="234" y="244"/>
                  </a:lnTo>
                  <a:lnTo>
                    <a:pt x="243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74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74"/>
                  </a:lnTo>
                  <a:lnTo>
                    <a:pt x="439" y="274"/>
                  </a:lnTo>
                  <a:lnTo>
                    <a:pt x="458" y="25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  <a:lnTo>
                    <a:pt x="478" y="20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9" name="Freeform 389"/>
            <p:cNvSpPr>
              <a:spLocks/>
            </p:cNvSpPr>
            <p:nvPr/>
          </p:nvSpPr>
          <p:spPr bwMode="auto">
            <a:xfrm>
              <a:off x="2040" y="1787"/>
              <a:ext cx="476" cy="294"/>
            </a:xfrm>
            <a:custGeom>
              <a:avLst/>
              <a:gdLst>
                <a:gd name="T0" fmla="*/ 458 w 478"/>
                <a:gd name="T1" fmla="*/ 186 h 293"/>
                <a:gd name="T2" fmla="*/ 43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64 h 293"/>
                <a:gd name="T58" fmla="*/ 234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83 h 293"/>
                <a:gd name="T70" fmla="*/ 458 w 478"/>
                <a:gd name="T71" fmla="*/ 264 h 293"/>
                <a:gd name="T72" fmla="*/ 468 w 478"/>
                <a:gd name="T73" fmla="*/ 225 h 2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8"/>
                <a:gd name="T112" fmla="*/ 0 h 293"/>
                <a:gd name="T113" fmla="*/ 478 w 478"/>
                <a:gd name="T114" fmla="*/ 293 h 2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3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3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205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64"/>
                  </a:lnTo>
                  <a:lnTo>
                    <a:pt x="214" y="264"/>
                  </a:lnTo>
                  <a:lnTo>
                    <a:pt x="234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83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83"/>
                  </a:lnTo>
                  <a:lnTo>
                    <a:pt x="439" y="283"/>
                  </a:lnTo>
                  <a:lnTo>
                    <a:pt x="458" y="26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</a:path>
              </a:pathLst>
            </a:custGeom>
            <a:noFill/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0" name="Freeform 388"/>
            <p:cNvSpPr>
              <a:spLocks/>
            </p:cNvSpPr>
            <p:nvPr/>
          </p:nvSpPr>
          <p:spPr bwMode="auto">
            <a:xfrm>
              <a:off x="2274" y="1873"/>
              <a:ext cx="566" cy="595"/>
            </a:xfrm>
            <a:custGeom>
              <a:avLst/>
              <a:gdLst>
                <a:gd name="T0" fmla="*/ 195 w 565"/>
                <a:gd name="T1" fmla="*/ 547 h 595"/>
                <a:gd name="T2" fmla="*/ 224 w 565"/>
                <a:gd name="T3" fmla="*/ 488 h 595"/>
                <a:gd name="T4" fmla="*/ 302 w 565"/>
                <a:gd name="T5" fmla="*/ 478 h 595"/>
                <a:gd name="T6" fmla="*/ 322 w 565"/>
                <a:gd name="T7" fmla="*/ 420 h 595"/>
                <a:gd name="T8" fmla="*/ 380 w 565"/>
                <a:gd name="T9" fmla="*/ 410 h 595"/>
                <a:gd name="T10" fmla="*/ 439 w 565"/>
                <a:gd name="T11" fmla="*/ 469 h 595"/>
                <a:gd name="T12" fmla="*/ 468 w 565"/>
                <a:gd name="T13" fmla="*/ 439 h 595"/>
                <a:gd name="T14" fmla="*/ 487 w 565"/>
                <a:gd name="T15" fmla="*/ 410 h 595"/>
                <a:gd name="T16" fmla="*/ 526 w 565"/>
                <a:gd name="T17" fmla="*/ 352 h 595"/>
                <a:gd name="T18" fmla="*/ 565 w 565"/>
                <a:gd name="T19" fmla="*/ 322 h 595"/>
                <a:gd name="T20" fmla="*/ 526 w 565"/>
                <a:gd name="T21" fmla="*/ 283 h 595"/>
                <a:gd name="T22" fmla="*/ 497 w 565"/>
                <a:gd name="T23" fmla="*/ 254 h 595"/>
                <a:gd name="T24" fmla="*/ 458 w 565"/>
                <a:gd name="T25" fmla="*/ 225 h 595"/>
                <a:gd name="T26" fmla="*/ 370 w 565"/>
                <a:gd name="T27" fmla="*/ 215 h 595"/>
                <a:gd name="T28" fmla="*/ 322 w 565"/>
                <a:gd name="T29" fmla="*/ 244 h 595"/>
                <a:gd name="T30" fmla="*/ 322 w 565"/>
                <a:gd name="T31" fmla="*/ 205 h 595"/>
                <a:gd name="T32" fmla="*/ 322 w 565"/>
                <a:gd name="T33" fmla="*/ 166 h 595"/>
                <a:gd name="T34" fmla="*/ 361 w 565"/>
                <a:gd name="T35" fmla="*/ 117 h 595"/>
                <a:gd name="T36" fmla="*/ 370 w 565"/>
                <a:gd name="T37" fmla="*/ 108 h 595"/>
                <a:gd name="T38" fmla="*/ 370 w 565"/>
                <a:gd name="T39" fmla="*/ 49 h 595"/>
                <a:gd name="T40" fmla="*/ 351 w 565"/>
                <a:gd name="T41" fmla="*/ 10 h 595"/>
                <a:gd name="T42" fmla="*/ 322 w 565"/>
                <a:gd name="T43" fmla="*/ 39 h 595"/>
                <a:gd name="T44" fmla="*/ 273 w 565"/>
                <a:gd name="T45" fmla="*/ 39 h 595"/>
                <a:gd name="T46" fmla="*/ 244 w 565"/>
                <a:gd name="T47" fmla="*/ 49 h 595"/>
                <a:gd name="T48" fmla="*/ 263 w 565"/>
                <a:gd name="T49" fmla="*/ 78 h 595"/>
                <a:gd name="T50" fmla="*/ 244 w 565"/>
                <a:gd name="T51" fmla="*/ 117 h 595"/>
                <a:gd name="T52" fmla="*/ 224 w 565"/>
                <a:gd name="T53" fmla="*/ 147 h 595"/>
                <a:gd name="T54" fmla="*/ 175 w 565"/>
                <a:gd name="T55" fmla="*/ 186 h 595"/>
                <a:gd name="T56" fmla="*/ 107 w 565"/>
                <a:gd name="T57" fmla="*/ 186 h 595"/>
                <a:gd name="T58" fmla="*/ 88 w 565"/>
                <a:gd name="T59" fmla="*/ 225 h 595"/>
                <a:gd name="T60" fmla="*/ 107 w 565"/>
                <a:gd name="T61" fmla="*/ 273 h 595"/>
                <a:gd name="T62" fmla="*/ 68 w 565"/>
                <a:gd name="T63" fmla="*/ 283 h 595"/>
                <a:gd name="T64" fmla="*/ 29 w 565"/>
                <a:gd name="T65" fmla="*/ 283 h 595"/>
                <a:gd name="T66" fmla="*/ 0 w 565"/>
                <a:gd name="T67" fmla="*/ 313 h 595"/>
                <a:gd name="T68" fmla="*/ 9 w 565"/>
                <a:gd name="T69" fmla="*/ 342 h 595"/>
                <a:gd name="T70" fmla="*/ 48 w 565"/>
                <a:gd name="T71" fmla="*/ 352 h 595"/>
                <a:gd name="T72" fmla="*/ 107 w 565"/>
                <a:gd name="T73" fmla="*/ 371 h 595"/>
                <a:gd name="T74" fmla="*/ 136 w 565"/>
                <a:gd name="T75" fmla="*/ 391 h 595"/>
                <a:gd name="T76" fmla="*/ 136 w 565"/>
                <a:gd name="T77" fmla="*/ 430 h 595"/>
                <a:gd name="T78" fmla="*/ 127 w 565"/>
                <a:gd name="T79" fmla="*/ 478 h 595"/>
                <a:gd name="T80" fmla="*/ 136 w 565"/>
                <a:gd name="T81" fmla="*/ 527 h 595"/>
                <a:gd name="T82" fmla="*/ 146 w 565"/>
                <a:gd name="T83" fmla="*/ 586 h 595"/>
                <a:gd name="T84" fmla="*/ 166 w 565"/>
                <a:gd name="T85" fmla="*/ 576 h 5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65"/>
                <a:gd name="T130" fmla="*/ 0 h 595"/>
                <a:gd name="T131" fmla="*/ 565 w 565"/>
                <a:gd name="T132" fmla="*/ 595 h 5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65" h="595">
                  <a:moveTo>
                    <a:pt x="166" y="547"/>
                  </a:moveTo>
                  <a:lnTo>
                    <a:pt x="185" y="537"/>
                  </a:lnTo>
                  <a:lnTo>
                    <a:pt x="195" y="547"/>
                  </a:lnTo>
                  <a:lnTo>
                    <a:pt x="214" y="537"/>
                  </a:lnTo>
                  <a:lnTo>
                    <a:pt x="214" y="508"/>
                  </a:lnTo>
                  <a:lnTo>
                    <a:pt x="224" y="488"/>
                  </a:lnTo>
                  <a:lnTo>
                    <a:pt x="244" y="469"/>
                  </a:lnTo>
                  <a:lnTo>
                    <a:pt x="273" y="488"/>
                  </a:lnTo>
                  <a:lnTo>
                    <a:pt x="302" y="478"/>
                  </a:lnTo>
                  <a:lnTo>
                    <a:pt x="312" y="449"/>
                  </a:lnTo>
                  <a:lnTo>
                    <a:pt x="331" y="439"/>
                  </a:lnTo>
                  <a:lnTo>
                    <a:pt x="322" y="420"/>
                  </a:lnTo>
                  <a:lnTo>
                    <a:pt x="341" y="410"/>
                  </a:lnTo>
                  <a:lnTo>
                    <a:pt x="361" y="410"/>
                  </a:lnTo>
                  <a:lnTo>
                    <a:pt x="380" y="410"/>
                  </a:lnTo>
                  <a:lnTo>
                    <a:pt x="400" y="430"/>
                  </a:lnTo>
                  <a:lnTo>
                    <a:pt x="419" y="439"/>
                  </a:lnTo>
                  <a:lnTo>
                    <a:pt x="439" y="469"/>
                  </a:lnTo>
                  <a:lnTo>
                    <a:pt x="458" y="469"/>
                  </a:lnTo>
                  <a:lnTo>
                    <a:pt x="468" y="469"/>
                  </a:lnTo>
                  <a:lnTo>
                    <a:pt x="468" y="439"/>
                  </a:lnTo>
                  <a:lnTo>
                    <a:pt x="478" y="420"/>
                  </a:lnTo>
                  <a:lnTo>
                    <a:pt x="497" y="410"/>
                  </a:lnTo>
                  <a:lnTo>
                    <a:pt x="487" y="410"/>
                  </a:lnTo>
                  <a:lnTo>
                    <a:pt x="487" y="391"/>
                  </a:lnTo>
                  <a:lnTo>
                    <a:pt x="487" y="381"/>
                  </a:lnTo>
                  <a:lnTo>
                    <a:pt x="526" y="352"/>
                  </a:lnTo>
                  <a:lnTo>
                    <a:pt x="536" y="361"/>
                  </a:lnTo>
                  <a:lnTo>
                    <a:pt x="565" y="342"/>
                  </a:lnTo>
                  <a:lnTo>
                    <a:pt x="565" y="322"/>
                  </a:lnTo>
                  <a:lnTo>
                    <a:pt x="565" y="303"/>
                  </a:lnTo>
                  <a:lnTo>
                    <a:pt x="556" y="303"/>
                  </a:lnTo>
                  <a:lnTo>
                    <a:pt x="526" y="283"/>
                  </a:lnTo>
                  <a:lnTo>
                    <a:pt x="517" y="273"/>
                  </a:lnTo>
                  <a:lnTo>
                    <a:pt x="507" y="244"/>
                  </a:lnTo>
                  <a:lnTo>
                    <a:pt x="497" y="254"/>
                  </a:lnTo>
                  <a:lnTo>
                    <a:pt x="468" y="264"/>
                  </a:lnTo>
                  <a:lnTo>
                    <a:pt x="468" y="244"/>
                  </a:lnTo>
                  <a:lnTo>
                    <a:pt x="458" y="225"/>
                  </a:lnTo>
                  <a:lnTo>
                    <a:pt x="429" y="234"/>
                  </a:lnTo>
                  <a:lnTo>
                    <a:pt x="400" y="225"/>
                  </a:lnTo>
                  <a:lnTo>
                    <a:pt x="370" y="215"/>
                  </a:lnTo>
                  <a:lnTo>
                    <a:pt x="341" y="234"/>
                  </a:lnTo>
                  <a:lnTo>
                    <a:pt x="331" y="254"/>
                  </a:lnTo>
                  <a:lnTo>
                    <a:pt x="322" y="244"/>
                  </a:lnTo>
                  <a:lnTo>
                    <a:pt x="322" y="234"/>
                  </a:lnTo>
                  <a:lnTo>
                    <a:pt x="331" y="225"/>
                  </a:lnTo>
                  <a:lnTo>
                    <a:pt x="322" y="205"/>
                  </a:lnTo>
                  <a:lnTo>
                    <a:pt x="341" y="186"/>
                  </a:lnTo>
                  <a:lnTo>
                    <a:pt x="322" y="166"/>
                  </a:lnTo>
                  <a:lnTo>
                    <a:pt x="322" y="156"/>
                  </a:lnTo>
                  <a:lnTo>
                    <a:pt x="331" y="147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0" y="117"/>
                  </a:lnTo>
                  <a:lnTo>
                    <a:pt x="370" y="108"/>
                  </a:lnTo>
                  <a:lnTo>
                    <a:pt x="380" y="88"/>
                  </a:lnTo>
                  <a:lnTo>
                    <a:pt x="400" y="59"/>
                  </a:lnTo>
                  <a:lnTo>
                    <a:pt x="370" y="49"/>
                  </a:lnTo>
                  <a:lnTo>
                    <a:pt x="400" y="30"/>
                  </a:lnTo>
                  <a:lnTo>
                    <a:pt x="370" y="0"/>
                  </a:lnTo>
                  <a:lnTo>
                    <a:pt x="351" y="10"/>
                  </a:lnTo>
                  <a:lnTo>
                    <a:pt x="341" y="30"/>
                  </a:lnTo>
                  <a:lnTo>
                    <a:pt x="331" y="39"/>
                  </a:lnTo>
                  <a:lnTo>
                    <a:pt x="322" y="39"/>
                  </a:lnTo>
                  <a:lnTo>
                    <a:pt x="302" y="39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63" y="30"/>
                  </a:lnTo>
                  <a:lnTo>
                    <a:pt x="253" y="39"/>
                  </a:lnTo>
                  <a:lnTo>
                    <a:pt x="244" y="49"/>
                  </a:lnTo>
                  <a:lnTo>
                    <a:pt x="263" y="59"/>
                  </a:lnTo>
                  <a:lnTo>
                    <a:pt x="273" y="69"/>
                  </a:lnTo>
                  <a:lnTo>
                    <a:pt x="263" y="78"/>
                  </a:lnTo>
                  <a:lnTo>
                    <a:pt x="263" y="98"/>
                  </a:lnTo>
                  <a:lnTo>
                    <a:pt x="253" y="108"/>
                  </a:lnTo>
                  <a:lnTo>
                    <a:pt x="244" y="117"/>
                  </a:lnTo>
                  <a:lnTo>
                    <a:pt x="244" y="127"/>
                  </a:lnTo>
                  <a:lnTo>
                    <a:pt x="234" y="127"/>
                  </a:lnTo>
                  <a:lnTo>
                    <a:pt x="224" y="147"/>
                  </a:lnTo>
                  <a:lnTo>
                    <a:pt x="224" y="166"/>
                  </a:lnTo>
                  <a:lnTo>
                    <a:pt x="205" y="186"/>
                  </a:lnTo>
                  <a:lnTo>
                    <a:pt x="175" y="186"/>
                  </a:lnTo>
                  <a:lnTo>
                    <a:pt x="146" y="186"/>
                  </a:lnTo>
                  <a:lnTo>
                    <a:pt x="127" y="176"/>
                  </a:lnTo>
                  <a:lnTo>
                    <a:pt x="107" y="186"/>
                  </a:lnTo>
                  <a:lnTo>
                    <a:pt x="97" y="195"/>
                  </a:lnTo>
                  <a:lnTo>
                    <a:pt x="78" y="205"/>
                  </a:lnTo>
                  <a:lnTo>
                    <a:pt x="88" y="225"/>
                  </a:lnTo>
                  <a:lnTo>
                    <a:pt x="107" y="244"/>
                  </a:lnTo>
                  <a:lnTo>
                    <a:pt x="117" y="254"/>
                  </a:lnTo>
                  <a:lnTo>
                    <a:pt x="107" y="273"/>
                  </a:lnTo>
                  <a:lnTo>
                    <a:pt x="97" y="283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73"/>
                  </a:lnTo>
                  <a:lnTo>
                    <a:pt x="39" y="273"/>
                  </a:lnTo>
                  <a:lnTo>
                    <a:pt x="29" y="283"/>
                  </a:lnTo>
                  <a:lnTo>
                    <a:pt x="29" y="293"/>
                  </a:lnTo>
                  <a:lnTo>
                    <a:pt x="9" y="303"/>
                  </a:lnTo>
                  <a:lnTo>
                    <a:pt x="0" y="313"/>
                  </a:lnTo>
                  <a:lnTo>
                    <a:pt x="9" y="322"/>
                  </a:lnTo>
                  <a:lnTo>
                    <a:pt x="9" y="332"/>
                  </a:lnTo>
                  <a:lnTo>
                    <a:pt x="9" y="342"/>
                  </a:lnTo>
                  <a:lnTo>
                    <a:pt x="9" y="352"/>
                  </a:lnTo>
                  <a:lnTo>
                    <a:pt x="29" y="352"/>
                  </a:lnTo>
                  <a:lnTo>
                    <a:pt x="48" y="352"/>
                  </a:lnTo>
                  <a:lnTo>
                    <a:pt x="58" y="361"/>
                  </a:lnTo>
                  <a:lnTo>
                    <a:pt x="88" y="361"/>
                  </a:lnTo>
                  <a:lnTo>
                    <a:pt x="107" y="371"/>
                  </a:lnTo>
                  <a:lnTo>
                    <a:pt x="107" y="391"/>
                  </a:lnTo>
                  <a:lnTo>
                    <a:pt x="127" y="381"/>
                  </a:lnTo>
                  <a:lnTo>
                    <a:pt x="136" y="391"/>
                  </a:lnTo>
                  <a:lnTo>
                    <a:pt x="127" y="410"/>
                  </a:lnTo>
                  <a:lnTo>
                    <a:pt x="146" y="420"/>
                  </a:lnTo>
                  <a:lnTo>
                    <a:pt x="136" y="430"/>
                  </a:lnTo>
                  <a:lnTo>
                    <a:pt x="136" y="439"/>
                  </a:lnTo>
                  <a:lnTo>
                    <a:pt x="136" y="459"/>
                  </a:lnTo>
                  <a:lnTo>
                    <a:pt x="127" y="478"/>
                  </a:lnTo>
                  <a:lnTo>
                    <a:pt x="136" y="488"/>
                  </a:lnTo>
                  <a:lnTo>
                    <a:pt x="136" y="527"/>
                  </a:lnTo>
                  <a:lnTo>
                    <a:pt x="146" y="537"/>
                  </a:lnTo>
                  <a:lnTo>
                    <a:pt x="136" y="556"/>
                  </a:lnTo>
                  <a:lnTo>
                    <a:pt x="146" y="586"/>
                  </a:lnTo>
                  <a:lnTo>
                    <a:pt x="146" y="595"/>
                  </a:lnTo>
                  <a:lnTo>
                    <a:pt x="166" y="586"/>
                  </a:lnTo>
                  <a:lnTo>
                    <a:pt x="166" y="576"/>
                  </a:lnTo>
                  <a:lnTo>
                    <a:pt x="175" y="556"/>
                  </a:lnTo>
                  <a:lnTo>
                    <a:pt x="166" y="54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1" name="Freeform 387"/>
            <p:cNvSpPr>
              <a:spLocks/>
            </p:cNvSpPr>
            <p:nvPr/>
          </p:nvSpPr>
          <p:spPr bwMode="auto">
            <a:xfrm>
              <a:off x="1365" y="1505"/>
              <a:ext cx="334" cy="254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9 w 331"/>
                <a:gd name="T23" fmla="*/ 175 h 253"/>
                <a:gd name="T24" fmla="*/ 9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87 h 253"/>
                <a:gd name="T68" fmla="*/ 224 w 331"/>
                <a:gd name="T69" fmla="*/ 107 h 253"/>
                <a:gd name="T70" fmla="*/ 24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146 w 331"/>
                <a:gd name="T111" fmla="*/ 214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9" y="175"/>
                  </a:lnTo>
                  <a:lnTo>
                    <a:pt x="9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87"/>
                  </a:lnTo>
                  <a:lnTo>
                    <a:pt x="224" y="107"/>
                  </a:lnTo>
                  <a:lnTo>
                    <a:pt x="24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02" name="Group 384"/>
            <p:cNvGrpSpPr>
              <a:grpSpLocks/>
            </p:cNvGrpSpPr>
            <p:nvPr/>
          </p:nvGrpSpPr>
          <p:grpSpPr bwMode="auto">
            <a:xfrm>
              <a:off x="1366" y="1503"/>
              <a:ext cx="331" cy="253"/>
              <a:chOff x="1366" y="1503"/>
              <a:chExt cx="331" cy="253"/>
            </a:xfrm>
          </p:grpSpPr>
          <p:sp>
            <p:nvSpPr>
              <p:cNvPr id="764" name="Freeform 386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146 w 331"/>
                  <a:gd name="T111" fmla="*/ 214 h 2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31"/>
                  <a:gd name="T169" fmla="*/ 0 h 253"/>
                  <a:gd name="T170" fmla="*/ 331 w 331"/>
                  <a:gd name="T171" fmla="*/ 253 h 2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  <a:lnTo>
                      <a:pt x="146" y="214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5" name="Freeform 385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1"/>
                  <a:gd name="T166" fmla="*/ 0 h 253"/>
                  <a:gd name="T167" fmla="*/ 331 w 331"/>
                  <a:gd name="T168" fmla="*/ 253 h 2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3" name="Freeform 383"/>
            <p:cNvSpPr>
              <a:spLocks/>
            </p:cNvSpPr>
            <p:nvPr/>
          </p:nvSpPr>
          <p:spPr bwMode="auto">
            <a:xfrm>
              <a:off x="1200" y="1678"/>
              <a:ext cx="252" cy="244"/>
            </a:xfrm>
            <a:custGeom>
              <a:avLst/>
              <a:gdLst>
                <a:gd name="T0" fmla="*/ 127 w 253"/>
                <a:gd name="T1" fmla="*/ 244 h 244"/>
                <a:gd name="T2" fmla="*/ 107 w 253"/>
                <a:gd name="T3" fmla="*/ 244 h 244"/>
                <a:gd name="T4" fmla="*/ 78 w 253"/>
                <a:gd name="T5" fmla="*/ 225 h 244"/>
                <a:gd name="T6" fmla="*/ 97 w 253"/>
                <a:gd name="T7" fmla="*/ 195 h 244"/>
                <a:gd name="T8" fmla="*/ 88 w 253"/>
                <a:gd name="T9" fmla="*/ 166 h 244"/>
                <a:gd name="T10" fmla="*/ 68 w 253"/>
                <a:gd name="T11" fmla="*/ 166 h 244"/>
                <a:gd name="T12" fmla="*/ 58 w 253"/>
                <a:gd name="T13" fmla="*/ 147 h 244"/>
                <a:gd name="T14" fmla="*/ 39 w 253"/>
                <a:gd name="T15" fmla="*/ 107 h 244"/>
                <a:gd name="T16" fmla="*/ 19 w 253"/>
                <a:gd name="T17" fmla="*/ 107 h 244"/>
                <a:gd name="T18" fmla="*/ 0 w 253"/>
                <a:gd name="T19" fmla="*/ 88 h 244"/>
                <a:gd name="T20" fmla="*/ 10 w 253"/>
                <a:gd name="T21" fmla="*/ 59 h 244"/>
                <a:gd name="T22" fmla="*/ 29 w 253"/>
                <a:gd name="T23" fmla="*/ 49 h 244"/>
                <a:gd name="T24" fmla="*/ 49 w 253"/>
                <a:gd name="T25" fmla="*/ 29 h 244"/>
                <a:gd name="T26" fmla="*/ 58 w 253"/>
                <a:gd name="T27" fmla="*/ 10 h 244"/>
                <a:gd name="T28" fmla="*/ 78 w 253"/>
                <a:gd name="T29" fmla="*/ 0 h 244"/>
                <a:gd name="T30" fmla="*/ 97 w 253"/>
                <a:gd name="T31" fmla="*/ 10 h 244"/>
                <a:gd name="T32" fmla="*/ 97 w 253"/>
                <a:gd name="T33" fmla="*/ 39 h 244"/>
                <a:gd name="T34" fmla="*/ 117 w 253"/>
                <a:gd name="T35" fmla="*/ 59 h 244"/>
                <a:gd name="T36" fmla="*/ 146 w 253"/>
                <a:gd name="T37" fmla="*/ 59 h 244"/>
                <a:gd name="T38" fmla="*/ 166 w 253"/>
                <a:gd name="T39" fmla="*/ 39 h 244"/>
                <a:gd name="T40" fmla="*/ 185 w 253"/>
                <a:gd name="T41" fmla="*/ 59 h 244"/>
                <a:gd name="T42" fmla="*/ 244 w 253"/>
                <a:gd name="T43" fmla="*/ 59 h 244"/>
                <a:gd name="T44" fmla="*/ 253 w 253"/>
                <a:gd name="T45" fmla="*/ 59 h 244"/>
                <a:gd name="T46" fmla="*/ 253 w 253"/>
                <a:gd name="T47" fmla="*/ 88 h 244"/>
                <a:gd name="T48" fmla="*/ 253 w 253"/>
                <a:gd name="T49" fmla="*/ 107 h 244"/>
                <a:gd name="T50" fmla="*/ 253 w 253"/>
                <a:gd name="T51" fmla="*/ 137 h 244"/>
                <a:gd name="T52" fmla="*/ 234 w 253"/>
                <a:gd name="T53" fmla="*/ 156 h 244"/>
                <a:gd name="T54" fmla="*/ 234 w 253"/>
                <a:gd name="T55" fmla="*/ 186 h 244"/>
                <a:gd name="T56" fmla="*/ 214 w 253"/>
                <a:gd name="T57" fmla="*/ 205 h 244"/>
                <a:gd name="T58" fmla="*/ 185 w 253"/>
                <a:gd name="T59" fmla="*/ 195 h 244"/>
                <a:gd name="T60" fmla="*/ 166 w 253"/>
                <a:gd name="T61" fmla="*/ 205 h 244"/>
                <a:gd name="T62" fmla="*/ 166 w 253"/>
                <a:gd name="T63" fmla="*/ 225 h 244"/>
                <a:gd name="T64" fmla="*/ 146 w 253"/>
                <a:gd name="T65" fmla="*/ 225 h 244"/>
                <a:gd name="T66" fmla="*/ 127 w 253"/>
                <a:gd name="T67" fmla="*/ 234 h 24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3"/>
                <a:gd name="T103" fmla="*/ 0 h 244"/>
                <a:gd name="T104" fmla="*/ 253 w 253"/>
                <a:gd name="T105" fmla="*/ 244 h 24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3" h="244">
                  <a:moveTo>
                    <a:pt x="136" y="244"/>
                  </a:moveTo>
                  <a:lnTo>
                    <a:pt x="127" y="244"/>
                  </a:lnTo>
                  <a:lnTo>
                    <a:pt x="117" y="244"/>
                  </a:lnTo>
                  <a:lnTo>
                    <a:pt x="107" y="244"/>
                  </a:lnTo>
                  <a:lnTo>
                    <a:pt x="68" y="234"/>
                  </a:lnTo>
                  <a:lnTo>
                    <a:pt x="78" y="225"/>
                  </a:lnTo>
                  <a:lnTo>
                    <a:pt x="88" y="205"/>
                  </a:lnTo>
                  <a:lnTo>
                    <a:pt x="97" y="195"/>
                  </a:lnTo>
                  <a:lnTo>
                    <a:pt x="97" y="186"/>
                  </a:lnTo>
                  <a:lnTo>
                    <a:pt x="88" y="166"/>
                  </a:lnTo>
                  <a:lnTo>
                    <a:pt x="68" y="166"/>
                  </a:lnTo>
                  <a:lnTo>
                    <a:pt x="68" y="156"/>
                  </a:lnTo>
                  <a:lnTo>
                    <a:pt x="58" y="147"/>
                  </a:lnTo>
                  <a:lnTo>
                    <a:pt x="49" y="137"/>
                  </a:lnTo>
                  <a:lnTo>
                    <a:pt x="39" y="107"/>
                  </a:lnTo>
                  <a:lnTo>
                    <a:pt x="29" y="107"/>
                  </a:lnTo>
                  <a:lnTo>
                    <a:pt x="19" y="107"/>
                  </a:lnTo>
                  <a:lnTo>
                    <a:pt x="0" y="107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10" y="5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39" y="39"/>
                  </a:lnTo>
                  <a:lnTo>
                    <a:pt x="49" y="29"/>
                  </a:lnTo>
                  <a:lnTo>
                    <a:pt x="58" y="29"/>
                  </a:lnTo>
                  <a:lnTo>
                    <a:pt x="58" y="10"/>
                  </a:lnTo>
                  <a:lnTo>
                    <a:pt x="68" y="0"/>
                  </a:lnTo>
                  <a:lnTo>
                    <a:pt x="78" y="0"/>
                  </a:lnTo>
                  <a:lnTo>
                    <a:pt x="88" y="0"/>
                  </a:lnTo>
                  <a:lnTo>
                    <a:pt x="97" y="10"/>
                  </a:lnTo>
                  <a:lnTo>
                    <a:pt x="97" y="29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117" y="59"/>
                  </a:lnTo>
                  <a:lnTo>
                    <a:pt x="136" y="59"/>
                  </a:lnTo>
                  <a:lnTo>
                    <a:pt x="146" y="59"/>
                  </a:lnTo>
                  <a:lnTo>
                    <a:pt x="156" y="68"/>
                  </a:lnTo>
                  <a:lnTo>
                    <a:pt x="166" y="39"/>
                  </a:lnTo>
                  <a:lnTo>
                    <a:pt x="175" y="59"/>
                  </a:lnTo>
                  <a:lnTo>
                    <a:pt x="185" y="59"/>
                  </a:lnTo>
                  <a:lnTo>
                    <a:pt x="214" y="59"/>
                  </a:lnTo>
                  <a:lnTo>
                    <a:pt x="244" y="59"/>
                  </a:lnTo>
                  <a:lnTo>
                    <a:pt x="253" y="59"/>
                  </a:lnTo>
                  <a:lnTo>
                    <a:pt x="253" y="78"/>
                  </a:lnTo>
                  <a:lnTo>
                    <a:pt x="253" y="88"/>
                  </a:lnTo>
                  <a:lnTo>
                    <a:pt x="253" y="98"/>
                  </a:lnTo>
                  <a:lnTo>
                    <a:pt x="253" y="107"/>
                  </a:lnTo>
                  <a:lnTo>
                    <a:pt x="253" y="117"/>
                  </a:lnTo>
                  <a:lnTo>
                    <a:pt x="253" y="137"/>
                  </a:lnTo>
                  <a:lnTo>
                    <a:pt x="234" y="147"/>
                  </a:lnTo>
                  <a:lnTo>
                    <a:pt x="234" y="156"/>
                  </a:lnTo>
                  <a:lnTo>
                    <a:pt x="244" y="166"/>
                  </a:lnTo>
                  <a:lnTo>
                    <a:pt x="234" y="186"/>
                  </a:lnTo>
                  <a:lnTo>
                    <a:pt x="224" y="195"/>
                  </a:lnTo>
                  <a:lnTo>
                    <a:pt x="214" y="205"/>
                  </a:lnTo>
                  <a:lnTo>
                    <a:pt x="205" y="205"/>
                  </a:lnTo>
                  <a:lnTo>
                    <a:pt x="185" y="195"/>
                  </a:lnTo>
                  <a:lnTo>
                    <a:pt x="175" y="195"/>
                  </a:lnTo>
                  <a:lnTo>
                    <a:pt x="166" y="205"/>
                  </a:lnTo>
                  <a:lnTo>
                    <a:pt x="175" y="215"/>
                  </a:lnTo>
                  <a:lnTo>
                    <a:pt x="166" y="225"/>
                  </a:lnTo>
                  <a:lnTo>
                    <a:pt x="156" y="225"/>
                  </a:lnTo>
                  <a:lnTo>
                    <a:pt x="146" y="225"/>
                  </a:lnTo>
                  <a:lnTo>
                    <a:pt x="127" y="225"/>
                  </a:lnTo>
                  <a:lnTo>
                    <a:pt x="127" y="234"/>
                  </a:lnTo>
                  <a:lnTo>
                    <a:pt x="136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4" name="Freeform 382"/>
            <p:cNvSpPr>
              <a:spLocks/>
            </p:cNvSpPr>
            <p:nvPr/>
          </p:nvSpPr>
          <p:spPr bwMode="auto">
            <a:xfrm>
              <a:off x="1435" y="1716"/>
              <a:ext cx="264" cy="186"/>
            </a:xfrm>
            <a:custGeom>
              <a:avLst/>
              <a:gdLst>
                <a:gd name="T0" fmla="*/ 244 w 263"/>
                <a:gd name="T1" fmla="*/ 186 h 186"/>
                <a:gd name="T2" fmla="*/ 224 w 263"/>
                <a:gd name="T3" fmla="*/ 186 h 186"/>
                <a:gd name="T4" fmla="*/ 195 w 263"/>
                <a:gd name="T5" fmla="*/ 186 h 186"/>
                <a:gd name="T6" fmla="*/ 166 w 263"/>
                <a:gd name="T7" fmla="*/ 186 h 186"/>
                <a:gd name="T8" fmla="*/ 156 w 263"/>
                <a:gd name="T9" fmla="*/ 176 h 186"/>
                <a:gd name="T10" fmla="*/ 136 w 263"/>
                <a:gd name="T11" fmla="*/ 156 h 186"/>
                <a:gd name="T12" fmla="*/ 136 w 263"/>
                <a:gd name="T13" fmla="*/ 147 h 186"/>
                <a:gd name="T14" fmla="*/ 127 w 263"/>
                <a:gd name="T15" fmla="*/ 156 h 186"/>
                <a:gd name="T16" fmla="*/ 127 w 263"/>
                <a:gd name="T17" fmla="*/ 176 h 186"/>
                <a:gd name="T18" fmla="*/ 107 w 263"/>
                <a:gd name="T19" fmla="*/ 176 h 186"/>
                <a:gd name="T20" fmla="*/ 88 w 263"/>
                <a:gd name="T21" fmla="*/ 176 h 186"/>
                <a:gd name="T22" fmla="*/ 78 w 263"/>
                <a:gd name="T23" fmla="*/ 186 h 186"/>
                <a:gd name="T24" fmla="*/ 68 w 263"/>
                <a:gd name="T25" fmla="*/ 186 h 186"/>
                <a:gd name="T26" fmla="*/ 58 w 263"/>
                <a:gd name="T27" fmla="*/ 186 h 186"/>
                <a:gd name="T28" fmla="*/ 49 w 263"/>
                <a:gd name="T29" fmla="*/ 176 h 186"/>
                <a:gd name="T30" fmla="*/ 10 w 263"/>
                <a:gd name="T31" fmla="*/ 147 h 186"/>
                <a:gd name="T32" fmla="*/ 10 w 263"/>
                <a:gd name="T33" fmla="*/ 137 h 186"/>
                <a:gd name="T34" fmla="*/ 0 w 263"/>
                <a:gd name="T35" fmla="*/ 117 h 186"/>
                <a:gd name="T36" fmla="*/ 10 w 263"/>
                <a:gd name="T37" fmla="*/ 108 h 186"/>
                <a:gd name="T38" fmla="*/ 19 w 263"/>
                <a:gd name="T39" fmla="*/ 98 h 186"/>
                <a:gd name="T40" fmla="*/ 19 w 263"/>
                <a:gd name="T41" fmla="*/ 88 h 186"/>
                <a:gd name="T42" fmla="*/ 19 w 263"/>
                <a:gd name="T43" fmla="*/ 68 h 186"/>
                <a:gd name="T44" fmla="*/ 19 w 263"/>
                <a:gd name="T45" fmla="*/ 59 h 186"/>
                <a:gd name="T46" fmla="*/ 19 w 263"/>
                <a:gd name="T47" fmla="*/ 49 h 186"/>
                <a:gd name="T48" fmla="*/ 29 w 263"/>
                <a:gd name="T49" fmla="*/ 39 h 186"/>
                <a:gd name="T50" fmla="*/ 19 w 263"/>
                <a:gd name="T51" fmla="*/ 20 h 186"/>
                <a:gd name="T52" fmla="*/ 19 w 263"/>
                <a:gd name="T53" fmla="*/ 20 h 186"/>
                <a:gd name="T54" fmla="*/ 29 w 263"/>
                <a:gd name="T55" fmla="*/ 20 h 186"/>
                <a:gd name="T56" fmla="*/ 49 w 263"/>
                <a:gd name="T57" fmla="*/ 10 h 186"/>
                <a:gd name="T58" fmla="*/ 78 w 263"/>
                <a:gd name="T59" fmla="*/ 0 h 186"/>
                <a:gd name="T60" fmla="*/ 88 w 263"/>
                <a:gd name="T61" fmla="*/ 20 h 186"/>
                <a:gd name="T62" fmla="*/ 88 w 263"/>
                <a:gd name="T63" fmla="*/ 29 h 186"/>
                <a:gd name="T64" fmla="*/ 107 w 263"/>
                <a:gd name="T65" fmla="*/ 29 h 186"/>
                <a:gd name="T66" fmla="*/ 107 w 263"/>
                <a:gd name="T67" fmla="*/ 29 h 186"/>
                <a:gd name="T68" fmla="*/ 127 w 263"/>
                <a:gd name="T69" fmla="*/ 39 h 186"/>
                <a:gd name="T70" fmla="*/ 146 w 263"/>
                <a:gd name="T71" fmla="*/ 29 h 186"/>
                <a:gd name="T72" fmla="*/ 166 w 263"/>
                <a:gd name="T73" fmla="*/ 39 h 186"/>
                <a:gd name="T74" fmla="*/ 195 w 263"/>
                <a:gd name="T75" fmla="*/ 39 h 186"/>
                <a:gd name="T76" fmla="*/ 205 w 263"/>
                <a:gd name="T77" fmla="*/ 29 h 186"/>
                <a:gd name="T78" fmla="*/ 214 w 263"/>
                <a:gd name="T79" fmla="*/ 49 h 186"/>
                <a:gd name="T80" fmla="*/ 214 w 263"/>
                <a:gd name="T81" fmla="*/ 68 h 186"/>
                <a:gd name="T82" fmla="*/ 234 w 263"/>
                <a:gd name="T83" fmla="*/ 88 h 186"/>
                <a:gd name="T84" fmla="*/ 244 w 263"/>
                <a:gd name="T85" fmla="*/ 88 h 186"/>
                <a:gd name="T86" fmla="*/ 253 w 263"/>
                <a:gd name="T87" fmla="*/ 88 h 186"/>
                <a:gd name="T88" fmla="*/ 263 w 263"/>
                <a:gd name="T89" fmla="*/ 117 h 186"/>
                <a:gd name="T90" fmla="*/ 263 w 263"/>
                <a:gd name="T91" fmla="*/ 147 h 186"/>
                <a:gd name="T92" fmla="*/ 244 w 263"/>
                <a:gd name="T93" fmla="*/ 156 h 186"/>
                <a:gd name="T94" fmla="*/ 234 w 263"/>
                <a:gd name="T95" fmla="*/ 176 h 186"/>
                <a:gd name="T96" fmla="*/ 244 w 263"/>
                <a:gd name="T97" fmla="*/ 186 h 18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63"/>
                <a:gd name="T148" fmla="*/ 0 h 186"/>
                <a:gd name="T149" fmla="*/ 263 w 263"/>
                <a:gd name="T150" fmla="*/ 186 h 18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63" h="186">
                  <a:moveTo>
                    <a:pt x="244" y="186"/>
                  </a:moveTo>
                  <a:lnTo>
                    <a:pt x="224" y="186"/>
                  </a:lnTo>
                  <a:lnTo>
                    <a:pt x="195" y="186"/>
                  </a:lnTo>
                  <a:lnTo>
                    <a:pt x="166" y="186"/>
                  </a:lnTo>
                  <a:lnTo>
                    <a:pt x="156" y="176"/>
                  </a:lnTo>
                  <a:lnTo>
                    <a:pt x="136" y="156"/>
                  </a:lnTo>
                  <a:lnTo>
                    <a:pt x="136" y="147"/>
                  </a:lnTo>
                  <a:lnTo>
                    <a:pt x="127" y="156"/>
                  </a:lnTo>
                  <a:lnTo>
                    <a:pt x="127" y="176"/>
                  </a:lnTo>
                  <a:lnTo>
                    <a:pt x="107" y="17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68" y="186"/>
                  </a:lnTo>
                  <a:lnTo>
                    <a:pt x="58" y="186"/>
                  </a:lnTo>
                  <a:lnTo>
                    <a:pt x="49" y="176"/>
                  </a:lnTo>
                  <a:lnTo>
                    <a:pt x="10" y="147"/>
                  </a:lnTo>
                  <a:lnTo>
                    <a:pt x="10" y="13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9" y="98"/>
                  </a:lnTo>
                  <a:lnTo>
                    <a:pt x="19" y="88"/>
                  </a:lnTo>
                  <a:lnTo>
                    <a:pt x="19" y="68"/>
                  </a:lnTo>
                  <a:lnTo>
                    <a:pt x="19" y="59"/>
                  </a:lnTo>
                  <a:lnTo>
                    <a:pt x="19" y="49"/>
                  </a:lnTo>
                  <a:lnTo>
                    <a:pt x="29" y="39"/>
                  </a:lnTo>
                  <a:lnTo>
                    <a:pt x="19" y="20"/>
                  </a:lnTo>
                  <a:lnTo>
                    <a:pt x="29" y="20"/>
                  </a:lnTo>
                  <a:lnTo>
                    <a:pt x="49" y="10"/>
                  </a:lnTo>
                  <a:lnTo>
                    <a:pt x="78" y="0"/>
                  </a:lnTo>
                  <a:lnTo>
                    <a:pt x="88" y="20"/>
                  </a:lnTo>
                  <a:lnTo>
                    <a:pt x="88" y="29"/>
                  </a:lnTo>
                  <a:lnTo>
                    <a:pt x="107" y="29"/>
                  </a:lnTo>
                  <a:lnTo>
                    <a:pt x="127" y="39"/>
                  </a:lnTo>
                  <a:lnTo>
                    <a:pt x="146" y="29"/>
                  </a:lnTo>
                  <a:lnTo>
                    <a:pt x="166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49"/>
                  </a:lnTo>
                  <a:lnTo>
                    <a:pt x="214" y="68"/>
                  </a:lnTo>
                  <a:lnTo>
                    <a:pt x="234" y="88"/>
                  </a:lnTo>
                  <a:lnTo>
                    <a:pt x="244" y="88"/>
                  </a:lnTo>
                  <a:lnTo>
                    <a:pt x="253" y="88"/>
                  </a:lnTo>
                  <a:lnTo>
                    <a:pt x="263" y="117"/>
                  </a:lnTo>
                  <a:lnTo>
                    <a:pt x="263" y="147"/>
                  </a:lnTo>
                  <a:lnTo>
                    <a:pt x="244" y="156"/>
                  </a:lnTo>
                  <a:lnTo>
                    <a:pt x="234" y="176"/>
                  </a:lnTo>
                  <a:lnTo>
                    <a:pt x="244" y="18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5" name="Freeform 381"/>
            <p:cNvSpPr>
              <a:spLocks/>
            </p:cNvSpPr>
            <p:nvPr/>
          </p:nvSpPr>
          <p:spPr bwMode="auto">
            <a:xfrm>
              <a:off x="1638" y="1688"/>
              <a:ext cx="254" cy="322"/>
            </a:xfrm>
            <a:custGeom>
              <a:avLst/>
              <a:gdLst>
                <a:gd name="T0" fmla="*/ 48 w 253"/>
                <a:gd name="T1" fmla="*/ 234 h 322"/>
                <a:gd name="T2" fmla="*/ 48 w 253"/>
                <a:gd name="T3" fmla="*/ 244 h 322"/>
                <a:gd name="T4" fmla="*/ 48 w 253"/>
                <a:gd name="T5" fmla="*/ 273 h 322"/>
                <a:gd name="T6" fmla="*/ 39 w 253"/>
                <a:gd name="T7" fmla="*/ 302 h 322"/>
                <a:gd name="T8" fmla="*/ 48 w 253"/>
                <a:gd name="T9" fmla="*/ 302 h 322"/>
                <a:gd name="T10" fmla="*/ 68 w 253"/>
                <a:gd name="T11" fmla="*/ 302 h 322"/>
                <a:gd name="T12" fmla="*/ 87 w 253"/>
                <a:gd name="T13" fmla="*/ 293 h 322"/>
                <a:gd name="T14" fmla="*/ 97 w 253"/>
                <a:gd name="T15" fmla="*/ 302 h 322"/>
                <a:gd name="T16" fmla="*/ 146 w 253"/>
                <a:gd name="T17" fmla="*/ 322 h 322"/>
                <a:gd name="T18" fmla="*/ 185 w 253"/>
                <a:gd name="T19" fmla="*/ 322 h 322"/>
                <a:gd name="T20" fmla="*/ 205 w 253"/>
                <a:gd name="T21" fmla="*/ 312 h 322"/>
                <a:gd name="T22" fmla="*/ 224 w 253"/>
                <a:gd name="T23" fmla="*/ 302 h 322"/>
                <a:gd name="T24" fmla="*/ 224 w 253"/>
                <a:gd name="T25" fmla="*/ 273 h 322"/>
                <a:gd name="T26" fmla="*/ 214 w 253"/>
                <a:gd name="T27" fmla="*/ 244 h 322"/>
                <a:gd name="T28" fmla="*/ 214 w 253"/>
                <a:gd name="T29" fmla="*/ 205 h 322"/>
                <a:gd name="T30" fmla="*/ 205 w 253"/>
                <a:gd name="T31" fmla="*/ 176 h 322"/>
                <a:gd name="T32" fmla="*/ 253 w 253"/>
                <a:gd name="T33" fmla="*/ 127 h 322"/>
                <a:gd name="T34" fmla="*/ 253 w 253"/>
                <a:gd name="T35" fmla="*/ 97 h 322"/>
                <a:gd name="T36" fmla="*/ 244 w 253"/>
                <a:gd name="T37" fmla="*/ 88 h 322"/>
                <a:gd name="T38" fmla="*/ 224 w 253"/>
                <a:gd name="T39" fmla="*/ 68 h 322"/>
                <a:gd name="T40" fmla="*/ 205 w 253"/>
                <a:gd name="T41" fmla="*/ 78 h 322"/>
                <a:gd name="T42" fmla="*/ 185 w 253"/>
                <a:gd name="T43" fmla="*/ 78 h 322"/>
                <a:gd name="T44" fmla="*/ 166 w 253"/>
                <a:gd name="T45" fmla="*/ 49 h 322"/>
                <a:gd name="T46" fmla="*/ 127 w 253"/>
                <a:gd name="T47" fmla="*/ 19 h 322"/>
                <a:gd name="T48" fmla="*/ 107 w 253"/>
                <a:gd name="T49" fmla="*/ 0 h 322"/>
                <a:gd name="T50" fmla="*/ 68 w 253"/>
                <a:gd name="T51" fmla="*/ 0 h 322"/>
                <a:gd name="T52" fmla="*/ 58 w 253"/>
                <a:gd name="T53" fmla="*/ 19 h 322"/>
                <a:gd name="T54" fmla="*/ 19 w 253"/>
                <a:gd name="T55" fmla="*/ 49 h 322"/>
                <a:gd name="T56" fmla="*/ 9 w 253"/>
                <a:gd name="T57" fmla="*/ 78 h 322"/>
                <a:gd name="T58" fmla="*/ 29 w 253"/>
                <a:gd name="T59" fmla="*/ 107 h 322"/>
                <a:gd name="T60" fmla="*/ 48 w 253"/>
                <a:gd name="T61" fmla="*/ 117 h 322"/>
                <a:gd name="T62" fmla="*/ 58 w 253"/>
                <a:gd name="T63" fmla="*/ 176 h 322"/>
                <a:gd name="T64" fmla="*/ 97 w 253"/>
                <a:gd name="T65" fmla="*/ 156 h 322"/>
                <a:gd name="T66" fmla="*/ 97 w 253"/>
                <a:gd name="T67" fmla="*/ 146 h 322"/>
                <a:gd name="T68" fmla="*/ 117 w 253"/>
                <a:gd name="T69" fmla="*/ 127 h 322"/>
                <a:gd name="T70" fmla="*/ 146 w 253"/>
                <a:gd name="T71" fmla="*/ 127 h 322"/>
                <a:gd name="T72" fmla="*/ 166 w 253"/>
                <a:gd name="T73" fmla="*/ 127 h 322"/>
                <a:gd name="T74" fmla="*/ 175 w 253"/>
                <a:gd name="T75" fmla="*/ 146 h 322"/>
                <a:gd name="T76" fmla="*/ 175 w 253"/>
                <a:gd name="T77" fmla="*/ 166 h 322"/>
                <a:gd name="T78" fmla="*/ 166 w 253"/>
                <a:gd name="T79" fmla="*/ 185 h 322"/>
                <a:gd name="T80" fmla="*/ 136 w 253"/>
                <a:gd name="T81" fmla="*/ 185 h 322"/>
                <a:gd name="T82" fmla="*/ 117 w 253"/>
                <a:gd name="T83" fmla="*/ 185 h 322"/>
                <a:gd name="T84" fmla="*/ 97 w 253"/>
                <a:gd name="T85" fmla="*/ 176 h 322"/>
                <a:gd name="T86" fmla="*/ 58 w 253"/>
                <a:gd name="T87" fmla="*/ 176 h 322"/>
                <a:gd name="T88" fmla="*/ 29 w 253"/>
                <a:gd name="T89" fmla="*/ 205 h 322"/>
                <a:gd name="T90" fmla="*/ 39 w 253"/>
                <a:gd name="T91" fmla="*/ 224 h 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3"/>
                <a:gd name="T139" fmla="*/ 0 h 322"/>
                <a:gd name="T140" fmla="*/ 253 w 253"/>
                <a:gd name="T141" fmla="*/ 322 h 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3" h="322">
                  <a:moveTo>
                    <a:pt x="39" y="234"/>
                  </a:moveTo>
                  <a:lnTo>
                    <a:pt x="48" y="234"/>
                  </a:lnTo>
                  <a:lnTo>
                    <a:pt x="58" y="234"/>
                  </a:lnTo>
                  <a:lnTo>
                    <a:pt x="48" y="244"/>
                  </a:lnTo>
                  <a:lnTo>
                    <a:pt x="58" y="263"/>
                  </a:lnTo>
                  <a:lnTo>
                    <a:pt x="48" y="273"/>
                  </a:lnTo>
                  <a:lnTo>
                    <a:pt x="39" y="283"/>
                  </a:lnTo>
                  <a:lnTo>
                    <a:pt x="39" y="302"/>
                  </a:lnTo>
                  <a:lnTo>
                    <a:pt x="39" y="312"/>
                  </a:lnTo>
                  <a:lnTo>
                    <a:pt x="48" y="302"/>
                  </a:lnTo>
                  <a:lnTo>
                    <a:pt x="58" y="312"/>
                  </a:lnTo>
                  <a:lnTo>
                    <a:pt x="68" y="302"/>
                  </a:lnTo>
                  <a:lnTo>
                    <a:pt x="68" y="293"/>
                  </a:lnTo>
                  <a:lnTo>
                    <a:pt x="87" y="293"/>
                  </a:lnTo>
                  <a:lnTo>
                    <a:pt x="97" y="302"/>
                  </a:lnTo>
                  <a:lnTo>
                    <a:pt x="117" y="302"/>
                  </a:lnTo>
                  <a:lnTo>
                    <a:pt x="146" y="322"/>
                  </a:lnTo>
                  <a:lnTo>
                    <a:pt x="166" y="312"/>
                  </a:lnTo>
                  <a:lnTo>
                    <a:pt x="185" y="322"/>
                  </a:lnTo>
                  <a:lnTo>
                    <a:pt x="205" y="322"/>
                  </a:lnTo>
                  <a:lnTo>
                    <a:pt x="205" y="312"/>
                  </a:lnTo>
                  <a:lnTo>
                    <a:pt x="224" y="312"/>
                  </a:lnTo>
                  <a:lnTo>
                    <a:pt x="224" y="302"/>
                  </a:lnTo>
                  <a:lnTo>
                    <a:pt x="224" y="283"/>
                  </a:lnTo>
                  <a:lnTo>
                    <a:pt x="224" y="273"/>
                  </a:lnTo>
                  <a:lnTo>
                    <a:pt x="234" y="263"/>
                  </a:lnTo>
                  <a:lnTo>
                    <a:pt x="214" y="244"/>
                  </a:lnTo>
                  <a:lnTo>
                    <a:pt x="214" y="224"/>
                  </a:lnTo>
                  <a:lnTo>
                    <a:pt x="214" y="205"/>
                  </a:lnTo>
                  <a:lnTo>
                    <a:pt x="205" y="195"/>
                  </a:lnTo>
                  <a:lnTo>
                    <a:pt x="205" y="176"/>
                  </a:lnTo>
                  <a:lnTo>
                    <a:pt x="244" y="146"/>
                  </a:lnTo>
                  <a:lnTo>
                    <a:pt x="253" y="127"/>
                  </a:lnTo>
                  <a:lnTo>
                    <a:pt x="253" y="107"/>
                  </a:lnTo>
                  <a:lnTo>
                    <a:pt x="253" y="97"/>
                  </a:lnTo>
                  <a:lnTo>
                    <a:pt x="253" y="88"/>
                  </a:lnTo>
                  <a:lnTo>
                    <a:pt x="244" y="88"/>
                  </a:lnTo>
                  <a:lnTo>
                    <a:pt x="234" y="68"/>
                  </a:lnTo>
                  <a:lnTo>
                    <a:pt x="224" y="68"/>
                  </a:lnTo>
                  <a:lnTo>
                    <a:pt x="214" y="78"/>
                  </a:lnTo>
                  <a:lnTo>
                    <a:pt x="205" y="78"/>
                  </a:lnTo>
                  <a:lnTo>
                    <a:pt x="195" y="78"/>
                  </a:lnTo>
                  <a:lnTo>
                    <a:pt x="185" y="78"/>
                  </a:lnTo>
                  <a:lnTo>
                    <a:pt x="185" y="58"/>
                  </a:lnTo>
                  <a:lnTo>
                    <a:pt x="166" y="49"/>
                  </a:lnTo>
                  <a:lnTo>
                    <a:pt x="127" y="39"/>
                  </a:lnTo>
                  <a:lnTo>
                    <a:pt x="127" y="19"/>
                  </a:lnTo>
                  <a:lnTo>
                    <a:pt x="127" y="0"/>
                  </a:lnTo>
                  <a:lnTo>
                    <a:pt x="107" y="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58" y="10"/>
                  </a:lnTo>
                  <a:lnTo>
                    <a:pt x="58" y="19"/>
                  </a:lnTo>
                  <a:lnTo>
                    <a:pt x="48" y="29"/>
                  </a:lnTo>
                  <a:lnTo>
                    <a:pt x="19" y="49"/>
                  </a:lnTo>
                  <a:lnTo>
                    <a:pt x="0" y="58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29" y="107"/>
                  </a:lnTo>
                  <a:lnTo>
                    <a:pt x="39" y="117"/>
                  </a:lnTo>
                  <a:lnTo>
                    <a:pt x="48" y="117"/>
                  </a:lnTo>
                  <a:lnTo>
                    <a:pt x="58" y="146"/>
                  </a:lnTo>
                  <a:lnTo>
                    <a:pt x="58" y="176"/>
                  </a:lnTo>
                  <a:lnTo>
                    <a:pt x="97" y="166"/>
                  </a:lnTo>
                  <a:lnTo>
                    <a:pt x="97" y="156"/>
                  </a:lnTo>
                  <a:lnTo>
                    <a:pt x="97" y="146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27" y="127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66" y="127"/>
                  </a:lnTo>
                  <a:lnTo>
                    <a:pt x="175" y="137"/>
                  </a:lnTo>
                  <a:lnTo>
                    <a:pt x="175" y="146"/>
                  </a:lnTo>
                  <a:lnTo>
                    <a:pt x="175" y="156"/>
                  </a:lnTo>
                  <a:lnTo>
                    <a:pt x="175" y="166"/>
                  </a:lnTo>
                  <a:lnTo>
                    <a:pt x="175" y="176"/>
                  </a:lnTo>
                  <a:lnTo>
                    <a:pt x="166" y="185"/>
                  </a:lnTo>
                  <a:lnTo>
                    <a:pt x="156" y="185"/>
                  </a:lnTo>
                  <a:lnTo>
                    <a:pt x="136" y="185"/>
                  </a:lnTo>
                  <a:lnTo>
                    <a:pt x="127" y="185"/>
                  </a:lnTo>
                  <a:lnTo>
                    <a:pt x="117" y="185"/>
                  </a:lnTo>
                  <a:lnTo>
                    <a:pt x="107" y="18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58" y="176"/>
                  </a:lnTo>
                  <a:lnTo>
                    <a:pt x="48" y="185"/>
                  </a:lnTo>
                  <a:lnTo>
                    <a:pt x="29" y="205"/>
                  </a:lnTo>
                  <a:lnTo>
                    <a:pt x="39" y="215"/>
                  </a:lnTo>
                  <a:lnTo>
                    <a:pt x="39" y="224"/>
                  </a:lnTo>
                  <a:lnTo>
                    <a:pt x="39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380"/>
            <p:cNvSpPr>
              <a:spLocks/>
            </p:cNvSpPr>
            <p:nvPr/>
          </p:nvSpPr>
          <p:spPr bwMode="auto">
            <a:xfrm>
              <a:off x="1943" y="1852"/>
              <a:ext cx="235" cy="197"/>
            </a:xfrm>
            <a:custGeom>
              <a:avLst/>
              <a:gdLst>
                <a:gd name="T0" fmla="*/ 0 w 234"/>
                <a:gd name="T1" fmla="*/ 10 h 195"/>
                <a:gd name="T2" fmla="*/ 10 w 234"/>
                <a:gd name="T3" fmla="*/ 29 h 195"/>
                <a:gd name="T4" fmla="*/ 10 w 234"/>
                <a:gd name="T5" fmla="*/ 39 h 195"/>
                <a:gd name="T6" fmla="*/ 0 w 234"/>
                <a:gd name="T7" fmla="*/ 58 h 195"/>
                <a:gd name="T8" fmla="*/ 10 w 234"/>
                <a:gd name="T9" fmla="*/ 68 h 195"/>
                <a:gd name="T10" fmla="*/ 20 w 234"/>
                <a:gd name="T11" fmla="*/ 68 h 195"/>
                <a:gd name="T12" fmla="*/ 39 w 234"/>
                <a:gd name="T13" fmla="*/ 78 h 195"/>
                <a:gd name="T14" fmla="*/ 49 w 234"/>
                <a:gd name="T15" fmla="*/ 88 h 195"/>
                <a:gd name="T16" fmla="*/ 39 w 234"/>
                <a:gd name="T17" fmla="*/ 107 h 195"/>
                <a:gd name="T18" fmla="*/ 59 w 234"/>
                <a:gd name="T19" fmla="*/ 107 h 195"/>
                <a:gd name="T20" fmla="*/ 59 w 234"/>
                <a:gd name="T21" fmla="*/ 136 h 195"/>
                <a:gd name="T22" fmla="*/ 78 w 234"/>
                <a:gd name="T23" fmla="*/ 156 h 195"/>
                <a:gd name="T24" fmla="*/ 88 w 234"/>
                <a:gd name="T25" fmla="*/ 175 h 195"/>
                <a:gd name="T26" fmla="*/ 107 w 234"/>
                <a:gd name="T27" fmla="*/ 185 h 195"/>
                <a:gd name="T28" fmla="*/ 127 w 234"/>
                <a:gd name="T29" fmla="*/ 195 h 195"/>
                <a:gd name="T30" fmla="*/ 137 w 234"/>
                <a:gd name="T31" fmla="*/ 195 h 195"/>
                <a:gd name="T32" fmla="*/ 137 w 234"/>
                <a:gd name="T33" fmla="*/ 175 h 195"/>
                <a:gd name="T34" fmla="*/ 146 w 234"/>
                <a:gd name="T35" fmla="*/ 175 h 195"/>
                <a:gd name="T36" fmla="*/ 166 w 234"/>
                <a:gd name="T37" fmla="*/ 185 h 195"/>
                <a:gd name="T38" fmla="*/ 185 w 234"/>
                <a:gd name="T39" fmla="*/ 195 h 195"/>
                <a:gd name="T40" fmla="*/ 195 w 234"/>
                <a:gd name="T41" fmla="*/ 195 h 195"/>
                <a:gd name="T42" fmla="*/ 205 w 234"/>
                <a:gd name="T43" fmla="*/ 175 h 195"/>
                <a:gd name="T44" fmla="*/ 215 w 234"/>
                <a:gd name="T45" fmla="*/ 185 h 195"/>
                <a:gd name="T46" fmla="*/ 224 w 234"/>
                <a:gd name="T47" fmla="*/ 175 h 195"/>
                <a:gd name="T48" fmla="*/ 234 w 234"/>
                <a:gd name="T49" fmla="*/ 175 h 195"/>
                <a:gd name="T50" fmla="*/ 234 w 234"/>
                <a:gd name="T51" fmla="*/ 146 h 195"/>
                <a:gd name="T52" fmla="*/ 224 w 234"/>
                <a:gd name="T53" fmla="*/ 156 h 195"/>
                <a:gd name="T54" fmla="*/ 215 w 234"/>
                <a:gd name="T55" fmla="*/ 146 h 195"/>
                <a:gd name="T56" fmla="*/ 195 w 234"/>
                <a:gd name="T57" fmla="*/ 136 h 195"/>
                <a:gd name="T58" fmla="*/ 205 w 234"/>
                <a:gd name="T59" fmla="*/ 127 h 195"/>
                <a:gd name="T60" fmla="*/ 215 w 234"/>
                <a:gd name="T61" fmla="*/ 117 h 195"/>
                <a:gd name="T62" fmla="*/ 215 w 234"/>
                <a:gd name="T63" fmla="*/ 97 h 195"/>
                <a:gd name="T64" fmla="*/ 205 w 234"/>
                <a:gd name="T65" fmla="*/ 97 h 195"/>
                <a:gd name="T66" fmla="*/ 185 w 234"/>
                <a:gd name="T67" fmla="*/ 88 h 195"/>
                <a:gd name="T68" fmla="*/ 176 w 234"/>
                <a:gd name="T69" fmla="*/ 68 h 195"/>
                <a:gd name="T70" fmla="*/ 176 w 234"/>
                <a:gd name="T71" fmla="*/ 58 h 195"/>
                <a:gd name="T72" fmla="*/ 156 w 234"/>
                <a:gd name="T73" fmla="*/ 58 h 195"/>
                <a:gd name="T74" fmla="*/ 146 w 234"/>
                <a:gd name="T75" fmla="*/ 68 h 195"/>
                <a:gd name="T76" fmla="*/ 137 w 234"/>
                <a:gd name="T77" fmla="*/ 68 h 195"/>
                <a:gd name="T78" fmla="*/ 127 w 234"/>
                <a:gd name="T79" fmla="*/ 49 h 195"/>
                <a:gd name="T80" fmla="*/ 98 w 234"/>
                <a:gd name="T81" fmla="*/ 29 h 195"/>
                <a:gd name="T82" fmla="*/ 98 w 234"/>
                <a:gd name="T83" fmla="*/ 19 h 195"/>
                <a:gd name="T84" fmla="*/ 88 w 234"/>
                <a:gd name="T85" fmla="*/ 29 h 195"/>
                <a:gd name="T86" fmla="*/ 78 w 234"/>
                <a:gd name="T87" fmla="*/ 29 h 195"/>
                <a:gd name="T88" fmla="*/ 88 w 234"/>
                <a:gd name="T89" fmla="*/ 10 h 195"/>
                <a:gd name="T90" fmla="*/ 59 w 234"/>
                <a:gd name="T91" fmla="*/ 10 h 195"/>
                <a:gd name="T92" fmla="*/ 49 w 234"/>
                <a:gd name="T93" fmla="*/ 0 h 195"/>
                <a:gd name="T94" fmla="*/ 39 w 234"/>
                <a:gd name="T95" fmla="*/ 10 h 195"/>
                <a:gd name="T96" fmla="*/ 29 w 234"/>
                <a:gd name="T97" fmla="*/ 10 h 195"/>
                <a:gd name="T98" fmla="*/ 10 w 234"/>
                <a:gd name="T99" fmla="*/ 10 h 195"/>
                <a:gd name="T100" fmla="*/ 0 w 234"/>
                <a:gd name="T101" fmla="*/ 10 h 19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34"/>
                <a:gd name="T154" fmla="*/ 0 h 195"/>
                <a:gd name="T155" fmla="*/ 234 w 234"/>
                <a:gd name="T156" fmla="*/ 195 h 19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34" h="195">
                  <a:moveTo>
                    <a:pt x="0" y="10"/>
                  </a:moveTo>
                  <a:lnTo>
                    <a:pt x="10" y="29"/>
                  </a:lnTo>
                  <a:lnTo>
                    <a:pt x="10" y="39"/>
                  </a:lnTo>
                  <a:lnTo>
                    <a:pt x="0" y="58"/>
                  </a:lnTo>
                  <a:lnTo>
                    <a:pt x="10" y="68"/>
                  </a:lnTo>
                  <a:lnTo>
                    <a:pt x="20" y="68"/>
                  </a:lnTo>
                  <a:lnTo>
                    <a:pt x="39" y="78"/>
                  </a:lnTo>
                  <a:lnTo>
                    <a:pt x="4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59" y="136"/>
                  </a:lnTo>
                  <a:lnTo>
                    <a:pt x="78" y="156"/>
                  </a:lnTo>
                  <a:lnTo>
                    <a:pt x="88" y="175"/>
                  </a:lnTo>
                  <a:lnTo>
                    <a:pt x="107" y="185"/>
                  </a:lnTo>
                  <a:lnTo>
                    <a:pt x="127" y="195"/>
                  </a:lnTo>
                  <a:lnTo>
                    <a:pt x="137" y="195"/>
                  </a:lnTo>
                  <a:lnTo>
                    <a:pt x="137" y="175"/>
                  </a:lnTo>
                  <a:lnTo>
                    <a:pt x="146" y="175"/>
                  </a:lnTo>
                  <a:lnTo>
                    <a:pt x="166" y="185"/>
                  </a:lnTo>
                  <a:lnTo>
                    <a:pt x="185" y="195"/>
                  </a:lnTo>
                  <a:lnTo>
                    <a:pt x="195" y="195"/>
                  </a:lnTo>
                  <a:lnTo>
                    <a:pt x="205" y="175"/>
                  </a:lnTo>
                  <a:lnTo>
                    <a:pt x="215" y="185"/>
                  </a:lnTo>
                  <a:lnTo>
                    <a:pt x="224" y="175"/>
                  </a:lnTo>
                  <a:lnTo>
                    <a:pt x="234" y="175"/>
                  </a:lnTo>
                  <a:lnTo>
                    <a:pt x="234" y="146"/>
                  </a:lnTo>
                  <a:lnTo>
                    <a:pt x="224" y="156"/>
                  </a:lnTo>
                  <a:lnTo>
                    <a:pt x="215" y="146"/>
                  </a:lnTo>
                  <a:lnTo>
                    <a:pt x="195" y="136"/>
                  </a:lnTo>
                  <a:lnTo>
                    <a:pt x="205" y="127"/>
                  </a:lnTo>
                  <a:lnTo>
                    <a:pt x="215" y="117"/>
                  </a:lnTo>
                  <a:lnTo>
                    <a:pt x="215" y="97"/>
                  </a:lnTo>
                  <a:lnTo>
                    <a:pt x="205" y="97"/>
                  </a:lnTo>
                  <a:lnTo>
                    <a:pt x="185" y="88"/>
                  </a:lnTo>
                  <a:lnTo>
                    <a:pt x="176" y="68"/>
                  </a:lnTo>
                  <a:lnTo>
                    <a:pt x="176" y="58"/>
                  </a:lnTo>
                  <a:lnTo>
                    <a:pt x="156" y="58"/>
                  </a:lnTo>
                  <a:lnTo>
                    <a:pt x="146" y="68"/>
                  </a:lnTo>
                  <a:lnTo>
                    <a:pt x="137" y="68"/>
                  </a:lnTo>
                  <a:lnTo>
                    <a:pt x="127" y="49"/>
                  </a:lnTo>
                  <a:lnTo>
                    <a:pt x="98" y="29"/>
                  </a:lnTo>
                  <a:lnTo>
                    <a:pt x="98" y="19"/>
                  </a:lnTo>
                  <a:lnTo>
                    <a:pt x="88" y="29"/>
                  </a:lnTo>
                  <a:lnTo>
                    <a:pt x="78" y="29"/>
                  </a:lnTo>
                  <a:lnTo>
                    <a:pt x="88" y="10"/>
                  </a:lnTo>
                  <a:lnTo>
                    <a:pt x="59" y="10"/>
                  </a:lnTo>
                  <a:lnTo>
                    <a:pt x="49" y="0"/>
                  </a:lnTo>
                  <a:lnTo>
                    <a:pt x="39" y="10"/>
                  </a:lnTo>
                  <a:lnTo>
                    <a:pt x="29" y="10"/>
                  </a:lnTo>
                  <a:lnTo>
                    <a:pt x="1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379"/>
            <p:cNvSpPr>
              <a:spLocks/>
            </p:cNvSpPr>
            <p:nvPr/>
          </p:nvSpPr>
          <p:spPr bwMode="auto">
            <a:xfrm>
              <a:off x="1836" y="1815"/>
              <a:ext cx="220" cy="291"/>
            </a:xfrm>
            <a:custGeom>
              <a:avLst/>
              <a:gdLst>
                <a:gd name="T0" fmla="*/ 10 w 224"/>
                <a:gd name="T1" fmla="*/ 195 h 292"/>
                <a:gd name="T2" fmla="*/ 19 w 224"/>
                <a:gd name="T3" fmla="*/ 205 h 292"/>
                <a:gd name="T4" fmla="*/ 19 w 224"/>
                <a:gd name="T5" fmla="*/ 224 h 292"/>
                <a:gd name="T6" fmla="*/ 29 w 224"/>
                <a:gd name="T7" fmla="*/ 224 h 292"/>
                <a:gd name="T8" fmla="*/ 39 w 224"/>
                <a:gd name="T9" fmla="*/ 234 h 292"/>
                <a:gd name="T10" fmla="*/ 39 w 224"/>
                <a:gd name="T11" fmla="*/ 244 h 292"/>
                <a:gd name="T12" fmla="*/ 49 w 224"/>
                <a:gd name="T13" fmla="*/ 253 h 292"/>
                <a:gd name="T14" fmla="*/ 58 w 224"/>
                <a:gd name="T15" fmla="*/ 273 h 292"/>
                <a:gd name="T16" fmla="*/ 58 w 224"/>
                <a:gd name="T17" fmla="*/ 292 h 292"/>
                <a:gd name="T18" fmla="*/ 88 w 224"/>
                <a:gd name="T19" fmla="*/ 283 h 292"/>
                <a:gd name="T20" fmla="*/ 107 w 224"/>
                <a:gd name="T21" fmla="*/ 273 h 292"/>
                <a:gd name="T22" fmla="*/ 127 w 224"/>
                <a:gd name="T23" fmla="*/ 273 h 292"/>
                <a:gd name="T24" fmla="*/ 146 w 224"/>
                <a:gd name="T25" fmla="*/ 273 h 292"/>
                <a:gd name="T26" fmla="*/ 156 w 224"/>
                <a:gd name="T27" fmla="*/ 253 h 292"/>
                <a:gd name="T28" fmla="*/ 166 w 224"/>
                <a:gd name="T29" fmla="*/ 253 h 292"/>
                <a:gd name="T30" fmla="*/ 195 w 224"/>
                <a:gd name="T31" fmla="*/ 263 h 292"/>
                <a:gd name="T32" fmla="*/ 205 w 224"/>
                <a:gd name="T33" fmla="*/ 253 h 292"/>
                <a:gd name="T34" fmla="*/ 205 w 224"/>
                <a:gd name="T35" fmla="*/ 244 h 292"/>
                <a:gd name="T36" fmla="*/ 224 w 224"/>
                <a:gd name="T37" fmla="*/ 234 h 292"/>
                <a:gd name="T38" fmla="*/ 214 w 224"/>
                <a:gd name="T39" fmla="*/ 224 h 292"/>
                <a:gd name="T40" fmla="*/ 195 w 224"/>
                <a:gd name="T41" fmla="*/ 214 h 292"/>
                <a:gd name="T42" fmla="*/ 175 w 224"/>
                <a:gd name="T43" fmla="*/ 195 h 292"/>
                <a:gd name="T44" fmla="*/ 156 w 224"/>
                <a:gd name="T45" fmla="*/ 175 h 292"/>
                <a:gd name="T46" fmla="*/ 156 w 224"/>
                <a:gd name="T47" fmla="*/ 146 h 292"/>
                <a:gd name="T48" fmla="*/ 136 w 224"/>
                <a:gd name="T49" fmla="*/ 146 h 292"/>
                <a:gd name="T50" fmla="*/ 146 w 224"/>
                <a:gd name="T51" fmla="*/ 127 h 292"/>
                <a:gd name="T52" fmla="*/ 136 w 224"/>
                <a:gd name="T53" fmla="*/ 117 h 292"/>
                <a:gd name="T54" fmla="*/ 127 w 224"/>
                <a:gd name="T55" fmla="*/ 107 h 292"/>
                <a:gd name="T56" fmla="*/ 107 w 224"/>
                <a:gd name="T57" fmla="*/ 107 h 292"/>
                <a:gd name="T58" fmla="*/ 107 w 224"/>
                <a:gd name="T59" fmla="*/ 97 h 292"/>
                <a:gd name="T60" fmla="*/ 117 w 224"/>
                <a:gd name="T61" fmla="*/ 78 h 292"/>
                <a:gd name="T62" fmla="*/ 117 w 224"/>
                <a:gd name="T63" fmla="*/ 68 h 292"/>
                <a:gd name="T64" fmla="*/ 107 w 224"/>
                <a:gd name="T65" fmla="*/ 49 h 292"/>
                <a:gd name="T66" fmla="*/ 88 w 224"/>
                <a:gd name="T67" fmla="*/ 49 h 292"/>
                <a:gd name="T68" fmla="*/ 58 w 224"/>
                <a:gd name="T69" fmla="*/ 19 h 292"/>
                <a:gd name="T70" fmla="*/ 58 w 224"/>
                <a:gd name="T71" fmla="*/ 10 h 292"/>
                <a:gd name="T72" fmla="*/ 58 w 224"/>
                <a:gd name="T73" fmla="*/ 0 h 292"/>
                <a:gd name="T74" fmla="*/ 39 w 224"/>
                <a:gd name="T75" fmla="*/ 19 h 292"/>
                <a:gd name="T76" fmla="*/ 10 w 224"/>
                <a:gd name="T77" fmla="*/ 49 h 292"/>
                <a:gd name="T78" fmla="*/ 0 w 224"/>
                <a:gd name="T79" fmla="*/ 68 h 292"/>
                <a:gd name="T80" fmla="*/ 19 w 224"/>
                <a:gd name="T81" fmla="*/ 78 h 292"/>
                <a:gd name="T82" fmla="*/ 19 w 224"/>
                <a:gd name="T83" fmla="*/ 97 h 292"/>
                <a:gd name="T84" fmla="*/ 19 w 224"/>
                <a:gd name="T85" fmla="*/ 117 h 292"/>
                <a:gd name="T86" fmla="*/ 39 w 224"/>
                <a:gd name="T87" fmla="*/ 136 h 292"/>
                <a:gd name="T88" fmla="*/ 29 w 224"/>
                <a:gd name="T89" fmla="*/ 146 h 292"/>
                <a:gd name="T90" fmla="*/ 29 w 224"/>
                <a:gd name="T91" fmla="*/ 156 h 292"/>
                <a:gd name="T92" fmla="*/ 29 w 224"/>
                <a:gd name="T93" fmla="*/ 175 h 292"/>
                <a:gd name="T94" fmla="*/ 29 w 224"/>
                <a:gd name="T95" fmla="*/ 185 h 292"/>
                <a:gd name="T96" fmla="*/ 10 w 224"/>
                <a:gd name="T97" fmla="*/ 185 h 292"/>
                <a:gd name="T98" fmla="*/ 10 w 224"/>
                <a:gd name="T99" fmla="*/ 195 h 2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4"/>
                <a:gd name="T151" fmla="*/ 0 h 292"/>
                <a:gd name="T152" fmla="*/ 224 w 224"/>
                <a:gd name="T153" fmla="*/ 292 h 29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4" h="292">
                  <a:moveTo>
                    <a:pt x="10" y="195"/>
                  </a:moveTo>
                  <a:lnTo>
                    <a:pt x="19" y="205"/>
                  </a:lnTo>
                  <a:lnTo>
                    <a:pt x="19" y="224"/>
                  </a:lnTo>
                  <a:lnTo>
                    <a:pt x="29" y="224"/>
                  </a:lnTo>
                  <a:lnTo>
                    <a:pt x="39" y="234"/>
                  </a:lnTo>
                  <a:lnTo>
                    <a:pt x="39" y="244"/>
                  </a:lnTo>
                  <a:lnTo>
                    <a:pt x="49" y="253"/>
                  </a:lnTo>
                  <a:lnTo>
                    <a:pt x="58" y="273"/>
                  </a:lnTo>
                  <a:lnTo>
                    <a:pt x="58" y="292"/>
                  </a:lnTo>
                  <a:lnTo>
                    <a:pt x="88" y="283"/>
                  </a:lnTo>
                  <a:lnTo>
                    <a:pt x="107" y="27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53"/>
                  </a:lnTo>
                  <a:lnTo>
                    <a:pt x="166" y="253"/>
                  </a:lnTo>
                  <a:lnTo>
                    <a:pt x="195" y="263"/>
                  </a:lnTo>
                  <a:lnTo>
                    <a:pt x="205" y="253"/>
                  </a:lnTo>
                  <a:lnTo>
                    <a:pt x="205" y="244"/>
                  </a:lnTo>
                  <a:lnTo>
                    <a:pt x="224" y="234"/>
                  </a:lnTo>
                  <a:lnTo>
                    <a:pt x="214" y="224"/>
                  </a:lnTo>
                  <a:lnTo>
                    <a:pt x="195" y="214"/>
                  </a:lnTo>
                  <a:lnTo>
                    <a:pt x="175" y="195"/>
                  </a:lnTo>
                  <a:lnTo>
                    <a:pt x="156" y="175"/>
                  </a:lnTo>
                  <a:lnTo>
                    <a:pt x="156" y="146"/>
                  </a:lnTo>
                  <a:lnTo>
                    <a:pt x="136" y="146"/>
                  </a:lnTo>
                  <a:lnTo>
                    <a:pt x="146" y="127"/>
                  </a:lnTo>
                  <a:lnTo>
                    <a:pt x="136" y="117"/>
                  </a:lnTo>
                  <a:lnTo>
                    <a:pt x="127" y="107"/>
                  </a:lnTo>
                  <a:lnTo>
                    <a:pt x="107" y="107"/>
                  </a:lnTo>
                  <a:lnTo>
                    <a:pt x="107" y="97"/>
                  </a:lnTo>
                  <a:lnTo>
                    <a:pt x="117" y="78"/>
                  </a:lnTo>
                  <a:lnTo>
                    <a:pt x="117" y="68"/>
                  </a:lnTo>
                  <a:lnTo>
                    <a:pt x="107" y="49"/>
                  </a:lnTo>
                  <a:lnTo>
                    <a:pt x="88" y="49"/>
                  </a:lnTo>
                  <a:lnTo>
                    <a:pt x="58" y="19"/>
                  </a:lnTo>
                  <a:lnTo>
                    <a:pt x="58" y="10"/>
                  </a:lnTo>
                  <a:lnTo>
                    <a:pt x="58" y="0"/>
                  </a:lnTo>
                  <a:lnTo>
                    <a:pt x="39" y="19"/>
                  </a:lnTo>
                  <a:lnTo>
                    <a:pt x="10" y="49"/>
                  </a:lnTo>
                  <a:lnTo>
                    <a:pt x="0" y="68"/>
                  </a:lnTo>
                  <a:lnTo>
                    <a:pt x="19" y="78"/>
                  </a:lnTo>
                  <a:lnTo>
                    <a:pt x="19" y="97"/>
                  </a:lnTo>
                  <a:lnTo>
                    <a:pt x="19" y="117"/>
                  </a:lnTo>
                  <a:lnTo>
                    <a:pt x="39" y="136"/>
                  </a:lnTo>
                  <a:lnTo>
                    <a:pt x="29" y="146"/>
                  </a:lnTo>
                  <a:lnTo>
                    <a:pt x="29" y="156"/>
                  </a:lnTo>
                  <a:lnTo>
                    <a:pt x="29" y="175"/>
                  </a:lnTo>
                  <a:lnTo>
                    <a:pt x="29" y="185"/>
                  </a:lnTo>
                  <a:lnTo>
                    <a:pt x="10" y="185"/>
                  </a:lnTo>
                  <a:lnTo>
                    <a:pt x="10" y="19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378"/>
            <p:cNvSpPr>
              <a:spLocks/>
            </p:cNvSpPr>
            <p:nvPr/>
          </p:nvSpPr>
          <p:spPr bwMode="auto">
            <a:xfrm>
              <a:off x="1892" y="2031"/>
              <a:ext cx="498" cy="273"/>
            </a:xfrm>
            <a:custGeom>
              <a:avLst/>
              <a:gdLst>
                <a:gd name="T0" fmla="*/ 10 w 498"/>
                <a:gd name="T1" fmla="*/ 108 h 274"/>
                <a:gd name="T2" fmla="*/ 0 w 498"/>
                <a:gd name="T3" fmla="*/ 78 h 274"/>
                <a:gd name="T4" fmla="*/ 49 w 498"/>
                <a:gd name="T5" fmla="*/ 59 h 274"/>
                <a:gd name="T6" fmla="*/ 88 w 498"/>
                <a:gd name="T7" fmla="*/ 59 h 274"/>
                <a:gd name="T8" fmla="*/ 117 w 498"/>
                <a:gd name="T9" fmla="*/ 39 h 274"/>
                <a:gd name="T10" fmla="*/ 147 w 498"/>
                <a:gd name="T11" fmla="*/ 39 h 274"/>
                <a:gd name="T12" fmla="*/ 176 w 498"/>
                <a:gd name="T13" fmla="*/ 20 h 274"/>
                <a:gd name="T14" fmla="*/ 186 w 498"/>
                <a:gd name="T15" fmla="*/ 0 h 274"/>
                <a:gd name="T16" fmla="*/ 215 w 498"/>
                <a:gd name="T17" fmla="*/ 10 h 274"/>
                <a:gd name="T18" fmla="*/ 254 w 498"/>
                <a:gd name="T19" fmla="*/ 20 h 274"/>
                <a:gd name="T20" fmla="*/ 264 w 498"/>
                <a:gd name="T21" fmla="*/ 10 h 274"/>
                <a:gd name="T22" fmla="*/ 293 w 498"/>
                <a:gd name="T23" fmla="*/ 0 h 274"/>
                <a:gd name="T24" fmla="*/ 312 w 498"/>
                <a:gd name="T25" fmla="*/ 20 h 274"/>
                <a:gd name="T26" fmla="*/ 381 w 498"/>
                <a:gd name="T27" fmla="*/ 0 h 274"/>
                <a:gd name="T28" fmla="*/ 410 w 498"/>
                <a:gd name="T29" fmla="*/ 0 h 274"/>
                <a:gd name="T30" fmla="*/ 429 w 498"/>
                <a:gd name="T31" fmla="*/ 30 h 274"/>
                <a:gd name="T32" fmla="*/ 459 w 498"/>
                <a:gd name="T33" fmla="*/ 49 h 274"/>
                <a:gd name="T34" fmla="*/ 488 w 498"/>
                <a:gd name="T35" fmla="*/ 88 h 274"/>
                <a:gd name="T36" fmla="*/ 498 w 498"/>
                <a:gd name="T37" fmla="*/ 117 h 274"/>
                <a:gd name="T38" fmla="*/ 459 w 498"/>
                <a:gd name="T39" fmla="*/ 137 h 274"/>
                <a:gd name="T40" fmla="*/ 429 w 498"/>
                <a:gd name="T41" fmla="*/ 117 h 274"/>
                <a:gd name="T42" fmla="*/ 410 w 498"/>
                <a:gd name="T43" fmla="*/ 127 h 274"/>
                <a:gd name="T44" fmla="*/ 400 w 498"/>
                <a:gd name="T45" fmla="*/ 147 h 274"/>
                <a:gd name="T46" fmla="*/ 351 w 498"/>
                <a:gd name="T47" fmla="*/ 137 h 274"/>
                <a:gd name="T48" fmla="*/ 332 w 498"/>
                <a:gd name="T49" fmla="*/ 147 h 274"/>
                <a:gd name="T50" fmla="*/ 312 w 498"/>
                <a:gd name="T51" fmla="*/ 157 h 274"/>
                <a:gd name="T52" fmla="*/ 283 w 498"/>
                <a:gd name="T53" fmla="*/ 157 h 274"/>
                <a:gd name="T54" fmla="*/ 293 w 498"/>
                <a:gd name="T55" fmla="*/ 176 h 274"/>
                <a:gd name="T56" fmla="*/ 273 w 498"/>
                <a:gd name="T57" fmla="*/ 196 h 274"/>
                <a:gd name="T58" fmla="*/ 264 w 498"/>
                <a:gd name="T59" fmla="*/ 205 h 274"/>
                <a:gd name="T60" fmla="*/ 234 w 498"/>
                <a:gd name="T61" fmla="*/ 225 h 274"/>
                <a:gd name="T62" fmla="*/ 234 w 498"/>
                <a:gd name="T63" fmla="*/ 264 h 274"/>
                <a:gd name="T64" fmla="*/ 215 w 498"/>
                <a:gd name="T65" fmla="*/ 274 h 274"/>
                <a:gd name="T66" fmla="*/ 195 w 498"/>
                <a:gd name="T67" fmla="*/ 274 h 274"/>
                <a:gd name="T68" fmla="*/ 176 w 498"/>
                <a:gd name="T69" fmla="*/ 264 h 274"/>
                <a:gd name="T70" fmla="*/ 166 w 498"/>
                <a:gd name="T71" fmla="*/ 244 h 274"/>
                <a:gd name="T72" fmla="*/ 108 w 498"/>
                <a:gd name="T73" fmla="*/ 254 h 274"/>
                <a:gd name="T74" fmla="*/ 98 w 498"/>
                <a:gd name="T75" fmla="*/ 274 h 274"/>
                <a:gd name="T76" fmla="*/ 78 w 498"/>
                <a:gd name="T77" fmla="*/ 254 h 274"/>
                <a:gd name="T78" fmla="*/ 59 w 498"/>
                <a:gd name="T79" fmla="*/ 244 h 274"/>
                <a:gd name="T80" fmla="*/ 69 w 498"/>
                <a:gd name="T81" fmla="*/ 215 h 274"/>
                <a:gd name="T82" fmla="*/ 59 w 498"/>
                <a:gd name="T83" fmla="*/ 186 h 274"/>
                <a:gd name="T84" fmla="*/ 49 w 498"/>
                <a:gd name="T85" fmla="*/ 157 h 274"/>
                <a:gd name="T86" fmla="*/ 20 w 498"/>
                <a:gd name="T87" fmla="*/ 137 h 27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98"/>
                <a:gd name="T133" fmla="*/ 0 h 274"/>
                <a:gd name="T134" fmla="*/ 498 w 498"/>
                <a:gd name="T135" fmla="*/ 274 h 27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98" h="274">
                  <a:moveTo>
                    <a:pt x="10" y="127"/>
                  </a:moveTo>
                  <a:lnTo>
                    <a:pt x="10" y="108"/>
                  </a:lnTo>
                  <a:lnTo>
                    <a:pt x="0" y="98"/>
                  </a:lnTo>
                  <a:lnTo>
                    <a:pt x="0" y="78"/>
                  </a:lnTo>
                  <a:lnTo>
                    <a:pt x="30" y="69"/>
                  </a:lnTo>
                  <a:lnTo>
                    <a:pt x="49" y="59"/>
                  </a:lnTo>
                  <a:lnTo>
                    <a:pt x="69" y="59"/>
                  </a:lnTo>
                  <a:lnTo>
                    <a:pt x="88" y="59"/>
                  </a:lnTo>
                  <a:lnTo>
                    <a:pt x="108" y="39"/>
                  </a:lnTo>
                  <a:lnTo>
                    <a:pt x="117" y="39"/>
                  </a:lnTo>
                  <a:lnTo>
                    <a:pt x="137" y="49"/>
                  </a:lnTo>
                  <a:lnTo>
                    <a:pt x="147" y="39"/>
                  </a:lnTo>
                  <a:lnTo>
                    <a:pt x="147" y="30"/>
                  </a:lnTo>
                  <a:lnTo>
                    <a:pt x="176" y="20"/>
                  </a:lnTo>
                  <a:lnTo>
                    <a:pt x="186" y="20"/>
                  </a:lnTo>
                  <a:lnTo>
                    <a:pt x="186" y="0"/>
                  </a:lnTo>
                  <a:lnTo>
                    <a:pt x="205" y="0"/>
                  </a:lnTo>
                  <a:lnTo>
                    <a:pt x="215" y="10"/>
                  </a:lnTo>
                  <a:lnTo>
                    <a:pt x="234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64" y="10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293" y="10"/>
                  </a:lnTo>
                  <a:lnTo>
                    <a:pt x="312" y="20"/>
                  </a:lnTo>
                  <a:lnTo>
                    <a:pt x="361" y="20"/>
                  </a:lnTo>
                  <a:lnTo>
                    <a:pt x="381" y="0"/>
                  </a:lnTo>
                  <a:lnTo>
                    <a:pt x="390" y="0"/>
                  </a:lnTo>
                  <a:lnTo>
                    <a:pt x="410" y="0"/>
                  </a:lnTo>
                  <a:lnTo>
                    <a:pt x="410" y="20"/>
                  </a:lnTo>
                  <a:lnTo>
                    <a:pt x="429" y="30"/>
                  </a:lnTo>
                  <a:lnTo>
                    <a:pt x="449" y="39"/>
                  </a:lnTo>
                  <a:lnTo>
                    <a:pt x="459" y="49"/>
                  </a:lnTo>
                  <a:lnTo>
                    <a:pt x="469" y="69"/>
                  </a:lnTo>
                  <a:lnTo>
                    <a:pt x="488" y="88"/>
                  </a:lnTo>
                  <a:lnTo>
                    <a:pt x="498" y="98"/>
                  </a:lnTo>
                  <a:lnTo>
                    <a:pt x="498" y="117"/>
                  </a:lnTo>
                  <a:lnTo>
                    <a:pt x="478" y="127"/>
                  </a:lnTo>
                  <a:lnTo>
                    <a:pt x="459" y="137"/>
                  </a:lnTo>
                  <a:lnTo>
                    <a:pt x="449" y="127"/>
                  </a:lnTo>
                  <a:lnTo>
                    <a:pt x="429" y="117"/>
                  </a:lnTo>
                  <a:lnTo>
                    <a:pt x="420" y="117"/>
                  </a:lnTo>
                  <a:lnTo>
                    <a:pt x="410" y="127"/>
                  </a:lnTo>
                  <a:lnTo>
                    <a:pt x="410" y="137"/>
                  </a:lnTo>
                  <a:lnTo>
                    <a:pt x="400" y="147"/>
                  </a:lnTo>
                  <a:lnTo>
                    <a:pt x="381" y="166"/>
                  </a:lnTo>
                  <a:lnTo>
                    <a:pt x="351" y="137"/>
                  </a:lnTo>
                  <a:lnTo>
                    <a:pt x="342" y="137"/>
                  </a:lnTo>
                  <a:lnTo>
                    <a:pt x="332" y="147"/>
                  </a:lnTo>
                  <a:lnTo>
                    <a:pt x="312" y="147"/>
                  </a:lnTo>
                  <a:lnTo>
                    <a:pt x="312" y="157"/>
                  </a:lnTo>
                  <a:lnTo>
                    <a:pt x="293" y="137"/>
                  </a:lnTo>
                  <a:lnTo>
                    <a:pt x="283" y="157"/>
                  </a:lnTo>
                  <a:lnTo>
                    <a:pt x="293" y="166"/>
                  </a:lnTo>
                  <a:lnTo>
                    <a:pt x="293" y="176"/>
                  </a:lnTo>
                  <a:lnTo>
                    <a:pt x="283" y="176"/>
                  </a:lnTo>
                  <a:lnTo>
                    <a:pt x="273" y="196"/>
                  </a:lnTo>
                  <a:lnTo>
                    <a:pt x="273" y="205"/>
                  </a:lnTo>
                  <a:lnTo>
                    <a:pt x="264" y="205"/>
                  </a:lnTo>
                  <a:lnTo>
                    <a:pt x="254" y="225"/>
                  </a:lnTo>
                  <a:lnTo>
                    <a:pt x="234" y="225"/>
                  </a:lnTo>
                  <a:lnTo>
                    <a:pt x="234" y="235"/>
                  </a:lnTo>
                  <a:lnTo>
                    <a:pt x="234" y="264"/>
                  </a:lnTo>
                  <a:lnTo>
                    <a:pt x="215" y="27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76" y="274"/>
                  </a:lnTo>
                  <a:lnTo>
                    <a:pt x="176" y="264"/>
                  </a:lnTo>
                  <a:lnTo>
                    <a:pt x="176" y="254"/>
                  </a:lnTo>
                  <a:lnTo>
                    <a:pt x="166" y="244"/>
                  </a:lnTo>
                  <a:lnTo>
                    <a:pt x="137" y="264"/>
                  </a:lnTo>
                  <a:lnTo>
                    <a:pt x="108" y="254"/>
                  </a:lnTo>
                  <a:lnTo>
                    <a:pt x="108" y="264"/>
                  </a:lnTo>
                  <a:lnTo>
                    <a:pt x="98" y="274"/>
                  </a:lnTo>
                  <a:lnTo>
                    <a:pt x="88" y="274"/>
                  </a:lnTo>
                  <a:lnTo>
                    <a:pt x="78" y="254"/>
                  </a:lnTo>
                  <a:lnTo>
                    <a:pt x="78" y="244"/>
                  </a:lnTo>
                  <a:lnTo>
                    <a:pt x="59" y="244"/>
                  </a:lnTo>
                  <a:lnTo>
                    <a:pt x="59" y="225"/>
                  </a:lnTo>
                  <a:lnTo>
                    <a:pt x="69" y="215"/>
                  </a:lnTo>
                  <a:lnTo>
                    <a:pt x="69" y="196"/>
                  </a:lnTo>
                  <a:lnTo>
                    <a:pt x="59" y="186"/>
                  </a:lnTo>
                  <a:lnTo>
                    <a:pt x="59" y="166"/>
                  </a:lnTo>
                  <a:lnTo>
                    <a:pt x="49" y="157"/>
                  </a:lnTo>
                  <a:lnTo>
                    <a:pt x="39" y="147"/>
                  </a:lnTo>
                  <a:lnTo>
                    <a:pt x="20" y="137"/>
                  </a:lnTo>
                  <a:lnTo>
                    <a:pt x="10" y="12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377"/>
            <p:cNvSpPr>
              <a:spLocks/>
            </p:cNvSpPr>
            <p:nvPr/>
          </p:nvSpPr>
          <p:spPr bwMode="auto">
            <a:xfrm>
              <a:off x="2165" y="2167"/>
              <a:ext cx="256" cy="202"/>
            </a:xfrm>
            <a:custGeom>
              <a:avLst/>
              <a:gdLst>
                <a:gd name="T0" fmla="*/ 0 w 254"/>
                <a:gd name="T1" fmla="*/ 68 h 205"/>
                <a:gd name="T2" fmla="*/ 0 w 254"/>
                <a:gd name="T3" fmla="*/ 59 h 205"/>
                <a:gd name="T4" fmla="*/ 0 w 254"/>
                <a:gd name="T5" fmla="*/ 39 h 205"/>
                <a:gd name="T6" fmla="*/ 10 w 254"/>
                <a:gd name="T7" fmla="*/ 39 h 205"/>
                <a:gd name="T8" fmla="*/ 20 w 254"/>
                <a:gd name="T9" fmla="*/ 29 h 205"/>
                <a:gd name="T10" fmla="*/ 10 w 254"/>
                <a:gd name="T11" fmla="*/ 20 h 205"/>
                <a:gd name="T12" fmla="*/ 20 w 254"/>
                <a:gd name="T13" fmla="*/ 10 h 205"/>
                <a:gd name="T14" fmla="*/ 39 w 254"/>
                <a:gd name="T15" fmla="*/ 20 h 205"/>
                <a:gd name="T16" fmla="*/ 39 w 254"/>
                <a:gd name="T17" fmla="*/ 10 h 205"/>
                <a:gd name="T18" fmla="*/ 49 w 254"/>
                <a:gd name="T19" fmla="*/ 10 h 205"/>
                <a:gd name="T20" fmla="*/ 69 w 254"/>
                <a:gd name="T21" fmla="*/ 0 h 205"/>
                <a:gd name="T22" fmla="*/ 78 w 254"/>
                <a:gd name="T23" fmla="*/ 10 h 205"/>
                <a:gd name="T24" fmla="*/ 108 w 254"/>
                <a:gd name="T25" fmla="*/ 29 h 205"/>
                <a:gd name="T26" fmla="*/ 117 w 254"/>
                <a:gd name="T27" fmla="*/ 29 h 205"/>
                <a:gd name="T28" fmla="*/ 117 w 254"/>
                <a:gd name="T29" fmla="*/ 39 h 205"/>
                <a:gd name="T30" fmla="*/ 117 w 254"/>
                <a:gd name="T31" fmla="*/ 49 h 205"/>
                <a:gd name="T32" fmla="*/ 117 w 254"/>
                <a:gd name="T33" fmla="*/ 59 h 205"/>
                <a:gd name="T34" fmla="*/ 137 w 254"/>
                <a:gd name="T35" fmla="*/ 59 h 205"/>
                <a:gd name="T36" fmla="*/ 156 w 254"/>
                <a:gd name="T37" fmla="*/ 59 h 205"/>
                <a:gd name="T38" fmla="*/ 166 w 254"/>
                <a:gd name="T39" fmla="*/ 68 h 205"/>
                <a:gd name="T40" fmla="*/ 196 w 254"/>
                <a:gd name="T41" fmla="*/ 78 h 205"/>
                <a:gd name="T42" fmla="*/ 215 w 254"/>
                <a:gd name="T43" fmla="*/ 78 h 205"/>
                <a:gd name="T44" fmla="*/ 225 w 254"/>
                <a:gd name="T45" fmla="*/ 98 h 205"/>
                <a:gd name="T46" fmla="*/ 235 w 254"/>
                <a:gd name="T47" fmla="*/ 88 h 205"/>
                <a:gd name="T48" fmla="*/ 244 w 254"/>
                <a:gd name="T49" fmla="*/ 98 h 205"/>
                <a:gd name="T50" fmla="*/ 235 w 254"/>
                <a:gd name="T51" fmla="*/ 117 h 205"/>
                <a:gd name="T52" fmla="*/ 254 w 254"/>
                <a:gd name="T53" fmla="*/ 127 h 205"/>
                <a:gd name="T54" fmla="*/ 244 w 254"/>
                <a:gd name="T55" fmla="*/ 137 h 205"/>
                <a:gd name="T56" fmla="*/ 244 w 254"/>
                <a:gd name="T57" fmla="*/ 156 h 205"/>
                <a:gd name="T58" fmla="*/ 244 w 254"/>
                <a:gd name="T59" fmla="*/ 166 h 205"/>
                <a:gd name="T60" fmla="*/ 235 w 254"/>
                <a:gd name="T61" fmla="*/ 185 h 205"/>
                <a:gd name="T62" fmla="*/ 244 w 254"/>
                <a:gd name="T63" fmla="*/ 195 h 205"/>
                <a:gd name="T64" fmla="*/ 225 w 254"/>
                <a:gd name="T65" fmla="*/ 205 h 205"/>
                <a:gd name="T66" fmla="*/ 215 w 254"/>
                <a:gd name="T67" fmla="*/ 185 h 205"/>
                <a:gd name="T68" fmla="*/ 205 w 254"/>
                <a:gd name="T69" fmla="*/ 176 h 205"/>
                <a:gd name="T70" fmla="*/ 186 w 254"/>
                <a:gd name="T71" fmla="*/ 176 h 205"/>
                <a:gd name="T72" fmla="*/ 176 w 254"/>
                <a:gd name="T73" fmla="*/ 176 h 205"/>
                <a:gd name="T74" fmla="*/ 147 w 254"/>
                <a:gd name="T75" fmla="*/ 176 h 205"/>
                <a:gd name="T76" fmla="*/ 117 w 254"/>
                <a:gd name="T77" fmla="*/ 176 h 205"/>
                <a:gd name="T78" fmla="*/ 108 w 254"/>
                <a:gd name="T79" fmla="*/ 176 h 205"/>
                <a:gd name="T80" fmla="*/ 88 w 254"/>
                <a:gd name="T81" fmla="*/ 176 h 205"/>
                <a:gd name="T82" fmla="*/ 78 w 254"/>
                <a:gd name="T83" fmla="*/ 156 h 205"/>
                <a:gd name="T84" fmla="*/ 88 w 254"/>
                <a:gd name="T85" fmla="*/ 137 h 205"/>
                <a:gd name="T86" fmla="*/ 69 w 254"/>
                <a:gd name="T87" fmla="*/ 127 h 205"/>
                <a:gd name="T88" fmla="*/ 59 w 254"/>
                <a:gd name="T89" fmla="*/ 117 h 205"/>
                <a:gd name="T90" fmla="*/ 69 w 254"/>
                <a:gd name="T91" fmla="*/ 107 h 205"/>
                <a:gd name="T92" fmla="*/ 69 w 254"/>
                <a:gd name="T93" fmla="*/ 88 h 205"/>
                <a:gd name="T94" fmla="*/ 59 w 254"/>
                <a:gd name="T95" fmla="*/ 88 h 205"/>
                <a:gd name="T96" fmla="*/ 49 w 254"/>
                <a:gd name="T97" fmla="*/ 88 h 205"/>
                <a:gd name="T98" fmla="*/ 20 w 254"/>
                <a:gd name="T99" fmla="*/ 78 h 205"/>
                <a:gd name="T100" fmla="*/ 0 w 254"/>
                <a:gd name="T101" fmla="*/ 68 h 2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205"/>
                <a:gd name="T155" fmla="*/ 254 w 254"/>
                <a:gd name="T156" fmla="*/ 205 h 2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205">
                  <a:moveTo>
                    <a:pt x="0" y="68"/>
                  </a:moveTo>
                  <a:lnTo>
                    <a:pt x="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29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39" y="2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117" y="59"/>
                  </a:lnTo>
                  <a:lnTo>
                    <a:pt x="137" y="59"/>
                  </a:lnTo>
                  <a:lnTo>
                    <a:pt x="156" y="59"/>
                  </a:lnTo>
                  <a:lnTo>
                    <a:pt x="166" y="68"/>
                  </a:lnTo>
                  <a:lnTo>
                    <a:pt x="196" y="78"/>
                  </a:lnTo>
                  <a:lnTo>
                    <a:pt x="215" y="78"/>
                  </a:lnTo>
                  <a:lnTo>
                    <a:pt x="225" y="98"/>
                  </a:lnTo>
                  <a:lnTo>
                    <a:pt x="235" y="88"/>
                  </a:lnTo>
                  <a:lnTo>
                    <a:pt x="244" y="98"/>
                  </a:lnTo>
                  <a:lnTo>
                    <a:pt x="235" y="117"/>
                  </a:lnTo>
                  <a:lnTo>
                    <a:pt x="254" y="127"/>
                  </a:lnTo>
                  <a:lnTo>
                    <a:pt x="244" y="137"/>
                  </a:lnTo>
                  <a:lnTo>
                    <a:pt x="244" y="156"/>
                  </a:lnTo>
                  <a:lnTo>
                    <a:pt x="244" y="166"/>
                  </a:lnTo>
                  <a:lnTo>
                    <a:pt x="235" y="185"/>
                  </a:lnTo>
                  <a:lnTo>
                    <a:pt x="244" y="195"/>
                  </a:lnTo>
                  <a:lnTo>
                    <a:pt x="225" y="205"/>
                  </a:lnTo>
                  <a:lnTo>
                    <a:pt x="215" y="185"/>
                  </a:lnTo>
                  <a:lnTo>
                    <a:pt x="205" y="176"/>
                  </a:lnTo>
                  <a:lnTo>
                    <a:pt x="186" y="176"/>
                  </a:lnTo>
                  <a:lnTo>
                    <a:pt x="176" y="176"/>
                  </a:lnTo>
                  <a:lnTo>
                    <a:pt x="147" y="176"/>
                  </a:lnTo>
                  <a:lnTo>
                    <a:pt x="117" y="176"/>
                  </a:lnTo>
                  <a:lnTo>
                    <a:pt x="108" y="176"/>
                  </a:lnTo>
                  <a:lnTo>
                    <a:pt x="88" y="176"/>
                  </a:lnTo>
                  <a:lnTo>
                    <a:pt x="78" y="156"/>
                  </a:lnTo>
                  <a:lnTo>
                    <a:pt x="88" y="137"/>
                  </a:lnTo>
                  <a:lnTo>
                    <a:pt x="69" y="127"/>
                  </a:lnTo>
                  <a:lnTo>
                    <a:pt x="59" y="117"/>
                  </a:lnTo>
                  <a:lnTo>
                    <a:pt x="69" y="107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49" y="88"/>
                  </a:lnTo>
                  <a:lnTo>
                    <a:pt x="20" y="7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376"/>
            <p:cNvSpPr>
              <a:spLocks/>
            </p:cNvSpPr>
            <p:nvPr/>
          </p:nvSpPr>
          <p:spPr bwMode="auto">
            <a:xfrm>
              <a:off x="2603" y="633"/>
              <a:ext cx="423" cy="595"/>
            </a:xfrm>
            <a:custGeom>
              <a:avLst/>
              <a:gdLst>
                <a:gd name="T0" fmla="*/ 30 w 420"/>
                <a:gd name="T1" fmla="*/ 137 h 595"/>
                <a:gd name="T2" fmla="*/ 117 w 420"/>
                <a:gd name="T3" fmla="*/ 137 h 595"/>
                <a:gd name="T4" fmla="*/ 147 w 420"/>
                <a:gd name="T5" fmla="*/ 98 h 595"/>
                <a:gd name="T6" fmla="*/ 147 w 420"/>
                <a:gd name="T7" fmla="*/ 49 h 595"/>
                <a:gd name="T8" fmla="*/ 215 w 420"/>
                <a:gd name="T9" fmla="*/ 20 h 595"/>
                <a:gd name="T10" fmla="*/ 254 w 420"/>
                <a:gd name="T11" fmla="*/ 10 h 595"/>
                <a:gd name="T12" fmla="*/ 313 w 420"/>
                <a:gd name="T13" fmla="*/ 29 h 595"/>
                <a:gd name="T14" fmla="*/ 322 w 420"/>
                <a:gd name="T15" fmla="*/ 49 h 595"/>
                <a:gd name="T16" fmla="*/ 361 w 420"/>
                <a:gd name="T17" fmla="*/ 49 h 595"/>
                <a:gd name="T18" fmla="*/ 381 w 420"/>
                <a:gd name="T19" fmla="*/ 68 h 595"/>
                <a:gd name="T20" fmla="*/ 400 w 420"/>
                <a:gd name="T21" fmla="*/ 78 h 595"/>
                <a:gd name="T22" fmla="*/ 391 w 420"/>
                <a:gd name="T23" fmla="*/ 127 h 595"/>
                <a:gd name="T24" fmla="*/ 381 w 420"/>
                <a:gd name="T25" fmla="*/ 98 h 595"/>
                <a:gd name="T26" fmla="*/ 371 w 420"/>
                <a:gd name="T27" fmla="*/ 108 h 595"/>
                <a:gd name="T28" fmla="*/ 371 w 420"/>
                <a:gd name="T29" fmla="*/ 137 h 595"/>
                <a:gd name="T30" fmla="*/ 381 w 420"/>
                <a:gd name="T31" fmla="*/ 147 h 595"/>
                <a:gd name="T32" fmla="*/ 361 w 420"/>
                <a:gd name="T33" fmla="*/ 156 h 595"/>
                <a:gd name="T34" fmla="*/ 332 w 420"/>
                <a:gd name="T35" fmla="*/ 156 h 595"/>
                <a:gd name="T36" fmla="*/ 371 w 420"/>
                <a:gd name="T37" fmla="*/ 166 h 595"/>
                <a:gd name="T38" fmla="*/ 391 w 420"/>
                <a:gd name="T39" fmla="*/ 215 h 595"/>
                <a:gd name="T40" fmla="*/ 420 w 420"/>
                <a:gd name="T41" fmla="*/ 234 h 595"/>
                <a:gd name="T42" fmla="*/ 420 w 420"/>
                <a:gd name="T43" fmla="*/ 312 h 595"/>
                <a:gd name="T44" fmla="*/ 400 w 420"/>
                <a:gd name="T45" fmla="*/ 381 h 595"/>
                <a:gd name="T46" fmla="*/ 410 w 420"/>
                <a:gd name="T47" fmla="*/ 459 h 595"/>
                <a:gd name="T48" fmla="*/ 410 w 420"/>
                <a:gd name="T49" fmla="*/ 478 h 595"/>
                <a:gd name="T50" fmla="*/ 400 w 420"/>
                <a:gd name="T51" fmla="*/ 498 h 595"/>
                <a:gd name="T52" fmla="*/ 391 w 420"/>
                <a:gd name="T53" fmla="*/ 537 h 595"/>
                <a:gd name="T54" fmla="*/ 371 w 420"/>
                <a:gd name="T55" fmla="*/ 566 h 595"/>
                <a:gd name="T56" fmla="*/ 352 w 420"/>
                <a:gd name="T57" fmla="*/ 576 h 595"/>
                <a:gd name="T58" fmla="*/ 293 w 420"/>
                <a:gd name="T59" fmla="*/ 586 h 595"/>
                <a:gd name="T60" fmla="*/ 244 w 420"/>
                <a:gd name="T61" fmla="*/ 586 h 595"/>
                <a:gd name="T62" fmla="*/ 176 w 420"/>
                <a:gd name="T63" fmla="*/ 537 h 595"/>
                <a:gd name="T64" fmla="*/ 147 w 420"/>
                <a:gd name="T65" fmla="*/ 439 h 595"/>
                <a:gd name="T66" fmla="*/ 137 w 420"/>
                <a:gd name="T67" fmla="*/ 381 h 595"/>
                <a:gd name="T68" fmla="*/ 127 w 420"/>
                <a:gd name="T69" fmla="*/ 351 h 595"/>
                <a:gd name="T70" fmla="*/ 127 w 420"/>
                <a:gd name="T71" fmla="*/ 322 h 595"/>
                <a:gd name="T72" fmla="*/ 117 w 420"/>
                <a:gd name="T73" fmla="*/ 293 h 595"/>
                <a:gd name="T74" fmla="*/ 127 w 420"/>
                <a:gd name="T75" fmla="*/ 264 h 595"/>
                <a:gd name="T76" fmla="*/ 117 w 420"/>
                <a:gd name="T77" fmla="*/ 244 h 595"/>
                <a:gd name="T78" fmla="*/ 98 w 420"/>
                <a:gd name="T79" fmla="*/ 293 h 595"/>
                <a:gd name="T80" fmla="*/ 78 w 420"/>
                <a:gd name="T81" fmla="*/ 293 h 595"/>
                <a:gd name="T82" fmla="*/ 30 w 420"/>
                <a:gd name="T83" fmla="*/ 273 h 595"/>
                <a:gd name="T84" fmla="*/ 0 w 420"/>
                <a:gd name="T85" fmla="*/ 156 h 5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0"/>
                <a:gd name="T130" fmla="*/ 0 h 595"/>
                <a:gd name="T131" fmla="*/ 420 w 420"/>
                <a:gd name="T132" fmla="*/ 595 h 5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0" h="595">
                  <a:moveTo>
                    <a:pt x="0" y="156"/>
                  </a:moveTo>
                  <a:lnTo>
                    <a:pt x="10" y="147"/>
                  </a:lnTo>
                  <a:lnTo>
                    <a:pt x="30" y="137"/>
                  </a:lnTo>
                  <a:lnTo>
                    <a:pt x="39" y="137"/>
                  </a:lnTo>
                  <a:lnTo>
                    <a:pt x="88" y="137"/>
                  </a:lnTo>
                  <a:lnTo>
                    <a:pt x="117" y="137"/>
                  </a:lnTo>
                  <a:lnTo>
                    <a:pt x="117" y="127"/>
                  </a:lnTo>
                  <a:lnTo>
                    <a:pt x="127" y="117"/>
                  </a:lnTo>
                  <a:lnTo>
                    <a:pt x="147" y="98"/>
                  </a:lnTo>
                  <a:lnTo>
                    <a:pt x="147" y="88"/>
                  </a:lnTo>
                  <a:lnTo>
                    <a:pt x="147" y="59"/>
                  </a:lnTo>
                  <a:lnTo>
                    <a:pt x="147" y="49"/>
                  </a:lnTo>
                  <a:lnTo>
                    <a:pt x="176" y="29"/>
                  </a:lnTo>
                  <a:lnTo>
                    <a:pt x="186" y="20"/>
                  </a:lnTo>
                  <a:lnTo>
                    <a:pt x="215" y="20"/>
                  </a:lnTo>
                  <a:lnTo>
                    <a:pt x="215" y="10"/>
                  </a:lnTo>
                  <a:lnTo>
                    <a:pt x="225" y="0"/>
                  </a:lnTo>
                  <a:lnTo>
                    <a:pt x="254" y="10"/>
                  </a:lnTo>
                  <a:lnTo>
                    <a:pt x="264" y="20"/>
                  </a:lnTo>
                  <a:lnTo>
                    <a:pt x="273" y="20"/>
                  </a:lnTo>
                  <a:lnTo>
                    <a:pt x="313" y="29"/>
                  </a:lnTo>
                  <a:lnTo>
                    <a:pt x="322" y="29"/>
                  </a:lnTo>
                  <a:lnTo>
                    <a:pt x="332" y="39"/>
                  </a:lnTo>
                  <a:lnTo>
                    <a:pt x="322" y="49"/>
                  </a:lnTo>
                  <a:lnTo>
                    <a:pt x="332" y="59"/>
                  </a:lnTo>
                  <a:lnTo>
                    <a:pt x="342" y="49"/>
                  </a:lnTo>
                  <a:lnTo>
                    <a:pt x="361" y="49"/>
                  </a:lnTo>
                  <a:lnTo>
                    <a:pt x="361" y="68"/>
                  </a:lnTo>
                  <a:lnTo>
                    <a:pt x="371" y="78"/>
                  </a:lnTo>
                  <a:lnTo>
                    <a:pt x="381" y="68"/>
                  </a:lnTo>
                  <a:lnTo>
                    <a:pt x="391" y="78"/>
                  </a:lnTo>
                  <a:lnTo>
                    <a:pt x="400" y="68"/>
                  </a:lnTo>
                  <a:lnTo>
                    <a:pt x="400" y="78"/>
                  </a:lnTo>
                  <a:lnTo>
                    <a:pt x="400" y="98"/>
                  </a:lnTo>
                  <a:lnTo>
                    <a:pt x="400" y="108"/>
                  </a:lnTo>
                  <a:lnTo>
                    <a:pt x="391" y="127"/>
                  </a:lnTo>
                  <a:lnTo>
                    <a:pt x="391" y="117"/>
                  </a:lnTo>
                  <a:lnTo>
                    <a:pt x="381" y="108"/>
                  </a:lnTo>
                  <a:lnTo>
                    <a:pt x="381" y="98"/>
                  </a:lnTo>
                  <a:lnTo>
                    <a:pt x="381" y="88"/>
                  </a:lnTo>
                  <a:lnTo>
                    <a:pt x="371" y="88"/>
                  </a:lnTo>
                  <a:lnTo>
                    <a:pt x="371" y="108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1" y="137"/>
                  </a:lnTo>
                  <a:lnTo>
                    <a:pt x="361" y="137"/>
                  </a:lnTo>
                  <a:lnTo>
                    <a:pt x="371" y="147"/>
                  </a:lnTo>
                  <a:lnTo>
                    <a:pt x="381" y="147"/>
                  </a:lnTo>
                  <a:lnTo>
                    <a:pt x="381" y="156"/>
                  </a:lnTo>
                  <a:lnTo>
                    <a:pt x="371" y="156"/>
                  </a:lnTo>
                  <a:lnTo>
                    <a:pt x="361" y="156"/>
                  </a:lnTo>
                  <a:lnTo>
                    <a:pt x="342" y="156"/>
                  </a:lnTo>
                  <a:lnTo>
                    <a:pt x="332" y="156"/>
                  </a:lnTo>
                  <a:lnTo>
                    <a:pt x="342" y="166"/>
                  </a:lnTo>
                  <a:lnTo>
                    <a:pt x="361" y="176"/>
                  </a:lnTo>
                  <a:lnTo>
                    <a:pt x="371" y="166"/>
                  </a:lnTo>
                  <a:lnTo>
                    <a:pt x="381" y="176"/>
                  </a:lnTo>
                  <a:lnTo>
                    <a:pt x="391" y="195"/>
                  </a:lnTo>
                  <a:lnTo>
                    <a:pt x="391" y="215"/>
                  </a:lnTo>
                  <a:lnTo>
                    <a:pt x="400" y="225"/>
                  </a:lnTo>
                  <a:lnTo>
                    <a:pt x="410" y="225"/>
                  </a:lnTo>
                  <a:lnTo>
                    <a:pt x="420" y="234"/>
                  </a:lnTo>
                  <a:lnTo>
                    <a:pt x="420" y="254"/>
                  </a:lnTo>
                  <a:lnTo>
                    <a:pt x="420" y="283"/>
                  </a:lnTo>
                  <a:lnTo>
                    <a:pt x="420" y="312"/>
                  </a:lnTo>
                  <a:lnTo>
                    <a:pt x="420" y="342"/>
                  </a:lnTo>
                  <a:lnTo>
                    <a:pt x="410" y="361"/>
                  </a:lnTo>
                  <a:lnTo>
                    <a:pt x="400" y="381"/>
                  </a:lnTo>
                  <a:lnTo>
                    <a:pt x="410" y="400"/>
                  </a:lnTo>
                  <a:lnTo>
                    <a:pt x="410" y="429"/>
                  </a:lnTo>
                  <a:lnTo>
                    <a:pt x="410" y="459"/>
                  </a:lnTo>
                  <a:lnTo>
                    <a:pt x="420" y="459"/>
                  </a:lnTo>
                  <a:lnTo>
                    <a:pt x="420" y="469"/>
                  </a:lnTo>
                  <a:lnTo>
                    <a:pt x="410" y="478"/>
                  </a:lnTo>
                  <a:lnTo>
                    <a:pt x="410" y="488"/>
                  </a:lnTo>
                  <a:lnTo>
                    <a:pt x="400" y="498"/>
                  </a:lnTo>
                  <a:lnTo>
                    <a:pt x="410" y="508"/>
                  </a:lnTo>
                  <a:lnTo>
                    <a:pt x="410" y="527"/>
                  </a:lnTo>
                  <a:lnTo>
                    <a:pt x="391" y="537"/>
                  </a:lnTo>
                  <a:lnTo>
                    <a:pt x="391" y="547"/>
                  </a:lnTo>
                  <a:lnTo>
                    <a:pt x="391" y="556"/>
                  </a:lnTo>
                  <a:lnTo>
                    <a:pt x="371" y="566"/>
                  </a:lnTo>
                  <a:lnTo>
                    <a:pt x="371" y="576"/>
                  </a:lnTo>
                  <a:lnTo>
                    <a:pt x="361" y="576"/>
                  </a:lnTo>
                  <a:lnTo>
                    <a:pt x="352" y="576"/>
                  </a:lnTo>
                  <a:lnTo>
                    <a:pt x="332" y="586"/>
                  </a:lnTo>
                  <a:lnTo>
                    <a:pt x="313" y="586"/>
                  </a:lnTo>
                  <a:lnTo>
                    <a:pt x="293" y="586"/>
                  </a:lnTo>
                  <a:lnTo>
                    <a:pt x="273" y="595"/>
                  </a:lnTo>
                  <a:lnTo>
                    <a:pt x="254" y="586"/>
                  </a:lnTo>
                  <a:lnTo>
                    <a:pt x="244" y="586"/>
                  </a:lnTo>
                  <a:lnTo>
                    <a:pt x="225" y="576"/>
                  </a:lnTo>
                  <a:lnTo>
                    <a:pt x="205" y="576"/>
                  </a:lnTo>
                  <a:lnTo>
                    <a:pt x="176" y="537"/>
                  </a:lnTo>
                  <a:lnTo>
                    <a:pt x="176" y="517"/>
                  </a:lnTo>
                  <a:lnTo>
                    <a:pt x="156" y="469"/>
                  </a:lnTo>
                  <a:lnTo>
                    <a:pt x="147" y="439"/>
                  </a:lnTo>
                  <a:lnTo>
                    <a:pt x="137" y="410"/>
                  </a:lnTo>
                  <a:lnTo>
                    <a:pt x="137" y="390"/>
                  </a:lnTo>
                  <a:lnTo>
                    <a:pt x="137" y="381"/>
                  </a:lnTo>
                  <a:lnTo>
                    <a:pt x="117" y="371"/>
                  </a:lnTo>
                  <a:lnTo>
                    <a:pt x="127" y="361"/>
                  </a:lnTo>
                  <a:lnTo>
                    <a:pt x="127" y="351"/>
                  </a:lnTo>
                  <a:lnTo>
                    <a:pt x="127" y="342"/>
                  </a:lnTo>
                  <a:lnTo>
                    <a:pt x="117" y="332"/>
                  </a:lnTo>
                  <a:lnTo>
                    <a:pt x="127" y="322"/>
                  </a:lnTo>
                  <a:lnTo>
                    <a:pt x="108" y="322"/>
                  </a:lnTo>
                  <a:lnTo>
                    <a:pt x="108" y="303"/>
                  </a:lnTo>
                  <a:lnTo>
                    <a:pt x="117" y="293"/>
                  </a:lnTo>
                  <a:lnTo>
                    <a:pt x="117" y="283"/>
                  </a:lnTo>
                  <a:lnTo>
                    <a:pt x="127" y="273"/>
                  </a:lnTo>
                  <a:lnTo>
                    <a:pt x="127" y="264"/>
                  </a:lnTo>
                  <a:lnTo>
                    <a:pt x="127" y="254"/>
                  </a:lnTo>
                  <a:lnTo>
                    <a:pt x="117" y="244"/>
                  </a:lnTo>
                  <a:lnTo>
                    <a:pt x="117" y="264"/>
                  </a:lnTo>
                  <a:lnTo>
                    <a:pt x="108" y="273"/>
                  </a:lnTo>
                  <a:lnTo>
                    <a:pt x="98" y="293"/>
                  </a:lnTo>
                  <a:lnTo>
                    <a:pt x="88" y="293"/>
                  </a:lnTo>
                  <a:lnTo>
                    <a:pt x="88" y="312"/>
                  </a:lnTo>
                  <a:lnTo>
                    <a:pt x="78" y="293"/>
                  </a:lnTo>
                  <a:lnTo>
                    <a:pt x="59" y="293"/>
                  </a:lnTo>
                  <a:lnTo>
                    <a:pt x="39" y="293"/>
                  </a:lnTo>
                  <a:lnTo>
                    <a:pt x="30" y="273"/>
                  </a:lnTo>
                  <a:lnTo>
                    <a:pt x="39" y="254"/>
                  </a:lnTo>
                  <a:lnTo>
                    <a:pt x="49" y="244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375"/>
            <p:cNvSpPr>
              <a:spLocks/>
            </p:cNvSpPr>
            <p:nvPr/>
          </p:nvSpPr>
          <p:spPr bwMode="auto">
            <a:xfrm>
              <a:off x="2069" y="2233"/>
              <a:ext cx="186" cy="176"/>
            </a:xfrm>
            <a:custGeom>
              <a:avLst/>
              <a:gdLst>
                <a:gd name="T0" fmla="*/ 0 w 185"/>
                <a:gd name="T1" fmla="*/ 117 h 176"/>
                <a:gd name="T2" fmla="*/ 0 w 185"/>
                <a:gd name="T3" fmla="*/ 98 h 176"/>
                <a:gd name="T4" fmla="*/ 10 w 185"/>
                <a:gd name="T5" fmla="*/ 88 h 176"/>
                <a:gd name="T6" fmla="*/ 10 w 185"/>
                <a:gd name="T7" fmla="*/ 69 h 176"/>
                <a:gd name="T8" fmla="*/ 29 w 185"/>
                <a:gd name="T9" fmla="*/ 59 h 176"/>
                <a:gd name="T10" fmla="*/ 39 w 185"/>
                <a:gd name="T11" fmla="*/ 69 h 176"/>
                <a:gd name="T12" fmla="*/ 58 w 185"/>
                <a:gd name="T13" fmla="*/ 59 h 176"/>
                <a:gd name="T14" fmla="*/ 58 w 185"/>
                <a:gd name="T15" fmla="*/ 59 h 176"/>
                <a:gd name="T16" fmla="*/ 58 w 185"/>
                <a:gd name="T17" fmla="*/ 30 h 176"/>
                <a:gd name="T18" fmla="*/ 58 w 185"/>
                <a:gd name="T19" fmla="*/ 20 h 176"/>
                <a:gd name="T20" fmla="*/ 78 w 185"/>
                <a:gd name="T21" fmla="*/ 10 h 176"/>
                <a:gd name="T22" fmla="*/ 88 w 185"/>
                <a:gd name="T23" fmla="*/ 0 h 176"/>
                <a:gd name="T24" fmla="*/ 97 w 185"/>
                <a:gd name="T25" fmla="*/ 0 h 176"/>
                <a:gd name="T26" fmla="*/ 117 w 185"/>
                <a:gd name="T27" fmla="*/ 10 h 176"/>
                <a:gd name="T28" fmla="*/ 146 w 185"/>
                <a:gd name="T29" fmla="*/ 20 h 176"/>
                <a:gd name="T30" fmla="*/ 166 w 185"/>
                <a:gd name="T31" fmla="*/ 20 h 176"/>
                <a:gd name="T32" fmla="*/ 175 w 185"/>
                <a:gd name="T33" fmla="*/ 20 h 176"/>
                <a:gd name="T34" fmla="*/ 175 w 185"/>
                <a:gd name="T35" fmla="*/ 39 h 176"/>
                <a:gd name="T36" fmla="*/ 166 w 185"/>
                <a:gd name="T37" fmla="*/ 49 h 176"/>
                <a:gd name="T38" fmla="*/ 175 w 185"/>
                <a:gd name="T39" fmla="*/ 59 h 176"/>
                <a:gd name="T40" fmla="*/ 185 w 185"/>
                <a:gd name="T41" fmla="*/ 69 h 176"/>
                <a:gd name="T42" fmla="*/ 175 w 185"/>
                <a:gd name="T43" fmla="*/ 88 h 176"/>
                <a:gd name="T44" fmla="*/ 185 w 185"/>
                <a:gd name="T45" fmla="*/ 108 h 176"/>
                <a:gd name="T46" fmla="*/ 156 w 185"/>
                <a:gd name="T47" fmla="*/ 117 h 176"/>
                <a:gd name="T48" fmla="*/ 127 w 185"/>
                <a:gd name="T49" fmla="*/ 117 h 176"/>
                <a:gd name="T50" fmla="*/ 117 w 185"/>
                <a:gd name="T51" fmla="*/ 108 h 176"/>
                <a:gd name="T52" fmla="*/ 107 w 185"/>
                <a:gd name="T53" fmla="*/ 127 h 176"/>
                <a:gd name="T54" fmla="*/ 117 w 185"/>
                <a:gd name="T55" fmla="*/ 127 h 176"/>
                <a:gd name="T56" fmla="*/ 117 w 185"/>
                <a:gd name="T57" fmla="*/ 137 h 176"/>
                <a:gd name="T58" fmla="*/ 107 w 185"/>
                <a:gd name="T59" fmla="*/ 147 h 176"/>
                <a:gd name="T60" fmla="*/ 107 w 185"/>
                <a:gd name="T61" fmla="*/ 147 h 176"/>
                <a:gd name="T62" fmla="*/ 97 w 185"/>
                <a:gd name="T63" fmla="*/ 156 h 176"/>
                <a:gd name="T64" fmla="*/ 78 w 185"/>
                <a:gd name="T65" fmla="*/ 176 h 176"/>
                <a:gd name="T66" fmla="*/ 58 w 185"/>
                <a:gd name="T67" fmla="*/ 176 h 176"/>
                <a:gd name="T68" fmla="*/ 58 w 185"/>
                <a:gd name="T69" fmla="*/ 166 h 176"/>
                <a:gd name="T70" fmla="*/ 49 w 185"/>
                <a:gd name="T71" fmla="*/ 156 h 176"/>
                <a:gd name="T72" fmla="*/ 29 w 185"/>
                <a:gd name="T73" fmla="*/ 156 h 176"/>
                <a:gd name="T74" fmla="*/ 29 w 185"/>
                <a:gd name="T75" fmla="*/ 147 h 176"/>
                <a:gd name="T76" fmla="*/ 19 w 185"/>
                <a:gd name="T77" fmla="*/ 137 h 176"/>
                <a:gd name="T78" fmla="*/ 10 w 185"/>
                <a:gd name="T79" fmla="*/ 127 h 176"/>
                <a:gd name="T80" fmla="*/ 0 w 185"/>
                <a:gd name="T81" fmla="*/ 117 h 17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5"/>
                <a:gd name="T124" fmla="*/ 0 h 176"/>
                <a:gd name="T125" fmla="*/ 185 w 185"/>
                <a:gd name="T126" fmla="*/ 176 h 17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5" h="176">
                  <a:moveTo>
                    <a:pt x="0" y="117"/>
                  </a:moveTo>
                  <a:lnTo>
                    <a:pt x="0" y="98"/>
                  </a:lnTo>
                  <a:lnTo>
                    <a:pt x="10" y="88"/>
                  </a:lnTo>
                  <a:lnTo>
                    <a:pt x="10" y="69"/>
                  </a:lnTo>
                  <a:lnTo>
                    <a:pt x="29" y="59"/>
                  </a:lnTo>
                  <a:lnTo>
                    <a:pt x="39" y="69"/>
                  </a:lnTo>
                  <a:lnTo>
                    <a:pt x="58" y="59"/>
                  </a:lnTo>
                  <a:lnTo>
                    <a:pt x="58" y="30"/>
                  </a:lnTo>
                  <a:lnTo>
                    <a:pt x="58" y="20"/>
                  </a:lnTo>
                  <a:lnTo>
                    <a:pt x="78" y="10"/>
                  </a:lnTo>
                  <a:lnTo>
                    <a:pt x="88" y="0"/>
                  </a:lnTo>
                  <a:lnTo>
                    <a:pt x="97" y="0"/>
                  </a:lnTo>
                  <a:lnTo>
                    <a:pt x="117" y="10"/>
                  </a:lnTo>
                  <a:lnTo>
                    <a:pt x="146" y="20"/>
                  </a:lnTo>
                  <a:lnTo>
                    <a:pt x="166" y="20"/>
                  </a:lnTo>
                  <a:lnTo>
                    <a:pt x="175" y="2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75" y="59"/>
                  </a:lnTo>
                  <a:lnTo>
                    <a:pt x="185" y="69"/>
                  </a:lnTo>
                  <a:lnTo>
                    <a:pt x="175" y="88"/>
                  </a:lnTo>
                  <a:lnTo>
                    <a:pt x="185" y="108"/>
                  </a:lnTo>
                  <a:lnTo>
                    <a:pt x="156" y="117"/>
                  </a:lnTo>
                  <a:lnTo>
                    <a:pt x="127" y="117"/>
                  </a:lnTo>
                  <a:lnTo>
                    <a:pt x="117" y="108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17" y="137"/>
                  </a:lnTo>
                  <a:lnTo>
                    <a:pt x="107" y="147"/>
                  </a:lnTo>
                  <a:lnTo>
                    <a:pt x="97" y="156"/>
                  </a:lnTo>
                  <a:lnTo>
                    <a:pt x="78" y="176"/>
                  </a:lnTo>
                  <a:lnTo>
                    <a:pt x="58" y="176"/>
                  </a:lnTo>
                  <a:lnTo>
                    <a:pt x="58" y="166"/>
                  </a:lnTo>
                  <a:lnTo>
                    <a:pt x="49" y="156"/>
                  </a:lnTo>
                  <a:lnTo>
                    <a:pt x="29" y="156"/>
                  </a:lnTo>
                  <a:lnTo>
                    <a:pt x="29" y="147"/>
                  </a:lnTo>
                  <a:lnTo>
                    <a:pt x="19" y="137"/>
                  </a:lnTo>
                  <a:lnTo>
                    <a:pt x="10" y="12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374"/>
            <p:cNvSpPr>
              <a:spLocks/>
            </p:cNvSpPr>
            <p:nvPr/>
          </p:nvSpPr>
          <p:spPr bwMode="auto">
            <a:xfrm>
              <a:off x="1795" y="2156"/>
              <a:ext cx="281" cy="244"/>
            </a:xfrm>
            <a:custGeom>
              <a:avLst/>
              <a:gdLst>
                <a:gd name="T0" fmla="*/ 0 w 283"/>
                <a:gd name="T1" fmla="*/ 69 h 244"/>
                <a:gd name="T2" fmla="*/ 19 w 283"/>
                <a:gd name="T3" fmla="*/ 69 h 244"/>
                <a:gd name="T4" fmla="*/ 19 w 283"/>
                <a:gd name="T5" fmla="*/ 59 h 244"/>
                <a:gd name="T6" fmla="*/ 29 w 283"/>
                <a:gd name="T7" fmla="*/ 49 h 244"/>
                <a:gd name="T8" fmla="*/ 29 w 283"/>
                <a:gd name="T9" fmla="*/ 49 h 244"/>
                <a:gd name="T10" fmla="*/ 29 w 283"/>
                <a:gd name="T11" fmla="*/ 69 h 244"/>
                <a:gd name="T12" fmla="*/ 49 w 283"/>
                <a:gd name="T13" fmla="*/ 49 h 244"/>
                <a:gd name="T14" fmla="*/ 39 w 283"/>
                <a:gd name="T15" fmla="*/ 49 h 244"/>
                <a:gd name="T16" fmla="*/ 39 w 283"/>
                <a:gd name="T17" fmla="*/ 39 h 244"/>
                <a:gd name="T18" fmla="*/ 49 w 283"/>
                <a:gd name="T19" fmla="*/ 39 h 244"/>
                <a:gd name="T20" fmla="*/ 68 w 283"/>
                <a:gd name="T21" fmla="*/ 49 h 244"/>
                <a:gd name="T22" fmla="*/ 78 w 283"/>
                <a:gd name="T23" fmla="*/ 39 h 244"/>
                <a:gd name="T24" fmla="*/ 78 w 283"/>
                <a:gd name="T25" fmla="*/ 30 h 244"/>
                <a:gd name="T26" fmla="*/ 88 w 283"/>
                <a:gd name="T27" fmla="*/ 20 h 244"/>
                <a:gd name="T28" fmla="*/ 88 w 283"/>
                <a:gd name="T29" fmla="*/ 10 h 244"/>
                <a:gd name="T30" fmla="*/ 97 w 283"/>
                <a:gd name="T31" fmla="*/ 0 h 244"/>
                <a:gd name="T32" fmla="*/ 107 w 283"/>
                <a:gd name="T33" fmla="*/ 0 h 244"/>
                <a:gd name="T34" fmla="*/ 117 w 283"/>
                <a:gd name="T35" fmla="*/ 10 h 244"/>
                <a:gd name="T36" fmla="*/ 136 w 283"/>
                <a:gd name="T37" fmla="*/ 20 h 244"/>
                <a:gd name="T38" fmla="*/ 146 w 283"/>
                <a:gd name="T39" fmla="*/ 30 h 244"/>
                <a:gd name="T40" fmla="*/ 156 w 283"/>
                <a:gd name="T41" fmla="*/ 39 h 244"/>
                <a:gd name="T42" fmla="*/ 156 w 283"/>
                <a:gd name="T43" fmla="*/ 59 h 244"/>
                <a:gd name="T44" fmla="*/ 166 w 283"/>
                <a:gd name="T45" fmla="*/ 69 h 244"/>
                <a:gd name="T46" fmla="*/ 166 w 283"/>
                <a:gd name="T47" fmla="*/ 88 h 244"/>
                <a:gd name="T48" fmla="*/ 156 w 283"/>
                <a:gd name="T49" fmla="*/ 98 h 244"/>
                <a:gd name="T50" fmla="*/ 156 w 283"/>
                <a:gd name="T51" fmla="*/ 117 h 244"/>
                <a:gd name="T52" fmla="*/ 175 w 283"/>
                <a:gd name="T53" fmla="*/ 117 h 244"/>
                <a:gd name="T54" fmla="*/ 175 w 283"/>
                <a:gd name="T55" fmla="*/ 127 h 244"/>
                <a:gd name="T56" fmla="*/ 185 w 283"/>
                <a:gd name="T57" fmla="*/ 147 h 244"/>
                <a:gd name="T58" fmla="*/ 185 w 283"/>
                <a:gd name="T59" fmla="*/ 147 h 244"/>
                <a:gd name="T60" fmla="*/ 195 w 283"/>
                <a:gd name="T61" fmla="*/ 137 h 244"/>
                <a:gd name="T62" fmla="*/ 205 w 283"/>
                <a:gd name="T63" fmla="*/ 127 h 244"/>
                <a:gd name="T64" fmla="*/ 234 w 283"/>
                <a:gd name="T65" fmla="*/ 137 h 244"/>
                <a:gd name="T66" fmla="*/ 263 w 283"/>
                <a:gd name="T67" fmla="*/ 117 h 244"/>
                <a:gd name="T68" fmla="*/ 273 w 283"/>
                <a:gd name="T69" fmla="*/ 127 h 244"/>
                <a:gd name="T70" fmla="*/ 273 w 283"/>
                <a:gd name="T71" fmla="*/ 137 h 244"/>
                <a:gd name="T72" fmla="*/ 273 w 283"/>
                <a:gd name="T73" fmla="*/ 147 h 244"/>
                <a:gd name="T74" fmla="*/ 283 w 283"/>
                <a:gd name="T75" fmla="*/ 147 h 244"/>
                <a:gd name="T76" fmla="*/ 283 w 283"/>
                <a:gd name="T77" fmla="*/ 166 h 244"/>
                <a:gd name="T78" fmla="*/ 273 w 283"/>
                <a:gd name="T79" fmla="*/ 186 h 244"/>
                <a:gd name="T80" fmla="*/ 273 w 283"/>
                <a:gd name="T81" fmla="*/ 195 h 244"/>
                <a:gd name="T82" fmla="*/ 273 w 283"/>
                <a:gd name="T83" fmla="*/ 225 h 244"/>
                <a:gd name="T84" fmla="*/ 253 w 283"/>
                <a:gd name="T85" fmla="*/ 244 h 244"/>
                <a:gd name="T86" fmla="*/ 234 w 283"/>
                <a:gd name="T87" fmla="*/ 244 h 244"/>
                <a:gd name="T88" fmla="*/ 214 w 283"/>
                <a:gd name="T89" fmla="*/ 234 h 244"/>
                <a:gd name="T90" fmla="*/ 185 w 283"/>
                <a:gd name="T91" fmla="*/ 234 h 244"/>
                <a:gd name="T92" fmla="*/ 166 w 283"/>
                <a:gd name="T93" fmla="*/ 234 h 244"/>
                <a:gd name="T94" fmla="*/ 156 w 283"/>
                <a:gd name="T95" fmla="*/ 215 h 244"/>
                <a:gd name="T96" fmla="*/ 146 w 283"/>
                <a:gd name="T97" fmla="*/ 195 h 244"/>
                <a:gd name="T98" fmla="*/ 136 w 283"/>
                <a:gd name="T99" fmla="*/ 186 h 244"/>
                <a:gd name="T100" fmla="*/ 127 w 283"/>
                <a:gd name="T101" fmla="*/ 176 h 244"/>
                <a:gd name="T102" fmla="*/ 117 w 283"/>
                <a:gd name="T103" fmla="*/ 186 h 244"/>
                <a:gd name="T104" fmla="*/ 107 w 283"/>
                <a:gd name="T105" fmla="*/ 186 h 244"/>
                <a:gd name="T106" fmla="*/ 97 w 283"/>
                <a:gd name="T107" fmla="*/ 186 h 244"/>
                <a:gd name="T108" fmla="*/ 78 w 283"/>
                <a:gd name="T109" fmla="*/ 156 h 244"/>
                <a:gd name="T110" fmla="*/ 78 w 283"/>
                <a:gd name="T111" fmla="*/ 137 h 244"/>
                <a:gd name="T112" fmla="*/ 78 w 283"/>
                <a:gd name="T113" fmla="*/ 127 h 244"/>
                <a:gd name="T114" fmla="*/ 68 w 283"/>
                <a:gd name="T115" fmla="*/ 108 h 244"/>
                <a:gd name="T116" fmla="*/ 49 w 283"/>
                <a:gd name="T117" fmla="*/ 98 h 244"/>
                <a:gd name="T118" fmla="*/ 29 w 283"/>
                <a:gd name="T119" fmla="*/ 98 h 244"/>
                <a:gd name="T120" fmla="*/ 0 w 283"/>
                <a:gd name="T121" fmla="*/ 69 h 24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3"/>
                <a:gd name="T184" fmla="*/ 0 h 244"/>
                <a:gd name="T185" fmla="*/ 283 w 283"/>
                <a:gd name="T186" fmla="*/ 244 h 24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3" h="244">
                  <a:moveTo>
                    <a:pt x="0" y="69"/>
                  </a:moveTo>
                  <a:lnTo>
                    <a:pt x="19" y="6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29" y="69"/>
                  </a:lnTo>
                  <a:lnTo>
                    <a:pt x="49" y="49"/>
                  </a:lnTo>
                  <a:lnTo>
                    <a:pt x="39" y="49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68" y="49"/>
                  </a:lnTo>
                  <a:lnTo>
                    <a:pt x="78" y="39"/>
                  </a:lnTo>
                  <a:lnTo>
                    <a:pt x="7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7" y="0"/>
                  </a:lnTo>
                  <a:lnTo>
                    <a:pt x="107" y="0"/>
                  </a:lnTo>
                  <a:lnTo>
                    <a:pt x="117" y="10"/>
                  </a:lnTo>
                  <a:lnTo>
                    <a:pt x="136" y="20"/>
                  </a:lnTo>
                  <a:lnTo>
                    <a:pt x="146" y="30"/>
                  </a:lnTo>
                  <a:lnTo>
                    <a:pt x="156" y="39"/>
                  </a:lnTo>
                  <a:lnTo>
                    <a:pt x="156" y="59"/>
                  </a:lnTo>
                  <a:lnTo>
                    <a:pt x="166" y="69"/>
                  </a:lnTo>
                  <a:lnTo>
                    <a:pt x="166" y="88"/>
                  </a:lnTo>
                  <a:lnTo>
                    <a:pt x="156" y="98"/>
                  </a:lnTo>
                  <a:lnTo>
                    <a:pt x="156" y="117"/>
                  </a:lnTo>
                  <a:lnTo>
                    <a:pt x="175" y="117"/>
                  </a:lnTo>
                  <a:lnTo>
                    <a:pt x="175" y="127"/>
                  </a:lnTo>
                  <a:lnTo>
                    <a:pt x="185" y="147"/>
                  </a:lnTo>
                  <a:lnTo>
                    <a:pt x="195" y="137"/>
                  </a:lnTo>
                  <a:lnTo>
                    <a:pt x="205" y="127"/>
                  </a:lnTo>
                  <a:lnTo>
                    <a:pt x="234" y="137"/>
                  </a:lnTo>
                  <a:lnTo>
                    <a:pt x="263" y="117"/>
                  </a:lnTo>
                  <a:lnTo>
                    <a:pt x="273" y="127"/>
                  </a:lnTo>
                  <a:lnTo>
                    <a:pt x="273" y="137"/>
                  </a:lnTo>
                  <a:lnTo>
                    <a:pt x="273" y="147"/>
                  </a:lnTo>
                  <a:lnTo>
                    <a:pt x="283" y="147"/>
                  </a:lnTo>
                  <a:lnTo>
                    <a:pt x="283" y="166"/>
                  </a:lnTo>
                  <a:lnTo>
                    <a:pt x="273" y="186"/>
                  </a:lnTo>
                  <a:lnTo>
                    <a:pt x="273" y="195"/>
                  </a:lnTo>
                  <a:lnTo>
                    <a:pt x="273" y="225"/>
                  </a:lnTo>
                  <a:lnTo>
                    <a:pt x="253" y="244"/>
                  </a:lnTo>
                  <a:lnTo>
                    <a:pt x="234" y="244"/>
                  </a:lnTo>
                  <a:lnTo>
                    <a:pt x="214" y="234"/>
                  </a:lnTo>
                  <a:lnTo>
                    <a:pt x="185" y="234"/>
                  </a:lnTo>
                  <a:lnTo>
                    <a:pt x="166" y="234"/>
                  </a:lnTo>
                  <a:lnTo>
                    <a:pt x="156" y="215"/>
                  </a:lnTo>
                  <a:lnTo>
                    <a:pt x="146" y="195"/>
                  </a:lnTo>
                  <a:lnTo>
                    <a:pt x="136" y="186"/>
                  </a:lnTo>
                  <a:lnTo>
                    <a:pt x="127" y="17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86"/>
                  </a:lnTo>
                  <a:lnTo>
                    <a:pt x="78" y="156"/>
                  </a:lnTo>
                  <a:lnTo>
                    <a:pt x="78" y="137"/>
                  </a:lnTo>
                  <a:lnTo>
                    <a:pt x="78" y="127"/>
                  </a:lnTo>
                  <a:lnTo>
                    <a:pt x="68" y="108"/>
                  </a:lnTo>
                  <a:lnTo>
                    <a:pt x="49" y="98"/>
                  </a:lnTo>
                  <a:lnTo>
                    <a:pt x="29" y="98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373"/>
            <p:cNvSpPr>
              <a:spLocks/>
            </p:cNvSpPr>
            <p:nvPr/>
          </p:nvSpPr>
          <p:spPr bwMode="auto">
            <a:xfrm>
              <a:off x="2088" y="2332"/>
              <a:ext cx="459" cy="390"/>
            </a:xfrm>
            <a:custGeom>
              <a:avLst/>
              <a:gdLst>
                <a:gd name="T0" fmla="*/ 156 w 459"/>
                <a:gd name="T1" fmla="*/ 234 h 390"/>
                <a:gd name="T2" fmla="*/ 176 w 459"/>
                <a:gd name="T3" fmla="*/ 254 h 390"/>
                <a:gd name="T4" fmla="*/ 195 w 459"/>
                <a:gd name="T5" fmla="*/ 234 h 390"/>
                <a:gd name="T6" fmla="*/ 225 w 459"/>
                <a:gd name="T7" fmla="*/ 254 h 390"/>
                <a:gd name="T8" fmla="*/ 225 w 459"/>
                <a:gd name="T9" fmla="*/ 312 h 390"/>
                <a:gd name="T10" fmla="*/ 254 w 459"/>
                <a:gd name="T11" fmla="*/ 312 h 390"/>
                <a:gd name="T12" fmla="*/ 264 w 459"/>
                <a:gd name="T13" fmla="*/ 341 h 390"/>
                <a:gd name="T14" fmla="*/ 293 w 459"/>
                <a:gd name="T15" fmla="*/ 351 h 390"/>
                <a:gd name="T16" fmla="*/ 274 w 459"/>
                <a:gd name="T17" fmla="*/ 361 h 390"/>
                <a:gd name="T18" fmla="*/ 293 w 459"/>
                <a:gd name="T19" fmla="*/ 380 h 390"/>
                <a:gd name="T20" fmla="*/ 332 w 459"/>
                <a:gd name="T21" fmla="*/ 351 h 390"/>
                <a:gd name="T22" fmla="*/ 361 w 459"/>
                <a:gd name="T23" fmla="*/ 322 h 390"/>
                <a:gd name="T24" fmla="*/ 352 w 459"/>
                <a:gd name="T25" fmla="*/ 293 h 390"/>
                <a:gd name="T26" fmla="*/ 371 w 459"/>
                <a:gd name="T27" fmla="*/ 302 h 390"/>
                <a:gd name="T28" fmla="*/ 439 w 459"/>
                <a:gd name="T29" fmla="*/ 293 h 390"/>
                <a:gd name="T30" fmla="*/ 439 w 459"/>
                <a:gd name="T31" fmla="*/ 254 h 390"/>
                <a:gd name="T32" fmla="*/ 430 w 459"/>
                <a:gd name="T33" fmla="*/ 234 h 390"/>
                <a:gd name="T34" fmla="*/ 449 w 459"/>
                <a:gd name="T35" fmla="*/ 205 h 390"/>
                <a:gd name="T36" fmla="*/ 459 w 459"/>
                <a:gd name="T37" fmla="*/ 185 h 390"/>
                <a:gd name="T38" fmla="*/ 430 w 459"/>
                <a:gd name="T39" fmla="*/ 185 h 390"/>
                <a:gd name="T40" fmla="*/ 449 w 459"/>
                <a:gd name="T41" fmla="*/ 166 h 390"/>
                <a:gd name="T42" fmla="*/ 459 w 459"/>
                <a:gd name="T43" fmla="*/ 146 h 390"/>
                <a:gd name="T44" fmla="*/ 410 w 459"/>
                <a:gd name="T45" fmla="*/ 156 h 390"/>
                <a:gd name="T46" fmla="*/ 400 w 459"/>
                <a:gd name="T47" fmla="*/ 175 h 390"/>
                <a:gd name="T48" fmla="*/ 361 w 459"/>
                <a:gd name="T49" fmla="*/ 166 h 390"/>
                <a:gd name="T50" fmla="*/ 322 w 459"/>
                <a:gd name="T51" fmla="*/ 136 h 390"/>
                <a:gd name="T52" fmla="*/ 322 w 459"/>
                <a:gd name="T53" fmla="*/ 97 h 390"/>
                <a:gd name="T54" fmla="*/ 322 w 459"/>
                <a:gd name="T55" fmla="*/ 68 h 390"/>
                <a:gd name="T56" fmla="*/ 322 w 459"/>
                <a:gd name="T57" fmla="*/ 29 h 390"/>
                <a:gd name="T58" fmla="*/ 293 w 459"/>
                <a:gd name="T59" fmla="*/ 19 h 390"/>
                <a:gd name="T60" fmla="*/ 264 w 459"/>
                <a:gd name="T61" fmla="*/ 10 h 390"/>
                <a:gd name="T62" fmla="*/ 225 w 459"/>
                <a:gd name="T63" fmla="*/ 10 h 390"/>
                <a:gd name="T64" fmla="*/ 186 w 459"/>
                <a:gd name="T65" fmla="*/ 10 h 390"/>
                <a:gd name="T66" fmla="*/ 137 w 459"/>
                <a:gd name="T67" fmla="*/ 10 h 390"/>
                <a:gd name="T68" fmla="*/ 98 w 459"/>
                <a:gd name="T69" fmla="*/ 10 h 390"/>
                <a:gd name="T70" fmla="*/ 98 w 459"/>
                <a:gd name="T71" fmla="*/ 29 h 390"/>
                <a:gd name="T72" fmla="*/ 88 w 459"/>
                <a:gd name="T73" fmla="*/ 49 h 390"/>
                <a:gd name="T74" fmla="*/ 78 w 459"/>
                <a:gd name="T75" fmla="*/ 58 h 390"/>
                <a:gd name="T76" fmla="*/ 49 w 459"/>
                <a:gd name="T77" fmla="*/ 78 h 390"/>
                <a:gd name="T78" fmla="*/ 30 w 459"/>
                <a:gd name="T79" fmla="*/ 58 h 390"/>
                <a:gd name="T80" fmla="*/ 0 w 459"/>
                <a:gd name="T81" fmla="*/ 78 h 390"/>
                <a:gd name="T82" fmla="*/ 39 w 459"/>
                <a:gd name="T83" fmla="*/ 88 h 390"/>
                <a:gd name="T84" fmla="*/ 59 w 459"/>
                <a:gd name="T85" fmla="*/ 107 h 390"/>
                <a:gd name="T86" fmla="*/ 78 w 459"/>
                <a:gd name="T87" fmla="*/ 136 h 390"/>
                <a:gd name="T88" fmla="*/ 98 w 459"/>
                <a:gd name="T89" fmla="*/ 127 h 390"/>
                <a:gd name="T90" fmla="*/ 137 w 459"/>
                <a:gd name="T91" fmla="*/ 136 h 390"/>
                <a:gd name="T92" fmla="*/ 137 w 459"/>
                <a:gd name="T93" fmla="*/ 175 h 390"/>
                <a:gd name="T94" fmla="*/ 147 w 459"/>
                <a:gd name="T95" fmla="*/ 215 h 39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9"/>
                <a:gd name="T145" fmla="*/ 0 h 390"/>
                <a:gd name="T146" fmla="*/ 459 w 459"/>
                <a:gd name="T147" fmla="*/ 390 h 39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9" h="390">
                  <a:moveTo>
                    <a:pt x="147" y="215"/>
                  </a:moveTo>
                  <a:lnTo>
                    <a:pt x="156" y="234"/>
                  </a:lnTo>
                  <a:lnTo>
                    <a:pt x="176" y="234"/>
                  </a:lnTo>
                  <a:lnTo>
                    <a:pt x="176" y="254"/>
                  </a:lnTo>
                  <a:lnTo>
                    <a:pt x="195" y="254"/>
                  </a:lnTo>
                  <a:lnTo>
                    <a:pt x="195" y="234"/>
                  </a:lnTo>
                  <a:lnTo>
                    <a:pt x="215" y="244"/>
                  </a:lnTo>
                  <a:lnTo>
                    <a:pt x="225" y="254"/>
                  </a:lnTo>
                  <a:lnTo>
                    <a:pt x="225" y="283"/>
                  </a:lnTo>
                  <a:lnTo>
                    <a:pt x="225" y="312"/>
                  </a:lnTo>
                  <a:lnTo>
                    <a:pt x="244" y="302"/>
                  </a:lnTo>
                  <a:lnTo>
                    <a:pt x="254" y="312"/>
                  </a:lnTo>
                  <a:lnTo>
                    <a:pt x="254" y="322"/>
                  </a:lnTo>
                  <a:lnTo>
                    <a:pt x="264" y="341"/>
                  </a:lnTo>
                  <a:lnTo>
                    <a:pt x="274" y="351"/>
                  </a:lnTo>
                  <a:lnTo>
                    <a:pt x="293" y="351"/>
                  </a:lnTo>
                  <a:lnTo>
                    <a:pt x="293" y="361"/>
                  </a:lnTo>
                  <a:lnTo>
                    <a:pt x="274" y="361"/>
                  </a:lnTo>
                  <a:lnTo>
                    <a:pt x="283" y="390"/>
                  </a:lnTo>
                  <a:lnTo>
                    <a:pt x="293" y="380"/>
                  </a:lnTo>
                  <a:lnTo>
                    <a:pt x="313" y="351"/>
                  </a:lnTo>
                  <a:lnTo>
                    <a:pt x="332" y="351"/>
                  </a:lnTo>
                  <a:lnTo>
                    <a:pt x="352" y="351"/>
                  </a:lnTo>
                  <a:lnTo>
                    <a:pt x="361" y="322"/>
                  </a:lnTo>
                  <a:lnTo>
                    <a:pt x="352" y="302"/>
                  </a:lnTo>
                  <a:lnTo>
                    <a:pt x="352" y="293"/>
                  </a:lnTo>
                  <a:lnTo>
                    <a:pt x="361" y="293"/>
                  </a:lnTo>
                  <a:lnTo>
                    <a:pt x="371" y="302"/>
                  </a:lnTo>
                  <a:lnTo>
                    <a:pt x="420" y="293"/>
                  </a:lnTo>
                  <a:lnTo>
                    <a:pt x="439" y="293"/>
                  </a:lnTo>
                  <a:lnTo>
                    <a:pt x="449" y="273"/>
                  </a:lnTo>
                  <a:lnTo>
                    <a:pt x="439" y="254"/>
                  </a:lnTo>
                  <a:lnTo>
                    <a:pt x="430" y="234"/>
                  </a:lnTo>
                  <a:lnTo>
                    <a:pt x="430" y="224"/>
                  </a:lnTo>
                  <a:lnTo>
                    <a:pt x="449" y="205"/>
                  </a:lnTo>
                  <a:lnTo>
                    <a:pt x="459" y="195"/>
                  </a:lnTo>
                  <a:lnTo>
                    <a:pt x="459" y="185"/>
                  </a:lnTo>
                  <a:lnTo>
                    <a:pt x="439" y="195"/>
                  </a:lnTo>
                  <a:lnTo>
                    <a:pt x="430" y="185"/>
                  </a:lnTo>
                  <a:lnTo>
                    <a:pt x="430" y="166"/>
                  </a:lnTo>
                  <a:lnTo>
                    <a:pt x="449" y="166"/>
                  </a:lnTo>
                  <a:lnTo>
                    <a:pt x="459" y="156"/>
                  </a:lnTo>
                  <a:lnTo>
                    <a:pt x="459" y="146"/>
                  </a:lnTo>
                  <a:lnTo>
                    <a:pt x="439" y="146"/>
                  </a:lnTo>
                  <a:lnTo>
                    <a:pt x="410" y="156"/>
                  </a:lnTo>
                  <a:lnTo>
                    <a:pt x="410" y="175"/>
                  </a:lnTo>
                  <a:lnTo>
                    <a:pt x="400" y="175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56"/>
                  </a:lnTo>
                  <a:lnTo>
                    <a:pt x="322" y="136"/>
                  </a:lnTo>
                  <a:lnTo>
                    <a:pt x="332" y="117"/>
                  </a:lnTo>
                  <a:lnTo>
                    <a:pt x="322" y="97"/>
                  </a:lnTo>
                  <a:lnTo>
                    <a:pt x="332" y="78"/>
                  </a:lnTo>
                  <a:lnTo>
                    <a:pt x="322" y="68"/>
                  </a:lnTo>
                  <a:lnTo>
                    <a:pt x="322" y="29"/>
                  </a:lnTo>
                  <a:lnTo>
                    <a:pt x="303" y="39"/>
                  </a:lnTo>
                  <a:lnTo>
                    <a:pt x="293" y="19"/>
                  </a:lnTo>
                  <a:lnTo>
                    <a:pt x="283" y="10"/>
                  </a:lnTo>
                  <a:lnTo>
                    <a:pt x="264" y="10"/>
                  </a:lnTo>
                  <a:lnTo>
                    <a:pt x="254" y="0"/>
                  </a:lnTo>
                  <a:lnTo>
                    <a:pt x="225" y="10"/>
                  </a:lnTo>
                  <a:lnTo>
                    <a:pt x="205" y="10"/>
                  </a:lnTo>
                  <a:lnTo>
                    <a:pt x="186" y="10"/>
                  </a:lnTo>
                  <a:lnTo>
                    <a:pt x="166" y="10"/>
                  </a:lnTo>
                  <a:lnTo>
                    <a:pt x="137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88" y="19"/>
                  </a:lnTo>
                  <a:lnTo>
                    <a:pt x="98" y="29"/>
                  </a:lnTo>
                  <a:lnTo>
                    <a:pt x="98" y="39"/>
                  </a:lnTo>
                  <a:lnTo>
                    <a:pt x="88" y="49"/>
                  </a:lnTo>
                  <a:lnTo>
                    <a:pt x="78" y="58"/>
                  </a:lnTo>
                  <a:lnTo>
                    <a:pt x="59" y="78"/>
                  </a:lnTo>
                  <a:lnTo>
                    <a:pt x="49" y="78"/>
                  </a:lnTo>
                  <a:lnTo>
                    <a:pt x="39" y="68"/>
                  </a:lnTo>
                  <a:lnTo>
                    <a:pt x="30" y="58"/>
                  </a:lnTo>
                  <a:lnTo>
                    <a:pt x="10" y="58"/>
                  </a:lnTo>
                  <a:lnTo>
                    <a:pt x="0" y="78"/>
                  </a:lnTo>
                  <a:lnTo>
                    <a:pt x="20" y="88"/>
                  </a:lnTo>
                  <a:lnTo>
                    <a:pt x="3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69" y="127"/>
                  </a:lnTo>
                  <a:lnTo>
                    <a:pt x="78" y="136"/>
                  </a:lnTo>
                  <a:lnTo>
                    <a:pt x="88" y="136"/>
                  </a:lnTo>
                  <a:lnTo>
                    <a:pt x="98" y="127"/>
                  </a:lnTo>
                  <a:lnTo>
                    <a:pt x="117" y="136"/>
                  </a:lnTo>
                  <a:lnTo>
                    <a:pt x="137" y="136"/>
                  </a:lnTo>
                  <a:lnTo>
                    <a:pt x="147" y="156"/>
                  </a:lnTo>
                  <a:lnTo>
                    <a:pt x="137" y="175"/>
                  </a:lnTo>
                  <a:lnTo>
                    <a:pt x="147" y="195"/>
                  </a:lnTo>
                  <a:lnTo>
                    <a:pt x="147" y="215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372"/>
            <p:cNvSpPr>
              <a:spLocks/>
            </p:cNvSpPr>
            <p:nvPr/>
          </p:nvSpPr>
          <p:spPr bwMode="auto">
            <a:xfrm>
              <a:off x="2352" y="2567"/>
              <a:ext cx="469" cy="576"/>
            </a:xfrm>
            <a:custGeom>
              <a:avLst/>
              <a:gdLst>
                <a:gd name="T0" fmla="*/ 68 w 468"/>
                <a:gd name="T1" fmla="*/ 117 h 576"/>
                <a:gd name="T2" fmla="*/ 88 w 468"/>
                <a:gd name="T3" fmla="*/ 88 h 576"/>
                <a:gd name="T4" fmla="*/ 88 w 468"/>
                <a:gd name="T5" fmla="*/ 59 h 576"/>
                <a:gd name="T6" fmla="*/ 107 w 468"/>
                <a:gd name="T7" fmla="*/ 68 h 576"/>
                <a:gd name="T8" fmla="*/ 175 w 468"/>
                <a:gd name="T9" fmla="*/ 59 h 576"/>
                <a:gd name="T10" fmla="*/ 175 w 468"/>
                <a:gd name="T11" fmla="*/ 20 h 576"/>
                <a:gd name="T12" fmla="*/ 166 w 468"/>
                <a:gd name="T13" fmla="*/ 0 h 576"/>
                <a:gd name="T14" fmla="*/ 205 w 468"/>
                <a:gd name="T15" fmla="*/ 0 h 576"/>
                <a:gd name="T16" fmla="*/ 253 w 468"/>
                <a:gd name="T17" fmla="*/ 0 h 576"/>
                <a:gd name="T18" fmla="*/ 283 w 468"/>
                <a:gd name="T19" fmla="*/ 29 h 576"/>
                <a:gd name="T20" fmla="*/ 331 w 468"/>
                <a:gd name="T21" fmla="*/ 39 h 576"/>
                <a:gd name="T22" fmla="*/ 331 w 468"/>
                <a:gd name="T23" fmla="*/ 49 h 576"/>
                <a:gd name="T24" fmla="*/ 331 w 468"/>
                <a:gd name="T25" fmla="*/ 68 h 576"/>
                <a:gd name="T26" fmla="*/ 361 w 468"/>
                <a:gd name="T27" fmla="*/ 117 h 576"/>
                <a:gd name="T28" fmla="*/ 390 w 468"/>
                <a:gd name="T29" fmla="*/ 137 h 576"/>
                <a:gd name="T30" fmla="*/ 419 w 468"/>
                <a:gd name="T31" fmla="*/ 156 h 576"/>
                <a:gd name="T32" fmla="*/ 439 w 468"/>
                <a:gd name="T33" fmla="*/ 176 h 576"/>
                <a:gd name="T34" fmla="*/ 458 w 468"/>
                <a:gd name="T35" fmla="*/ 195 h 576"/>
                <a:gd name="T36" fmla="*/ 468 w 468"/>
                <a:gd name="T37" fmla="*/ 215 h 576"/>
                <a:gd name="T38" fmla="*/ 448 w 468"/>
                <a:gd name="T39" fmla="*/ 234 h 576"/>
                <a:gd name="T40" fmla="*/ 448 w 468"/>
                <a:gd name="T41" fmla="*/ 254 h 576"/>
                <a:gd name="T42" fmla="*/ 419 w 468"/>
                <a:gd name="T43" fmla="*/ 254 h 576"/>
                <a:gd name="T44" fmla="*/ 409 w 468"/>
                <a:gd name="T45" fmla="*/ 273 h 576"/>
                <a:gd name="T46" fmla="*/ 380 w 468"/>
                <a:gd name="T47" fmla="*/ 263 h 576"/>
                <a:gd name="T48" fmla="*/ 361 w 468"/>
                <a:gd name="T49" fmla="*/ 273 h 576"/>
                <a:gd name="T50" fmla="*/ 341 w 468"/>
                <a:gd name="T51" fmla="*/ 254 h 576"/>
                <a:gd name="T52" fmla="*/ 361 w 468"/>
                <a:gd name="T53" fmla="*/ 234 h 576"/>
                <a:gd name="T54" fmla="*/ 331 w 468"/>
                <a:gd name="T55" fmla="*/ 205 h 576"/>
                <a:gd name="T56" fmla="*/ 283 w 468"/>
                <a:gd name="T57" fmla="*/ 244 h 576"/>
                <a:gd name="T58" fmla="*/ 273 w 468"/>
                <a:gd name="T59" fmla="*/ 273 h 576"/>
                <a:gd name="T60" fmla="*/ 322 w 468"/>
                <a:gd name="T61" fmla="*/ 302 h 576"/>
                <a:gd name="T62" fmla="*/ 351 w 468"/>
                <a:gd name="T63" fmla="*/ 322 h 576"/>
                <a:gd name="T64" fmla="*/ 390 w 468"/>
                <a:gd name="T65" fmla="*/ 332 h 576"/>
                <a:gd name="T66" fmla="*/ 429 w 468"/>
                <a:gd name="T67" fmla="*/ 332 h 576"/>
                <a:gd name="T68" fmla="*/ 419 w 468"/>
                <a:gd name="T69" fmla="*/ 361 h 576"/>
                <a:gd name="T70" fmla="*/ 390 w 468"/>
                <a:gd name="T71" fmla="*/ 381 h 576"/>
                <a:gd name="T72" fmla="*/ 361 w 468"/>
                <a:gd name="T73" fmla="*/ 381 h 576"/>
                <a:gd name="T74" fmla="*/ 322 w 468"/>
                <a:gd name="T75" fmla="*/ 381 h 576"/>
                <a:gd name="T76" fmla="*/ 283 w 468"/>
                <a:gd name="T77" fmla="*/ 410 h 576"/>
                <a:gd name="T78" fmla="*/ 263 w 468"/>
                <a:gd name="T79" fmla="*/ 439 h 576"/>
                <a:gd name="T80" fmla="*/ 253 w 468"/>
                <a:gd name="T81" fmla="*/ 468 h 576"/>
                <a:gd name="T82" fmla="*/ 234 w 468"/>
                <a:gd name="T83" fmla="*/ 478 h 576"/>
                <a:gd name="T84" fmla="*/ 214 w 468"/>
                <a:gd name="T85" fmla="*/ 517 h 576"/>
                <a:gd name="T86" fmla="*/ 185 w 468"/>
                <a:gd name="T87" fmla="*/ 537 h 576"/>
                <a:gd name="T88" fmla="*/ 166 w 468"/>
                <a:gd name="T89" fmla="*/ 546 h 576"/>
                <a:gd name="T90" fmla="*/ 127 w 468"/>
                <a:gd name="T91" fmla="*/ 576 h 576"/>
                <a:gd name="T92" fmla="*/ 107 w 468"/>
                <a:gd name="T93" fmla="*/ 546 h 576"/>
                <a:gd name="T94" fmla="*/ 68 w 468"/>
                <a:gd name="T95" fmla="*/ 537 h 576"/>
                <a:gd name="T96" fmla="*/ 49 w 468"/>
                <a:gd name="T97" fmla="*/ 517 h 576"/>
                <a:gd name="T98" fmla="*/ 29 w 468"/>
                <a:gd name="T99" fmla="*/ 517 h 576"/>
                <a:gd name="T100" fmla="*/ 39 w 468"/>
                <a:gd name="T101" fmla="*/ 488 h 576"/>
                <a:gd name="T102" fmla="*/ 29 w 468"/>
                <a:gd name="T103" fmla="*/ 449 h 576"/>
                <a:gd name="T104" fmla="*/ 49 w 468"/>
                <a:gd name="T105" fmla="*/ 429 h 576"/>
                <a:gd name="T106" fmla="*/ 58 w 468"/>
                <a:gd name="T107" fmla="*/ 400 h 576"/>
                <a:gd name="T108" fmla="*/ 19 w 468"/>
                <a:gd name="T109" fmla="*/ 410 h 576"/>
                <a:gd name="T110" fmla="*/ 10 w 468"/>
                <a:gd name="T111" fmla="*/ 371 h 576"/>
                <a:gd name="T112" fmla="*/ 29 w 468"/>
                <a:gd name="T113" fmla="*/ 361 h 576"/>
                <a:gd name="T114" fmla="*/ 10 w 468"/>
                <a:gd name="T115" fmla="*/ 342 h 576"/>
                <a:gd name="T116" fmla="*/ 29 w 468"/>
                <a:gd name="T117" fmla="*/ 273 h 576"/>
                <a:gd name="T118" fmla="*/ 29 w 468"/>
                <a:gd name="T119" fmla="*/ 254 h 576"/>
                <a:gd name="T120" fmla="*/ 10 w 468"/>
                <a:gd name="T121" fmla="*/ 224 h 576"/>
                <a:gd name="T122" fmla="*/ 19 w 468"/>
                <a:gd name="T123" fmla="*/ 176 h 576"/>
                <a:gd name="T124" fmla="*/ 49 w 468"/>
                <a:gd name="T125" fmla="*/ 117 h 57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576"/>
                <a:gd name="T191" fmla="*/ 468 w 468"/>
                <a:gd name="T192" fmla="*/ 576 h 57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576">
                  <a:moveTo>
                    <a:pt x="49" y="117"/>
                  </a:moveTo>
                  <a:lnTo>
                    <a:pt x="68" y="117"/>
                  </a:lnTo>
                  <a:lnTo>
                    <a:pt x="88" y="117"/>
                  </a:lnTo>
                  <a:lnTo>
                    <a:pt x="88" y="88"/>
                  </a:lnTo>
                  <a:lnTo>
                    <a:pt x="88" y="68"/>
                  </a:lnTo>
                  <a:lnTo>
                    <a:pt x="88" y="59"/>
                  </a:lnTo>
                  <a:lnTo>
                    <a:pt x="107" y="68"/>
                  </a:lnTo>
                  <a:lnTo>
                    <a:pt x="156" y="59"/>
                  </a:lnTo>
                  <a:lnTo>
                    <a:pt x="175" y="59"/>
                  </a:lnTo>
                  <a:lnTo>
                    <a:pt x="185" y="49"/>
                  </a:lnTo>
                  <a:lnTo>
                    <a:pt x="175" y="20"/>
                  </a:lnTo>
                  <a:lnTo>
                    <a:pt x="166" y="0"/>
                  </a:lnTo>
                  <a:lnTo>
                    <a:pt x="175" y="0"/>
                  </a:lnTo>
                  <a:lnTo>
                    <a:pt x="205" y="0"/>
                  </a:lnTo>
                  <a:lnTo>
                    <a:pt x="234" y="0"/>
                  </a:lnTo>
                  <a:lnTo>
                    <a:pt x="253" y="0"/>
                  </a:lnTo>
                  <a:lnTo>
                    <a:pt x="263" y="20"/>
                  </a:lnTo>
                  <a:lnTo>
                    <a:pt x="283" y="29"/>
                  </a:lnTo>
                  <a:lnTo>
                    <a:pt x="302" y="39"/>
                  </a:lnTo>
                  <a:lnTo>
                    <a:pt x="331" y="39"/>
                  </a:lnTo>
                  <a:lnTo>
                    <a:pt x="341" y="49"/>
                  </a:lnTo>
                  <a:lnTo>
                    <a:pt x="331" y="49"/>
                  </a:lnTo>
                  <a:lnTo>
                    <a:pt x="331" y="59"/>
                  </a:lnTo>
                  <a:lnTo>
                    <a:pt x="331" y="68"/>
                  </a:lnTo>
                  <a:lnTo>
                    <a:pt x="351" y="78"/>
                  </a:lnTo>
                  <a:lnTo>
                    <a:pt x="361" y="117"/>
                  </a:lnTo>
                  <a:lnTo>
                    <a:pt x="380" y="117"/>
                  </a:lnTo>
                  <a:lnTo>
                    <a:pt x="390" y="137"/>
                  </a:lnTo>
                  <a:lnTo>
                    <a:pt x="400" y="137"/>
                  </a:lnTo>
                  <a:lnTo>
                    <a:pt x="419" y="156"/>
                  </a:lnTo>
                  <a:lnTo>
                    <a:pt x="419" y="166"/>
                  </a:lnTo>
                  <a:lnTo>
                    <a:pt x="439" y="176"/>
                  </a:lnTo>
                  <a:lnTo>
                    <a:pt x="458" y="185"/>
                  </a:lnTo>
                  <a:lnTo>
                    <a:pt x="458" y="195"/>
                  </a:lnTo>
                  <a:lnTo>
                    <a:pt x="468" y="195"/>
                  </a:lnTo>
                  <a:lnTo>
                    <a:pt x="468" y="215"/>
                  </a:lnTo>
                  <a:lnTo>
                    <a:pt x="448" y="224"/>
                  </a:lnTo>
                  <a:lnTo>
                    <a:pt x="448" y="234"/>
                  </a:lnTo>
                  <a:lnTo>
                    <a:pt x="439" y="244"/>
                  </a:lnTo>
                  <a:lnTo>
                    <a:pt x="448" y="254"/>
                  </a:lnTo>
                  <a:lnTo>
                    <a:pt x="448" y="263"/>
                  </a:lnTo>
                  <a:lnTo>
                    <a:pt x="419" y="254"/>
                  </a:lnTo>
                  <a:lnTo>
                    <a:pt x="419" y="273"/>
                  </a:lnTo>
                  <a:lnTo>
                    <a:pt x="409" y="273"/>
                  </a:lnTo>
                  <a:lnTo>
                    <a:pt x="400" y="263"/>
                  </a:lnTo>
                  <a:lnTo>
                    <a:pt x="380" y="263"/>
                  </a:lnTo>
                  <a:lnTo>
                    <a:pt x="380" y="273"/>
                  </a:lnTo>
                  <a:lnTo>
                    <a:pt x="361" y="273"/>
                  </a:lnTo>
                  <a:lnTo>
                    <a:pt x="361" y="254"/>
                  </a:lnTo>
                  <a:lnTo>
                    <a:pt x="341" y="254"/>
                  </a:lnTo>
                  <a:lnTo>
                    <a:pt x="331" y="244"/>
                  </a:lnTo>
                  <a:lnTo>
                    <a:pt x="361" y="234"/>
                  </a:lnTo>
                  <a:lnTo>
                    <a:pt x="351" y="215"/>
                  </a:lnTo>
                  <a:lnTo>
                    <a:pt x="331" y="205"/>
                  </a:lnTo>
                  <a:lnTo>
                    <a:pt x="292" y="215"/>
                  </a:lnTo>
                  <a:lnTo>
                    <a:pt x="283" y="244"/>
                  </a:lnTo>
                  <a:lnTo>
                    <a:pt x="273" y="254"/>
                  </a:lnTo>
                  <a:lnTo>
                    <a:pt x="273" y="273"/>
                  </a:lnTo>
                  <a:lnTo>
                    <a:pt x="292" y="302"/>
                  </a:lnTo>
                  <a:lnTo>
                    <a:pt x="322" y="302"/>
                  </a:lnTo>
                  <a:lnTo>
                    <a:pt x="341" y="332"/>
                  </a:lnTo>
                  <a:lnTo>
                    <a:pt x="351" y="322"/>
                  </a:lnTo>
                  <a:lnTo>
                    <a:pt x="370" y="332"/>
                  </a:lnTo>
                  <a:lnTo>
                    <a:pt x="390" y="332"/>
                  </a:lnTo>
                  <a:lnTo>
                    <a:pt x="419" y="332"/>
                  </a:lnTo>
                  <a:lnTo>
                    <a:pt x="429" y="332"/>
                  </a:lnTo>
                  <a:lnTo>
                    <a:pt x="429" y="342"/>
                  </a:lnTo>
                  <a:lnTo>
                    <a:pt x="419" y="361"/>
                  </a:lnTo>
                  <a:lnTo>
                    <a:pt x="400" y="361"/>
                  </a:lnTo>
                  <a:lnTo>
                    <a:pt x="390" y="381"/>
                  </a:lnTo>
                  <a:lnTo>
                    <a:pt x="370" y="390"/>
                  </a:lnTo>
                  <a:lnTo>
                    <a:pt x="361" y="381"/>
                  </a:lnTo>
                  <a:lnTo>
                    <a:pt x="341" y="381"/>
                  </a:lnTo>
                  <a:lnTo>
                    <a:pt x="322" y="381"/>
                  </a:lnTo>
                  <a:lnTo>
                    <a:pt x="302" y="400"/>
                  </a:lnTo>
                  <a:lnTo>
                    <a:pt x="283" y="410"/>
                  </a:lnTo>
                  <a:lnTo>
                    <a:pt x="273" y="420"/>
                  </a:lnTo>
                  <a:lnTo>
                    <a:pt x="263" y="439"/>
                  </a:lnTo>
                  <a:lnTo>
                    <a:pt x="253" y="459"/>
                  </a:lnTo>
                  <a:lnTo>
                    <a:pt x="253" y="468"/>
                  </a:lnTo>
                  <a:lnTo>
                    <a:pt x="244" y="478"/>
                  </a:lnTo>
                  <a:lnTo>
                    <a:pt x="234" y="478"/>
                  </a:lnTo>
                  <a:lnTo>
                    <a:pt x="224" y="498"/>
                  </a:lnTo>
                  <a:lnTo>
                    <a:pt x="214" y="517"/>
                  </a:lnTo>
                  <a:lnTo>
                    <a:pt x="205" y="537"/>
                  </a:lnTo>
                  <a:lnTo>
                    <a:pt x="185" y="537"/>
                  </a:lnTo>
                  <a:lnTo>
                    <a:pt x="175" y="537"/>
                  </a:lnTo>
                  <a:lnTo>
                    <a:pt x="166" y="546"/>
                  </a:lnTo>
                  <a:lnTo>
                    <a:pt x="146" y="566"/>
                  </a:lnTo>
                  <a:lnTo>
                    <a:pt x="127" y="576"/>
                  </a:lnTo>
                  <a:lnTo>
                    <a:pt x="107" y="566"/>
                  </a:lnTo>
                  <a:lnTo>
                    <a:pt x="107" y="546"/>
                  </a:lnTo>
                  <a:lnTo>
                    <a:pt x="88" y="537"/>
                  </a:lnTo>
                  <a:lnTo>
                    <a:pt x="68" y="537"/>
                  </a:lnTo>
                  <a:lnTo>
                    <a:pt x="49" y="537"/>
                  </a:lnTo>
                  <a:lnTo>
                    <a:pt x="49" y="517"/>
                  </a:lnTo>
                  <a:lnTo>
                    <a:pt x="39" y="517"/>
                  </a:lnTo>
                  <a:lnTo>
                    <a:pt x="29" y="517"/>
                  </a:lnTo>
                  <a:lnTo>
                    <a:pt x="29" y="488"/>
                  </a:lnTo>
                  <a:lnTo>
                    <a:pt x="39" y="488"/>
                  </a:lnTo>
                  <a:lnTo>
                    <a:pt x="39" y="45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9" y="429"/>
                  </a:lnTo>
                  <a:lnTo>
                    <a:pt x="68" y="420"/>
                  </a:lnTo>
                  <a:lnTo>
                    <a:pt x="58" y="400"/>
                  </a:lnTo>
                  <a:lnTo>
                    <a:pt x="39" y="400"/>
                  </a:lnTo>
                  <a:lnTo>
                    <a:pt x="19" y="410"/>
                  </a:lnTo>
                  <a:lnTo>
                    <a:pt x="10" y="390"/>
                  </a:lnTo>
                  <a:lnTo>
                    <a:pt x="10" y="371"/>
                  </a:lnTo>
                  <a:lnTo>
                    <a:pt x="0" y="361"/>
                  </a:lnTo>
                  <a:lnTo>
                    <a:pt x="29" y="361"/>
                  </a:lnTo>
                  <a:lnTo>
                    <a:pt x="29" y="351"/>
                  </a:lnTo>
                  <a:lnTo>
                    <a:pt x="10" y="342"/>
                  </a:lnTo>
                  <a:lnTo>
                    <a:pt x="29" y="293"/>
                  </a:lnTo>
                  <a:lnTo>
                    <a:pt x="29" y="273"/>
                  </a:lnTo>
                  <a:lnTo>
                    <a:pt x="39" y="263"/>
                  </a:lnTo>
                  <a:lnTo>
                    <a:pt x="29" y="254"/>
                  </a:lnTo>
                  <a:lnTo>
                    <a:pt x="10" y="244"/>
                  </a:lnTo>
                  <a:lnTo>
                    <a:pt x="10" y="224"/>
                  </a:lnTo>
                  <a:lnTo>
                    <a:pt x="10" y="205"/>
                  </a:lnTo>
                  <a:lnTo>
                    <a:pt x="19" y="176"/>
                  </a:lnTo>
                  <a:lnTo>
                    <a:pt x="29" y="146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371"/>
            <p:cNvSpPr>
              <a:spLocks/>
            </p:cNvSpPr>
            <p:nvPr/>
          </p:nvSpPr>
          <p:spPr bwMode="auto">
            <a:xfrm>
              <a:off x="2410" y="2273"/>
              <a:ext cx="324" cy="294"/>
            </a:xfrm>
            <a:custGeom>
              <a:avLst/>
              <a:gdLst>
                <a:gd name="T0" fmla="*/ 10 w 322"/>
                <a:gd name="T1" fmla="*/ 215 h 293"/>
                <a:gd name="T2" fmla="*/ 39 w 322"/>
                <a:gd name="T3" fmla="*/ 225 h 293"/>
                <a:gd name="T4" fmla="*/ 69 w 322"/>
                <a:gd name="T5" fmla="*/ 225 h 293"/>
                <a:gd name="T6" fmla="*/ 78 w 322"/>
                <a:gd name="T7" fmla="*/ 234 h 293"/>
                <a:gd name="T8" fmla="*/ 88 w 322"/>
                <a:gd name="T9" fmla="*/ 234 h 293"/>
                <a:gd name="T10" fmla="*/ 88 w 322"/>
                <a:gd name="T11" fmla="*/ 215 h 293"/>
                <a:gd name="T12" fmla="*/ 117 w 322"/>
                <a:gd name="T13" fmla="*/ 205 h 293"/>
                <a:gd name="T14" fmla="*/ 137 w 322"/>
                <a:gd name="T15" fmla="*/ 205 h 293"/>
                <a:gd name="T16" fmla="*/ 137 w 322"/>
                <a:gd name="T17" fmla="*/ 215 h 293"/>
                <a:gd name="T18" fmla="*/ 127 w 322"/>
                <a:gd name="T19" fmla="*/ 225 h 293"/>
                <a:gd name="T20" fmla="*/ 108 w 322"/>
                <a:gd name="T21" fmla="*/ 225 h 293"/>
                <a:gd name="T22" fmla="*/ 108 w 322"/>
                <a:gd name="T23" fmla="*/ 244 h 293"/>
                <a:gd name="T24" fmla="*/ 117 w 322"/>
                <a:gd name="T25" fmla="*/ 254 h 293"/>
                <a:gd name="T26" fmla="*/ 137 w 322"/>
                <a:gd name="T27" fmla="*/ 244 h 293"/>
                <a:gd name="T28" fmla="*/ 137 w 322"/>
                <a:gd name="T29" fmla="*/ 264 h 293"/>
                <a:gd name="T30" fmla="*/ 127 w 322"/>
                <a:gd name="T31" fmla="*/ 264 h 293"/>
                <a:gd name="T32" fmla="*/ 108 w 322"/>
                <a:gd name="T33" fmla="*/ 283 h 293"/>
                <a:gd name="T34" fmla="*/ 108 w 322"/>
                <a:gd name="T35" fmla="*/ 293 h 293"/>
                <a:gd name="T36" fmla="*/ 127 w 322"/>
                <a:gd name="T37" fmla="*/ 293 h 293"/>
                <a:gd name="T38" fmla="*/ 147 w 322"/>
                <a:gd name="T39" fmla="*/ 293 h 293"/>
                <a:gd name="T40" fmla="*/ 195 w 322"/>
                <a:gd name="T41" fmla="*/ 293 h 293"/>
                <a:gd name="T42" fmla="*/ 195 w 322"/>
                <a:gd name="T43" fmla="*/ 283 h 293"/>
                <a:gd name="T44" fmla="*/ 186 w 322"/>
                <a:gd name="T45" fmla="*/ 254 h 293"/>
                <a:gd name="T46" fmla="*/ 195 w 322"/>
                <a:gd name="T47" fmla="*/ 234 h 293"/>
                <a:gd name="T48" fmla="*/ 205 w 322"/>
                <a:gd name="T49" fmla="*/ 234 h 293"/>
                <a:gd name="T50" fmla="*/ 225 w 322"/>
                <a:gd name="T51" fmla="*/ 234 h 293"/>
                <a:gd name="T52" fmla="*/ 244 w 322"/>
                <a:gd name="T53" fmla="*/ 215 h 293"/>
                <a:gd name="T54" fmla="*/ 234 w 322"/>
                <a:gd name="T55" fmla="*/ 205 h 293"/>
                <a:gd name="T56" fmla="*/ 244 w 322"/>
                <a:gd name="T57" fmla="*/ 176 h 293"/>
                <a:gd name="T58" fmla="*/ 283 w 322"/>
                <a:gd name="T59" fmla="*/ 147 h 293"/>
                <a:gd name="T60" fmla="*/ 303 w 322"/>
                <a:gd name="T61" fmla="*/ 117 h 293"/>
                <a:gd name="T62" fmla="*/ 312 w 322"/>
                <a:gd name="T63" fmla="*/ 88 h 293"/>
                <a:gd name="T64" fmla="*/ 322 w 322"/>
                <a:gd name="T65" fmla="*/ 69 h 293"/>
                <a:gd name="T66" fmla="*/ 303 w 322"/>
                <a:gd name="T67" fmla="*/ 69 h 293"/>
                <a:gd name="T68" fmla="*/ 293 w 322"/>
                <a:gd name="T69" fmla="*/ 39 h 293"/>
                <a:gd name="T70" fmla="*/ 264 w 322"/>
                <a:gd name="T71" fmla="*/ 30 h 293"/>
                <a:gd name="T72" fmla="*/ 244 w 322"/>
                <a:gd name="T73" fmla="*/ 10 h 293"/>
                <a:gd name="T74" fmla="*/ 234 w 322"/>
                <a:gd name="T75" fmla="*/ 0 h 293"/>
                <a:gd name="T76" fmla="*/ 205 w 322"/>
                <a:gd name="T77" fmla="*/ 10 h 293"/>
                <a:gd name="T78" fmla="*/ 186 w 322"/>
                <a:gd name="T79" fmla="*/ 20 h 293"/>
                <a:gd name="T80" fmla="*/ 195 w 322"/>
                <a:gd name="T81" fmla="*/ 39 h 293"/>
                <a:gd name="T82" fmla="*/ 176 w 322"/>
                <a:gd name="T83" fmla="*/ 49 h 293"/>
                <a:gd name="T84" fmla="*/ 166 w 322"/>
                <a:gd name="T85" fmla="*/ 78 h 293"/>
                <a:gd name="T86" fmla="*/ 137 w 322"/>
                <a:gd name="T87" fmla="*/ 88 h 293"/>
                <a:gd name="T88" fmla="*/ 108 w 322"/>
                <a:gd name="T89" fmla="*/ 69 h 293"/>
                <a:gd name="T90" fmla="*/ 88 w 322"/>
                <a:gd name="T91" fmla="*/ 88 h 293"/>
                <a:gd name="T92" fmla="*/ 88 w 322"/>
                <a:gd name="T93" fmla="*/ 108 h 293"/>
                <a:gd name="T94" fmla="*/ 88 w 322"/>
                <a:gd name="T95" fmla="*/ 137 h 293"/>
                <a:gd name="T96" fmla="*/ 59 w 322"/>
                <a:gd name="T97" fmla="*/ 147 h 293"/>
                <a:gd name="T98" fmla="*/ 49 w 322"/>
                <a:gd name="T99" fmla="*/ 137 h 293"/>
                <a:gd name="T100" fmla="*/ 39 w 322"/>
                <a:gd name="T101" fmla="*/ 147 h 293"/>
                <a:gd name="T102" fmla="*/ 49 w 322"/>
                <a:gd name="T103" fmla="*/ 156 h 293"/>
                <a:gd name="T104" fmla="*/ 30 w 322"/>
                <a:gd name="T105" fmla="*/ 176 h 293"/>
                <a:gd name="T106" fmla="*/ 30 w 322"/>
                <a:gd name="T107" fmla="*/ 186 h 293"/>
                <a:gd name="T108" fmla="*/ 10 w 322"/>
                <a:gd name="T109" fmla="*/ 195 h 293"/>
                <a:gd name="T110" fmla="*/ 10 w 322"/>
                <a:gd name="T111" fmla="*/ 176 h 293"/>
                <a:gd name="T112" fmla="*/ 0 w 322"/>
                <a:gd name="T113" fmla="*/ 205 h 293"/>
                <a:gd name="T114" fmla="*/ 10 w 322"/>
                <a:gd name="T115" fmla="*/ 215 h 29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22"/>
                <a:gd name="T175" fmla="*/ 0 h 293"/>
                <a:gd name="T176" fmla="*/ 322 w 322"/>
                <a:gd name="T177" fmla="*/ 293 h 29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22" h="293">
                  <a:moveTo>
                    <a:pt x="10" y="215"/>
                  </a:moveTo>
                  <a:lnTo>
                    <a:pt x="39" y="225"/>
                  </a:lnTo>
                  <a:lnTo>
                    <a:pt x="69" y="225"/>
                  </a:lnTo>
                  <a:lnTo>
                    <a:pt x="78" y="234"/>
                  </a:lnTo>
                  <a:lnTo>
                    <a:pt x="88" y="234"/>
                  </a:lnTo>
                  <a:lnTo>
                    <a:pt x="88" y="215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37" y="215"/>
                  </a:lnTo>
                  <a:lnTo>
                    <a:pt x="127" y="225"/>
                  </a:lnTo>
                  <a:lnTo>
                    <a:pt x="108" y="225"/>
                  </a:lnTo>
                  <a:lnTo>
                    <a:pt x="108" y="244"/>
                  </a:lnTo>
                  <a:lnTo>
                    <a:pt x="117" y="254"/>
                  </a:lnTo>
                  <a:lnTo>
                    <a:pt x="137" y="244"/>
                  </a:lnTo>
                  <a:lnTo>
                    <a:pt x="137" y="264"/>
                  </a:lnTo>
                  <a:lnTo>
                    <a:pt x="127" y="26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93"/>
                  </a:lnTo>
                  <a:lnTo>
                    <a:pt x="147" y="293"/>
                  </a:lnTo>
                  <a:lnTo>
                    <a:pt x="195" y="293"/>
                  </a:lnTo>
                  <a:lnTo>
                    <a:pt x="195" y="283"/>
                  </a:lnTo>
                  <a:lnTo>
                    <a:pt x="186" y="254"/>
                  </a:lnTo>
                  <a:lnTo>
                    <a:pt x="195" y="234"/>
                  </a:lnTo>
                  <a:lnTo>
                    <a:pt x="205" y="234"/>
                  </a:lnTo>
                  <a:lnTo>
                    <a:pt x="225" y="234"/>
                  </a:lnTo>
                  <a:lnTo>
                    <a:pt x="244" y="215"/>
                  </a:lnTo>
                  <a:lnTo>
                    <a:pt x="234" y="205"/>
                  </a:lnTo>
                  <a:lnTo>
                    <a:pt x="244" y="176"/>
                  </a:lnTo>
                  <a:lnTo>
                    <a:pt x="283" y="147"/>
                  </a:lnTo>
                  <a:lnTo>
                    <a:pt x="303" y="117"/>
                  </a:lnTo>
                  <a:lnTo>
                    <a:pt x="312" y="88"/>
                  </a:lnTo>
                  <a:lnTo>
                    <a:pt x="322" y="69"/>
                  </a:lnTo>
                  <a:lnTo>
                    <a:pt x="303" y="69"/>
                  </a:lnTo>
                  <a:lnTo>
                    <a:pt x="293" y="39"/>
                  </a:lnTo>
                  <a:lnTo>
                    <a:pt x="264" y="30"/>
                  </a:lnTo>
                  <a:lnTo>
                    <a:pt x="244" y="10"/>
                  </a:lnTo>
                  <a:lnTo>
                    <a:pt x="234" y="0"/>
                  </a:lnTo>
                  <a:lnTo>
                    <a:pt x="205" y="10"/>
                  </a:lnTo>
                  <a:lnTo>
                    <a:pt x="186" y="20"/>
                  </a:lnTo>
                  <a:lnTo>
                    <a:pt x="195" y="39"/>
                  </a:lnTo>
                  <a:lnTo>
                    <a:pt x="176" y="49"/>
                  </a:lnTo>
                  <a:lnTo>
                    <a:pt x="166" y="78"/>
                  </a:lnTo>
                  <a:lnTo>
                    <a:pt x="137" y="88"/>
                  </a:lnTo>
                  <a:lnTo>
                    <a:pt x="108" y="69"/>
                  </a:lnTo>
                  <a:lnTo>
                    <a:pt x="88" y="88"/>
                  </a:lnTo>
                  <a:lnTo>
                    <a:pt x="88" y="108"/>
                  </a:lnTo>
                  <a:lnTo>
                    <a:pt x="88" y="137"/>
                  </a:lnTo>
                  <a:lnTo>
                    <a:pt x="59" y="147"/>
                  </a:lnTo>
                  <a:lnTo>
                    <a:pt x="49" y="137"/>
                  </a:lnTo>
                  <a:lnTo>
                    <a:pt x="39" y="147"/>
                  </a:lnTo>
                  <a:lnTo>
                    <a:pt x="49" y="156"/>
                  </a:lnTo>
                  <a:lnTo>
                    <a:pt x="30" y="176"/>
                  </a:lnTo>
                  <a:lnTo>
                    <a:pt x="30" y="186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205"/>
                  </a:lnTo>
                  <a:lnTo>
                    <a:pt x="10" y="215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370"/>
            <p:cNvSpPr>
              <a:spLocks/>
            </p:cNvSpPr>
            <p:nvPr/>
          </p:nvSpPr>
          <p:spPr bwMode="auto">
            <a:xfrm>
              <a:off x="2049" y="2654"/>
              <a:ext cx="595" cy="691"/>
            </a:xfrm>
            <a:custGeom>
              <a:avLst/>
              <a:gdLst>
                <a:gd name="T0" fmla="*/ 215 w 595"/>
                <a:gd name="T1" fmla="*/ 58 h 693"/>
                <a:gd name="T2" fmla="*/ 273 w 595"/>
                <a:gd name="T3" fmla="*/ 19 h 693"/>
                <a:gd name="T4" fmla="*/ 303 w 595"/>
                <a:gd name="T5" fmla="*/ 19 h 693"/>
                <a:gd name="T6" fmla="*/ 332 w 595"/>
                <a:gd name="T7" fmla="*/ 39 h 693"/>
                <a:gd name="T8" fmla="*/ 332 w 595"/>
                <a:gd name="T9" fmla="*/ 58 h 693"/>
                <a:gd name="T10" fmla="*/ 313 w 595"/>
                <a:gd name="T11" fmla="*/ 136 h 693"/>
                <a:gd name="T12" fmla="*/ 342 w 595"/>
                <a:gd name="T13" fmla="*/ 175 h 693"/>
                <a:gd name="T14" fmla="*/ 313 w 595"/>
                <a:gd name="T15" fmla="*/ 254 h 693"/>
                <a:gd name="T16" fmla="*/ 303 w 595"/>
                <a:gd name="T17" fmla="*/ 273 h 693"/>
                <a:gd name="T18" fmla="*/ 322 w 595"/>
                <a:gd name="T19" fmla="*/ 322 h 693"/>
                <a:gd name="T20" fmla="*/ 371 w 595"/>
                <a:gd name="T21" fmla="*/ 341 h 693"/>
                <a:gd name="T22" fmla="*/ 332 w 595"/>
                <a:gd name="T23" fmla="*/ 361 h 693"/>
                <a:gd name="T24" fmla="*/ 332 w 595"/>
                <a:gd name="T25" fmla="*/ 400 h 693"/>
                <a:gd name="T26" fmla="*/ 352 w 595"/>
                <a:gd name="T27" fmla="*/ 439 h 693"/>
                <a:gd name="T28" fmla="*/ 391 w 595"/>
                <a:gd name="T29" fmla="*/ 449 h 693"/>
                <a:gd name="T30" fmla="*/ 430 w 595"/>
                <a:gd name="T31" fmla="*/ 488 h 693"/>
                <a:gd name="T32" fmla="*/ 478 w 595"/>
                <a:gd name="T33" fmla="*/ 449 h 693"/>
                <a:gd name="T34" fmla="*/ 517 w 595"/>
                <a:gd name="T35" fmla="*/ 439 h 693"/>
                <a:gd name="T36" fmla="*/ 527 w 595"/>
                <a:gd name="T37" fmla="*/ 458 h 693"/>
                <a:gd name="T38" fmla="*/ 586 w 595"/>
                <a:gd name="T39" fmla="*/ 488 h 693"/>
                <a:gd name="T40" fmla="*/ 547 w 595"/>
                <a:gd name="T41" fmla="*/ 517 h 693"/>
                <a:gd name="T42" fmla="*/ 556 w 595"/>
                <a:gd name="T43" fmla="*/ 556 h 693"/>
                <a:gd name="T44" fmla="*/ 566 w 595"/>
                <a:gd name="T45" fmla="*/ 595 h 693"/>
                <a:gd name="T46" fmla="*/ 595 w 595"/>
                <a:gd name="T47" fmla="*/ 654 h 693"/>
                <a:gd name="T48" fmla="*/ 566 w 595"/>
                <a:gd name="T49" fmla="*/ 683 h 693"/>
                <a:gd name="T50" fmla="*/ 498 w 595"/>
                <a:gd name="T51" fmla="*/ 683 h 693"/>
                <a:gd name="T52" fmla="*/ 469 w 595"/>
                <a:gd name="T53" fmla="*/ 644 h 693"/>
                <a:gd name="T54" fmla="*/ 430 w 595"/>
                <a:gd name="T55" fmla="*/ 634 h 693"/>
                <a:gd name="T56" fmla="*/ 391 w 595"/>
                <a:gd name="T57" fmla="*/ 585 h 693"/>
                <a:gd name="T58" fmla="*/ 391 w 595"/>
                <a:gd name="T59" fmla="*/ 536 h 693"/>
                <a:gd name="T60" fmla="*/ 332 w 595"/>
                <a:gd name="T61" fmla="*/ 527 h 693"/>
                <a:gd name="T62" fmla="*/ 293 w 595"/>
                <a:gd name="T63" fmla="*/ 488 h 693"/>
                <a:gd name="T64" fmla="*/ 254 w 595"/>
                <a:gd name="T65" fmla="*/ 478 h 693"/>
                <a:gd name="T66" fmla="*/ 205 w 595"/>
                <a:gd name="T67" fmla="*/ 488 h 693"/>
                <a:gd name="T68" fmla="*/ 176 w 595"/>
                <a:gd name="T69" fmla="*/ 449 h 693"/>
                <a:gd name="T70" fmla="*/ 147 w 595"/>
                <a:gd name="T71" fmla="*/ 410 h 693"/>
                <a:gd name="T72" fmla="*/ 117 w 595"/>
                <a:gd name="T73" fmla="*/ 419 h 693"/>
                <a:gd name="T74" fmla="*/ 127 w 595"/>
                <a:gd name="T75" fmla="*/ 351 h 693"/>
                <a:gd name="T76" fmla="*/ 127 w 595"/>
                <a:gd name="T77" fmla="*/ 293 h 693"/>
                <a:gd name="T78" fmla="*/ 78 w 595"/>
                <a:gd name="T79" fmla="*/ 263 h 693"/>
                <a:gd name="T80" fmla="*/ 30 w 595"/>
                <a:gd name="T81" fmla="*/ 214 h 693"/>
                <a:gd name="T82" fmla="*/ 20 w 595"/>
                <a:gd name="T83" fmla="*/ 185 h 693"/>
                <a:gd name="T84" fmla="*/ 20 w 595"/>
                <a:gd name="T85" fmla="*/ 156 h 693"/>
                <a:gd name="T86" fmla="*/ 98 w 595"/>
                <a:gd name="T87" fmla="*/ 136 h 693"/>
                <a:gd name="T88" fmla="*/ 117 w 595"/>
                <a:gd name="T89" fmla="*/ 127 h 693"/>
                <a:gd name="T90" fmla="*/ 195 w 595"/>
                <a:gd name="T91" fmla="*/ 107 h 69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95"/>
                <a:gd name="T139" fmla="*/ 0 h 693"/>
                <a:gd name="T140" fmla="*/ 595 w 595"/>
                <a:gd name="T141" fmla="*/ 693 h 69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95" h="693">
                  <a:moveTo>
                    <a:pt x="205" y="97"/>
                  </a:moveTo>
                  <a:lnTo>
                    <a:pt x="215" y="68"/>
                  </a:lnTo>
                  <a:lnTo>
                    <a:pt x="215" y="58"/>
                  </a:lnTo>
                  <a:lnTo>
                    <a:pt x="234" y="49"/>
                  </a:lnTo>
                  <a:lnTo>
                    <a:pt x="264" y="39"/>
                  </a:lnTo>
                  <a:lnTo>
                    <a:pt x="273" y="19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303" y="19"/>
                  </a:lnTo>
                  <a:lnTo>
                    <a:pt x="313" y="29"/>
                  </a:lnTo>
                  <a:lnTo>
                    <a:pt x="332" y="29"/>
                  </a:lnTo>
                  <a:lnTo>
                    <a:pt x="332" y="39"/>
                  </a:lnTo>
                  <a:lnTo>
                    <a:pt x="313" y="39"/>
                  </a:lnTo>
                  <a:lnTo>
                    <a:pt x="322" y="68"/>
                  </a:lnTo>
                  <a:lnTo>
                    <a:pt x="332" y="58"/>
                  </a:lnTo>
                  <a:lnTo>
                    <a:pt x="322" y="88"/>
                  </a:lnTo>
                  <a:lnTo>
                    <a:pt x="313" y="117"/>
                  </a:lnTo>
                  <a:lnTo>
                    <a:pt x="313" y="136"/>
                  </a:lnTo>
                  <a:lnTo>
                    <a:pt x="313" y="156"/>
                  </a:lnTo>
                  <a:lnTo>
                    <a:pt x="332" y="166"/>
                  </a:lnTo>
                  <a:lnTo>
                    <a:pt x="342" y="175"/>
                  </a:lnTo>
                  <a:lnTo>
                    <a:pt x="332" y="185"/>
                  </a:lnTo>
                  <a:lnTo>
                    <a:pt x="332" y="214"/>
                  </a:lnTo>
                  <a:lnTo>
                    <a:pt x="313" y="254"/>
                  </a:lnTo>
                  <a:lnTo>
                    <a:pt x="332" y="263"/>
                  </a:lnTo>
                  <a:lnTo>
                    <a:pt x="332" y="273"/>
                  </a:lnTo>
                  <a:lnTo>
                    <a:pt x="303" y="273"/>
                  </a:lnTo>
                  <a:lnTo>
                    <a:pt x="313" y="293"/>
                  </a:lnTo>
                  <a:lnTo>
                    <a:pt x="313" y="302"/>
                  </a:lnTo>
                  <a:lnTo>
                    <a:pt x="322" y="322"/>
                  </a:lnTo>
                  <a:lnTo>
                    <a:pt x="342" y="312"/>
                  </a:lnTo>
                  <a:lnTo>
                    <a:pt x="361" y="312"/>
                  </a:lnTo>
                  <a:lnTo>
                    <a:pt x="371" y="341"/>
                  </a:lnTo>
                  <a:lnTo>
                    <a:pt x="352" y="341"/>
                  </a:lnTo>
                  <a:lnTo>
                    <a:pt x="342" y="361"/>
                  </a:lnTo>
                  <a:lnTo>
                    <a:pt x="332" y="361"/>
                  </a:lnTo>
                  <a:lnTo>
                    <a:pt x="342" y="371"/>
                  </a:lnTo>
                  <a:lnTo>
                    <a:pt x="342" y="400"/>
                  </a:lnTo>
                  <a:lnTo>
                    <a:pt x="332" y="400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52" y="439"/>
                  </a:lnTo>
                  <a:lnTo>
                    <a:pt x="352" y="449"/>
                  </a:lnTo>
                  <a:lnTo>
                    <a:pt x="371" y="449"/>
                  </a:lnTo>
                  <a:lnTo>
                    <a:pt x="391" y="449"/>
                  </a:lnTo>
                  <a:lnTo>
                    <a:pt x="410" y="458"/>
                  </a:lnTo>
                  <a:lnTo>
                    <a:pt x="410" y="478"/>
                  </a:lnTo>
                  <a:lnTo>
                    <a:pt x="430" y="488"/>
                  </a:lnTo>
                  <a:lnTo>
                    <a:pt x="449" y="478"/>
                  </a:lnTo>
                  <a:lnTo>
                    <a:pt x="469" y="458"/>
                  </a:lnTo>
                  <a:lnTo>
                    <a:pt x="478" y="449"/>
                  </a:lnTo>
                  <a:lnTo>
                    <a:pt x="488" y="449"/>
                  </a:lnTo>
                  <a:lnTo>
                    <a:pt x="508" y="449"/>
                  </a:lnTo>
                  <a:lnTo>
                    <a:pt x="517" y="439"/>
                  </a:lnTo>
                  <a:lnTo>
                    <a:pt x="517" y="449"/>
                  </a:lnTo>
                  <a:lnTo>
                    <a:pt x="517" y="458"/>
                  </a:lnTo>
                  <a:lnTo>
                    <a:pt x="527" y="458"/>
                  </a:lnTo>
                  <a:lnTo>
                    <a:pt x="547" y="458"/>
                  </a:lnTo>
                  <a:lnTo>
                    <a:pt x="566" y="468"/>
                  </a:lnTo>
                  <a:lnTo>
                    <a:pt x="586" y="488"/>
                  </a:lnTo>
                  <a:lnTo>
                    <a:pt x="586" y="497"/>
                  </a:lnTo>
                  <a:lnTo>
                    <a:pt x="556" y="507"/>
                  </a:lnTo>
                  <a:lnTo>
                    <a:pt x="547" y="517"/>
                  </a:lnTo>
                  <a:lnTo>
                    <a:pt x="556" y="527"/>
                  </a:lnTo>
                  <a:lnTo>
                    <a:pt x="547" y="546"/>
                  </a:lnTo>
                  <a:lnTo>
                    <a:pt x="556" y="556"/>
                  </a:lnTo>
                  <a:lnTo>
                    <a:pt x="566" y="575"/>
                  </a:lnTo>
                  <a:lnTo>
                    <a:pt x="556" y="585"/>
                  </a:lnTo>
                  <a:lnTo>
                    <a:pt x="566" y="595"/>
                  </a:lnTo>
                  <a:lnTo>
                    <a:pt x="566" y="605"/>
                  </a:lnTo>
                  <a:lnTo>
                    <a:pt x="586" y="634"/>
                  </a:lnTo>
                  <a:lnTo>
                    <a:pt x="595" y="654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66" y="683"/>
                  </a:lnTo>
                  <a:lnTo>
                    <a:pt x="547" y="693"/>
                  </a:lnTo>
                  <a:lnTo>
                    <a:pt x="527" y="693"/>
                  </a:lnTo>
                  <a:lnTo>
                    <a:pt x="498" y="683"/>
                  </a:lnTo>
                  <a:lnTo>
                    <a:pt x="488" y="663"/>
                  </a:lnTo>
                  <a:lnTo>
                    <a:pt x="478" y="634"/>
                  </a:lnTo>
                  <a:lnTo>
                    <a:pt x="469" y="644"/>
                  </a:lnTo>
                  <a:lnTo>
                    <a:pt x="449" y="654"/>
                  </a:lnTo>
                  <a:lnTo>
                    <a:pt x="420" y="654"/>
                  </a:lnTo>
                  <a:lnTo>
                    <a:pt x="430" y="634"/>
                  </a:lnTo>
                  <a:lnTo>
                    <a:pt x="400" y="615"/>
                  </a:lnTo>
                  <a:lnTo>
                    <a:pt x="391" y="595"/>
                  </a:lnTo>
                  <a:lnTo>
                    <a:pt x="391" y="585"/>
                  </a:lnTo>
                  <a:lnTo>
                    <a:pt x="391" y="575"/>
                  </a:lnTo>
                  <a:lnTo>
                    <a:pt x="400" y="556"/>
                  </a:lnTo>
                  <a:lnTo>
                    <a:pt x="391" y="536"/>
                  </a:lnTo>
                  <a:lnTo>
                    <a:pt x="361" y="517"/>
                  </a:lnTo>
                  <a:lnTo>
                    <a:pt x="342" y="527"/>
                  </a:lnTo>
                  <a:lnTo>
                    <a:pt x="332" y="527"/>
                  </a:lnTo>
                  <a:lnTo>
                    <a:pt x="313" y="517"/>
                  </a:lnTo>
                  <a:lnTo>
                    <a:pt x="322" y="497"/>
                  </a:lnTo>
                  <a:lnTo>
                    <a:pt x="293" y="488"/>
                  </a:lnTo>
                  <a:lnTo>
                    <a:pt x="273" y="488"/>
                  </a:lnTo>
                  <a:lnTo>
                    <a:pt x="273" y="468"/>
                  </a:lnTo>
                  <a:lnTo>
                    <a:pt x="254" y="478"/>
                  </a:lnTo>
                  <a:lnTo>
                    <a:pt x="244" y="468"/>
                  </a:lnTo>
                  <a:lnTo>
                    <a:pt x="234" y="478"/>
                  </a:lnTo>
                  <a:lnTo>
                    <a:pt x="205" y="488"/>
                  </a:lnTo>
                  <a:lnTo>
                    <a:pt x="186" y="468"/>
                  </a:lnTo>
                  <a:lnTo>
                    <a:pt x="186" y="458"/>
                  </a:lnTo>
                  <a:lnTo>
                    <a:pt x="176" y="449"/>
                  </a:lnTo>
                  <a:lnTo>
                    <a:pt x="176" y="390"/>
                  </a:lnTo>
                  <a:lnTo>
                    <a:pt x="166" y="390"/>
                  </a:lnTo>
                  <a:lnTo>
                    <a:pt x="147" y="410"/>
                  </a:lnTo>
                  <a:lnTo>
                    <a:pt x="137" y="419"/>
                  </a:lnTo>
                  <a:lnTo>
                    <a:pt x="117" y="429"/>
                  </a:lnTo>
                  <a:lnTo>
                    <a:pt x="117" y="419"/>
                  </a:lnTo>
                  <a:lnTo>
                    <a:pt x="127" y="410"/>
                  </a:lnTo>
                  <a:lnTo>
                    <a:pt x="127" y="390"/>
                  </a:lnTo>
                  <a:lnTo>
                    <a:pt x="127" y="351"/>
                  </a:lnTo>
                  <a:lnTo>
                    <a:pt x="117" y="341"/>
                  </a:lnTo>
                  <a:lnTo>
                    <a:pt x="127" y="312"/>
                  </a:lnTo>
                  <a:lnTo>
                    <a:pt x="127" y="293"/>
                  </a:lnTo>
                  <a:lnTo>
                    <a:pt x="108" y="283"/>
                  </a:lnTo>
                  <a:lnTo>
                    <a:pt x="88" y="263"/>
                  </a:lnTo>
                  <a:lnTo>
                    <a:pt x="78" y="263"/>
                  </a:lnTo>
                  <a:lnTo>
                    <a:pt x="78" y="224"/>
                  </a:lnTo>
                  <a:lnTo>
                    <a:pt x="49" y="214"/>
                  </a:lnTo>
                  <a:lnTo>
                    <a:pt x="30" y="214"/>
                  </a:lnTo>
                  <a:lnTo>
                    <a:pt x="20" y="214"/>
                  </a:lnTo>
                  <a:lnTo>
                    <a:pt x="0" y="205"/>
                  </a:lnTo>
                  <a:lnTo>
                    <a:pt x="20" y="185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20" y="156"/>
                  </a:lnTo>
                  <a:lnTo>
                    <a:pt x="49" y="156"/>
                  </a:lnTo>
                  <a:lnTo>
                    <a:pt x="78" y="156"/>
                  </a:lnTo>
                  <a:lnTo>
                    <a:pt x="98" y="136"/>
                  </a:lnTo>
                  <a:lnTo>
                    <a:pt x="98" y="127"/>
                  </a:lnTo>
                  <a:lnTo>
                    <a:pt x="108" y="117"/>
                  </a:lnTo>
                  <a:lnTo>
                    <a:pt x="117" y="127"/>
                  </a:lnTo>
                  <a:lnTo>
                    <a:pt x="137" y="107"/>
                  </a:lnTo>
                  <a:lnTo>
                    <a:pt x="166" y="107"/>
                  </a:lnTo>
                  <a:lnTo>
                    <a:pt x="195" y="107"/>
                  </a:lnTo>
                  <a:lnTo>
                    <a:pt x="205" y="9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369"/>
            <p:cNvSpPr>
              <a:spLocks/>
            </p:cNvSpPr>
            <p:nvPr/>
          </p:nvSpPr>
          <p:spPr bwMode="auto">
            <a:xfrm>
              <a:off x="2908" y="2858"/>
              <a:ext cx="430" cy="322"/>
            </a:xfrm>
            <a:custGeom>
              <a:avLst/>
              <a:gdLst>
                <a:gd name="T0" fmla="*/ 78 w 429"/>
                <a:gd name="T1" fmla="*/ 88 h 322"/>
                <a:gd name="T2" fmla="*/ 39 w 429"/>
                <a:gd name="T3" fmla="*/ 97 h 322"/>
                <a:gd name="T4" fmla="*/ 10 w 429"/>
                <a:gd name="T5" fmla="*/ 107 h 322"/>
                <a:gd name="T6" fmla="*/ 0 w 429"/>
                <a:gd name="T7" fmla="*/ 136 h 322"/>
                <a:gd name="T8" fmla="*/ 19 w 429"/>
                <a:gd name="T9" fmla="*/ 156 h 322"/>
                <a:gd name="T10" fmla="*/ 49 w 429"/>
                <a:gd name="T11" fmla="*/ 175 h 322"/>
                <a:gd name="T12" fmla="*/ 49 w 429"/>
                <a:gd name="T13" fmla="*/ 205 h 322"/>
                <a:gd name="T14" fmla="*/ 39 w 429"/>
                <a:gd name="T15" fmla="*/ 214 h 322"/>
                <a:gd name="T16" fmla="*/ 58 w 429"/>
                <a:gd name="T17" fmla="*/ 253 h 322"/>
                <a:gd name="T18" fmla="*/ 78 w 429"/>
                <a:gd name="T19" fmla="*/ 263 h 322"/>
                <a:gd name="T20" fmla="*/ 107 w 429"/>
                <a:gd name="T21" fmla="*/ 263 h 322"/>
                <a:gd name="T22" fmla="*/ 146 w 429"/>
                <a:gd name="T23" fmla="*/ 273 h 322"/>
                <a:gd name="T24" fmla="*/ 156 w 429"/>
                <a:gd name="T25" fmla="*/ 292 h 322"/>
                <a:gd name="T26" fmla="*/ 185 w 429"/>
                <a:gd name="T27" fmla="*/ 273 h 322"/>
                <a:gd name="T28" fmla="*/ 214 w 429"/>
                <a:gd name="T29" fmla="*/ 273 h 322"/>
                <a:gd name="T30" fmla="*/ 234 w 429"/>
                <a:gd name="T31" fmla="*/ 292 h 322"/>
                <a:gd name="T32" fmla="*/ 263 w 429"/>
                <a:gd name="T33" fmla="*/ 292 h 322"/>
                <a:gd name="T34" fmla="*/ 312 w 429"/>
                <a:gd name="T35" fmla="*/ 302 h 322"/>
                <a:gd name="T36" fmla="*/ 341 w 429"/>
                <a:gd name="T37" fmla="*/ 312 h 322"/>
                <a:gd name="T38" fmla="*/ 370 w 429"/>
                <a:gd name="T39" fmla="*/ 322 h 322"/>
                <a:gd name="T40" fmla="*/ 380 w 429"/>
                <a:gd name="T41" fmla="*/ 292 h 322"/>
                <a:gd name="T42" fmla="*/ 409 w 429"/>
                <a:gd name="T43" fmla="*/ 312 h 322"/>
                <a:gd name="T44" fmla="*/ 419 w 429"/>
                <a:gd name="T45" fmla="*/ 273 h 322"/>
                <a:gd name="T46" fmla="*/ 409 w 429"/>
                <a:gd name="T47" fmla="*/ 234 h 322"/>
                <a:gd name="T48" fmla="*/ 370 w 429"/>
                <a:gd name="T49" fmla="*/ 224 h 322"/>
                <a:gd name="T50" fmla="*/ 351 w 429"/>
                <a:gd name="T51" fmla="*/ 205 h 322"/>
                <a:gd name="T52" fmla="*/ 322 w 429"/>
                <a:gd name="T53" fmla="*/ 166 h 322"/>
                <a:gd name="T54" fmla="*/ 292 w 429"/>
                <a:gd name="T55" fmla="*/ 117 h 322"/>
                <a:gd name="T56" fmla="*/ 263 w 429"/>
                <a:gd name="T57" fmla="*/ 78 h 322"/>
                <a:gd name="T58" fmla="*/ 283 w 429"/>
                <a:gd name="T59" fmla="*/ 39 h 322"/>
                <a:gd name="T60" fmla="*/ 263 w 429"/>
                <a:gd name="T61" fmla="*/ 29 h 322"/>
                <a:gd name="T62" fmla="*/ 214 w 429"/>
                <a:gd name="T63" fmla="*/ 49 h 322"/>
                <a:gd name="T64" fmla="*/ 195 w 429"/>
                <a:gd name="T65" fmla="*/ 39 h 322"/>
                <a:gd name="T66" fmla="*/ 175 w 429"/>
                <a:gd name="T67" fmla="*/ 19 h 322"/>
                <a:gd name="T68" fmla="*/ 127 w 429"/>
                <a:gd name="T69" fmla="*/ 0 h 322"/>
                <a:gd name="T70" fmla="*/ 88 w 429"/>
                <a:gd name="T71" fmla="*/ 9 h 322"/>
                <a:gd name="T72" fmla="*/ 88 w 429"/>
                <a:gd name="T73" fmla="*/ 39 h 322"/>
                <a:gd name="T74" fmla="*/ 78 w 429"/>
                <a:gd name="T75" fmla="*/ 68 h 3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29"/>
                <a:gd name="T115" fmla="*/ 0 h 322"/>
                <a:gd name="T116" fmla="*/ 429 w 429"/>
                <a:gd name="T117" fmla="*/ 322 h 3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29" h="322">
                  <a:moveTo>
                    <a:pt x="78" y="68"/>
                  </a:moveTo>
                  <a:lnTo>
                    <a:pt x="78" y="88"/>
                  </a:lnTo>
                  <a:lnTo>
                    <a:pt x="49" y="88"/>
                  </a:lnTo>
                  <a:lnTo>
                    <a:pt x="39" y="97"/>
                  </a:lnTo>
                  <a:lnTo>
                    <a:pt x="29" y="117"/>
                  </a:lnTo>
                  <a:lnTo>
                    <a:pt x="10" y="107"/>
                  </a:lnTo>
                  <a:lnTo>
                    <a:pt x="10" y="127"/>
                  </a:lnTo>
                  <a:lnTo>
                    <a:pt x="0" y="136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75"/>
                  </a:lnTo>
                  <a:lnTo>
                    <a:pt x="49" y="175"/>
                  </a:lnTo>
                  <a:lnTo>
                    <a:pt x="58" y="18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39" y="214"/>
                  </a:lnTo>
                  <a:lnTo>
                    <a:pt x="49" y="244"/>
                  </a:lnTo>
                  <a:lnTo>
                    <a:pt x="58" y="253"/>
                  </a:lnTo>
                  <a:lnTo>
                    <a:pt x="68" y="273"/>
                  </a:lnTo>
                  <a:lnTo>
                    <a:pt x="78" y="263"/>
                  </a:lnTo>
                  <a:lnTo>
                    <a:pt x="97" y="253"/>
                  </a:lnTo>
                  <a:lnTo>
                    <a:pt x="107" y="26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83"/>
                  </a:lnTo>
                  <a:lnTo>
                    <a:pt x="156" y="292"/>
                  </a:lnTo>
                  <a:lnTo>
                    <a:pt x="166" y="273"/>
                  </a:lnTo>
                  <a:lnTo>
                    <a:pt x="185" y="273"/>
                  </a:lnTo>
                  <a:lnTo>
                    <a:pt x="205" y="283"/>
                  </a:lnTo>
                  <a:lnTo>
                    <a:pt x="214" y="273"/>
                  </a:lnTo>
                  <a:lnTo>
                    <a:pt x="224" y="283"/>
                  </a:lnTo>
                  <a:lnTo>
                    <a:pt x="234" y="292"/>
                  </a:lnTo>
                  <a:lnTo>
                    <a:pt x="253" y="292"/>
                  </a:lnTo>
                  <a:lnTo>
                    <a:pt x="263" y="292"/>
                  </a:lnTo>
                  <a:lnTo>
                    <a:pt x="292" y="302"/>
                  </a:lnTo>
                  <a:lnTo>
                    <a:pt x="312" y="302"/>
                  </a:lnTo>
                  <a:lnTo>
                    <a:pt x="331" y="312"/>
                  </a:lnTo>
                  <a:lnTo>
                    <a:pt x="341" y="312"/>
                  </a:lnTo>
                  <a:lnTo>
                    <a:pt x="351" y="312"/>
                  </a:lnTo>
                  <a:lnTo>
                    <a:pt x="370" y="322"/>
                  </a:lnTo>
                  <a:lnTo>
                    <a:pt x="380" y="312"/>
                  </a:lnTo>
                  <a:lnTo>
                    <a:pt x="380" y="292"/>
                  </a:lnTo>
                  <a:lnTo>
                    <a:pt x="390" y="292"/>
                  </a:lnTo>
                  <a:lnTo>
                    <a:pt x="409" y="312"/>
                  </a:lnTo>
                  <a:lnTo>
                    <a:pt x="429" y="302"/>
                  </a:lnTo>
                  <a:lnTo>
                    <a:pt x="419" y="273"/>
                  </a:lnTo>
                  <a:lnTo>
                    <a:pt x="409" y="253"/>
                  </a:lnTo>
                  <a:lnTo>
                    <a:pt x="409" y="234"/>
                  </a:lnTo>
                  <a:lnTo>
                    <a:pt x="390" y="244"/>
                  </a:lnTo>
                  <a:lnTo>
                    <a:pt x="370" y="224"/>
                  </a:lnTo>
                  <a:lnTo>
                    <a:pt x="351" y="214"/>
                  </a:lnTo>
                  <a:lnTo>
                    <a:pt x="351" y="205"/>
                  </a:lnTo>
                  <a:lnTo>
                    <a:pt x="341" y="175"/>
                  </a:lnTo>
                  <a:lnTo>
                    <a:pt x="322" y="166"/>
                  </a:lnTo>
                  <a:lnTo>
                    <a:pt x="292" y="146"/>
                  </a:lnTo>
                  <a:lnTo>
                    <a:pt x="292" y="117"/>
                  </a:lnTo>
                  <a:lnTo>
                    <a:pt x="273" y="97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39"/>
                  </a:lnTo>
                  <a:lnTo>
                    <a:pt x="283" y="19"/>
                  </a:lnTo>
                  <a:lnTo>
                    <a:pt x="263" y="29"/>
                  </a:lnTo>
                  <a:lnTo>
                    <a:pt x="224" y="39"/>
                  </a:lnTo>
                  <a:lnTo>
                    <a:pt x="214" y="49"/>
                  </a:lnTo>
                  <a:lnTo>
                    <a:pt x="205" y="49"/>
                  </a:lnTo>
                  <a:lnTo>
                    <a:pt x="195" y="39"/>
                  </a:lnTo>
                  <a:lnTo>
                    <a:pt x="195" y="19"/>
                  </a:lnTo>
                  <a:lnTo>
                    <a:pt x="175" y="19"/>
                  </a:lnTo>
                  <a:lnTo>
                    <a:pt x="156" y="0"/>
                  </a:lnTo>
                  <a:lnTo>
                    <a:pt x="127" y="0"/>
                  </a:lnTo>
                  <a:lnTo>
                    <a:pt x="107" y="9"/>
                  </a:lnTo>
                  <a:lnTo>
                    <a:pt x="88" y="9"/>
                  </a:lnTo>
                  <a:lnTo>
                    <a:pt x="78" y="29"/>
                  </a:lnTo>
                  <a:lnTo>
                    <a:pt x="88" y="39"/>
                  </a:lnTo>
                  <a:lnTo>
                    <a:pt x="78" y="49"/>
                  </a:lnTo>
                  <a:lnTo>
                    <a:pt x="78" y="68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368"/>
            <p:cNvSpPr>
              <a:spLocks/>
            </p:cNvSpPr>
            <p:nvPr/>
          </p:nvSpPr>
          <p:spPr bwMode="auto">
            <a:xfrm>
              <a:off x="2734" y="2233"/>
              <a:ext cx="612" cy="675"/>
            </a:xfrm>
            <a:custGeom>
              <a:avLst/>
              <a:gdLst>
                <a:gd name="T0" fmla="*/ 615 w 615"/>
                <a:gd name="T1" fmla="*/ 517 h 674"/>
                <a:gd name="T2" fmla="*/ 605 w 615"/>
                <a:gd name="T3" fmla="*/ 576 h 674"/>
                <a:gd name="T4" fmla="*/ 546 w 615"/>
                <a:gd name="T5" fmla="*/ 576 h 674"/>
                <a:gd name="T6" fmla="*/ 488 w 615"/>
                <a:gd name="T7" fmla="*/ 605 h 674"/>
                <a:gd name="T8" fmla="*/ 488 w 615"/>
                <a:gd name="T9" fmla="*/ 644 h 674"/>
                <a:gd name="T10" fmla="*/ 439 w 615"/>
                <a:gd name="T11" fmla="*/ 654 h 674"/>
                <a:gd name="T12" fmla="*/ 390 w 615"/>
                <a:gd name="T13" fmla="*/ 674 h 674"/>
                <a:gd name="T14" fmla="*/ 371 w 615"/>
                <a:gd name="T15" fmla="*/ 664 h 674"/>
                <a:gd name="T16" fmla="*/ 351 w 615"/>
                <a:gd name="T17" fmla="*/ 634 h 674"/>
                <a:gd name="T18" fmla="*/ 303 w 615"/>
                <a:gd name="T19" fmla="*/ 615 h 674"/>
                <a:gd name="T20" fmla="*/ 264 w 615"/>
                <a:gd name="T21" fmla="*/ 634 h 674"/>
                <a:gd name="T22" fmla="*/ 244 w 615"/>
                <a:gd name="T23" fmla="*/ 595 h 674"/>
                <a:gd name="T24" fmla="*/ 205 w 615"/>
                <a:gd name="T25" fmla="*/ 586 h 674"/>
                <a:gd name="T26" fmla="*/ 156 w 615"/>
                <a:gd name="T27" fmla="*/ 556 h 674"/>
                <a:gd name="T28" fmla="*/ 107 w 615"/>
                <a:gd name="T29" fmla="*/ 517 h 674"/>
                <a:gd name="T30" fmla="*/ 78 w 615"/>
                <a:gd name="T31" fmla="*/ 527 h 674"/>
                <a:gd name="T32" fmla="*/ 59 w 615"/>
                <a:gd name="T33" fmla="*/ 508 h 674"/>
                <a:gd name="T34" fmla="*/ 39 w 615"/>
                <a:gd name="T35" fmla="*/ 488 h 674"/>
                <a:gd name="T36" fmla="*/ 10 w 615"/>
                <a:gd name="T37" fmla="*/ 469 h 674"/>
                <a:gd name="T38" fmla="*/ 10 w 615"/>
                <a:gd name="T39" fmla="*/ 430 h 674"/>
                <a:gd name="T40" fmla="*/ 39 w 615"/>
                <a:gd name="T41" fmla="*/ 400 h 674"/>
                <a:gd name="T42" fmla="*/ 68 w 615"/>
                <a:gd name="T43" fmla="*/ 391 h 674"/>
                <a:gd name="T44" fmla="*/ 98 w 615"/>
                <a:gd name="T45" fmla="*/ 400 h 674"/>
                <a:gd name="T46" fmla="*/ 127 w 615"/>
                <a:gd name="T47" fmla="*/ 361 h 674"/>
                <a:gd name="T48" fmla="*/ 156 w 615"/>
                <a:gd name="T49" fmla="*/ 342 h 674"/>
                <a:gd name="T50" fmla="*/ 166 w 615"/>
                <a:gd name="T51" fmla="*/ 361 h 674"/>
                <a:gd name="T52" fmla="*/ 195 w 615"/>
                <a:gd name="T53" fmla="*/ 361 h 674"/>
                <a:gd name="T54" fmla="*/ 215 w 615"/>
                <a:gd name="T55" fmla="*/ 322 h 674"/>
                <a:gd name="T56" fmla="*/ 254 w 615"/>
                <a:gd name="T57" fmla="*/ 332 h 674"/>
                <a:gd name="T58" fmla="*/ 293 w 615"/>
                <a:gd name="T59" fmla="*/ 293 h 674"/>
                <a:gd name="T60" fmla="*/ 273 w 615"/>
                <a:gd name="T61" fmla="*/ 273 h 674"/>
                <a:gd name="T62" fmla="*/ 303 w 615"/>
                <a:gd name="T63" fmla="*/ 215 h 674"/>
                <a:gd name="T64" fmla="*/ 322 w 615"/>
                <a:gd name="T65" fmla="*/ 176 h 674"/>
                <a:gd name="T66" fmla="*/ 381 w 615"/>
                <a:gd name="T67" fmla="*/ 137 h 674"/>
                <a:gd name="T68" fmla="*/ 439 w 615"/>
                <a:gd name="T69" fmla="*/ 88 h 674"/>
                <a:gd name="T70" fmla="*/ 459 w 615"/>
                <a:gd name="T71" fmla="*/ 49 h 674"/>
                <a:gd name="T72" fmla="*/ 478 w 615"/>
                <a:gd name="T73" fmla="*/ 20 h 674"/>
                <a:gd name="T74" fmla="*/ 507 w 615"/>
                <a:gd name="T75" fmla="*/ 0 h 674"/>
                <a:gd name="T76" fmla="*/ 517 w 615"/>
                <a:gd name="T77" fmla="*/ 20 h 674"/>
                <a:gd name="T78" fmla="*/ 546 w 615"/>
                <a:gd name="T79" fmla="*/ 49 h 674"/>
                <a:gd name="T80" fmla="*/ 605 w 615"/>
                <a:gd name="T81" fmla="*/ 137 h 674"/>
                <a:gd name="T82" fmla="*/ 605 w 615"/>
                <a:gd name="T83" fmla="*/ 186 h 674"/>
                <a:gd name="T84" fmla="*/ 595 w 615"/>
                <a:gd name="T85" fmla="*/ 225 h 674"/>
                <a:gd name="T86" fmla="*/ 595 w 615"/>
                <a:gd name="T87" fmla="*/ 293 h 674"/>
                <a:gd name="T88" fmla="*/ 566 w 615"/>
                <a:gd name="T89" fmla="*/ 361 h 674"/>
                <a:gd name="T90" fmla="*/ 615 w 615"/>
                <a:gd name="T91" fmla="*/ 410 h 674"/>
                <a:gd name="T92" fmla="*/ 605 w 615"/>
                <a:gd name="T93" fmla="*/ 459 h 67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15"/>
                <a:gd name="T142" fmla="*/ 0 h 674"/>
                <a:gd name="T143" fmla="*/ 615 w 615"/>
                <a:gd name="T144" fmla="*/ 674 h 67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15" h="674">
                  <a:moveTo>
                    <a:pt x="615" y="498"/>
                  </a:moveTo>
                  <a:lnTo>
                    <a:pt x="615" y="517"/>
                  </a:lnTo>
                  <a:lnTo>
                    <a:pt x="605" y="547"/>
                  </a:lnTo>
                  <a:lnTo>
                    <a:pt x="605" y="576"/>
                  </a:lnTo>
                  <a:lnTo>
                    <a:pt x="566" y="586"/>
                  </a:lnTo>
                  <a:lnTo>
                    <a:pt x="546" y="576"/>
                  </a:lnTo>
                  <a:lnTo>
                    <a:pt x="498" y="576"/>
                  </a:lnTo>
                  <a:lnTo>
                    <a:pt x="488" y="605"/>
                  </a:lnTo>
                  <a:lnTo>
                    <a:pt x="488" y="625"/>
                  </a:lnTo>
                  <a:lnTo>
                    <a:pt x="488" y="644"/>
                  </a:lnTo>
                  <a:lnTo>
                    <a:pt x="449" y="644"/>
                  </a:lnTo>
                  <a:lnTo>
                    <a:pt x="439" y="654"/>
                  </a:lnTo>
                  <a:lnTo>
                    <a:pt x="400" y="664"/>
                  </a:lnTo>
                  <a:lnTo>
                    <a:pt x="390" y="674"/>
                  </a:lnTo>
                  <a:lnTo>
                    <a:pt x="381" y="674"/>
                  </a:lnTo>
                  <a:lnTo>
                    <a:pt x="371" y="664"/>
                  </a:lnTo>
                  <a:lnTo>
                    <a:pt x="371" y="644"/>
                  </a:lnTo>
                  <a:lnTo>
                    <a:pt x="351" y="634"/>
                  </a:lnTo>
                  <a:lnTo>
                    <a:pt x="322" y="625"/>
                  </a:lnTo>
                  <a:lnTo>
                    <a:pt x="303" y="615"/>
                  </a:lnTo>
                  <a:lnTo>
                    <a:pt x="283" y="625"/>
                  </a:lnTo>
                  <a:lnTo>
                    <a:pt x="264" y="634"/>
                  </a:lnTo>
                  <a:lnTo>
                    <a:pt x="254" y="615"/>
                  </a:lnTo>
                  <a:lnTo>
                    <a:pt x="244" y="595"/>
                  </a:lnTo>
                  <a:lnTo>
                    <a:pt x="225" y="576"/>
                  </a:lnTo>
                  <a:lnTo>
                    <a:pt x="205" y="586"/>
                  </a:lnTo>
                  <a:lnTo>
                    <a:pt x="195" y="586"/>
                  </a:lnTo>
                  <a:lnTo>
                    <a:pt x="156" y="556"/>
                  </a:lnTo>
                  <a:lnTo>
                    <a:pt x="127" y="537"/>
                  </a:lnTo>
                  <a:lnTo>
                    <a:pt x="107" y="517"/>
                  </a:lnTo>
                  <a:lnTo>
                    <a:pt x="88" y="527"/>
                  </a:lnTo>
                  <a:lnTo>
                    <a:pt x="78" y="527"/>
                  </a:lnTo>
                  <a:lnTo>
                    <a:pt x="78" y="517"/>
                  </a:lnTo>
                  <a:lnTo>
                    <a:pt x="59" y="508"/>
                  </a:lnTo>
                  <a:lnTo>
                    <a:pt x="39" y="498"/>
                  </a:lnTo>
                  <a:lnTo>
                    <a:pt x="39" y="488"/>
                  </a:lnTo>
                  <a:lnTo>
                    <a:pt x="20" y="469"/>
                  </a:lnTo>
                  <a:lnTo>
                    <a:pt x="10" y="469"/>
                  </a:lnTo>
                  <a:lnTo>
                    <a:pt x="0" y="449"/>
                  </a:lnTo>
                  <a:lnTo>
                    <a:pt x="10" y="430"/>
                  </a:lnTo>
                  <a:lnTo>
                    <a:pt x="29" y="420"/>
                  </a:lnTo>
                  <a:lnTo>
                    <a:pt x="39" y="400"/>
                  </a:lnTo>
                  <a:lnTo>
                    <a:pt x="49" y="391"/>
                  </a:lnTo>
                  <a:lnTo>
                    <a:pt x="68" y="391"/>
                  </a:lnTo>
                  <a:lnTo>
                    <a:pt x="68" y="400"/>
                  </a:lnTo>
                  <a:lnTo>
                    <a:pt x="98" y="400"/>
                  </a:lnTo>
                  <a:lnTo>
                    <a:pt x="107" y="391"/>
                  </a:lnTo>
                  <a:lnTo>
                    <a:pt x="127" y="361"/>
                  </a:lnTo>
                  <a:lnTo>
                    <a:pt x="146" y="352"/>
                  </a:lnTo>
                  <a:lnTo>
                    <a:pt x="156" y="342"/>
                  </a:lnTo>
                  <a:lnTo>
                    <a:pt x="166" y="352"/>
                  </a:lnTo>
                  <a:lnTo>
                    <a:pt x="166" y="361"/>
                  </a:lnTo>
                  <a:lnTo>
                    <a:pt x="186" y="371"/>
                  </a:lnTo>
                  <a:lnTo>
                    <a:pt x="195" y="361"/>
                  </a:lnTo>
                  <a:lnTo>
                    <a:pt x="205" y="342"/>
                  </a:lnTo>
                  <a:lnTo>
                    <a:pt x="215" y="322"/>
                  </a:lnTo>
                  <a:lnTo>
                    <a:pt x="244" y="322"/>
                  </a:lnTo>
                  <a:lnTo>
                    <a:pt x="254" y="332"/>
                  </a:lnTo>
                  <a:lnTo>
                    <a:pt x="273" y="313"/>
                  </a:lnTo>
                  <a:lnTo>
                    <a:pt x="293" y="293"/>
                  </a:lnTo>
                  <a:lnTo>
                    <a:pt x="283" y="293"/>
                  </a:lnTo>
                  <a:lnTo>
                    <a:pt x="273" y="273"/>
                  </a:lnTo>
                  <a:lnTo>
                    <a:pt x="303" y="234"/>
                  </a:lnTo>
                  <a:lnTo>
                    <a:pt x="303" y="215"/>
                  </a:lnTo>
                  <a:lnTo>
                    <a:pt x="303" y="195"/>
                  </a:lnTo>
                  <a:lnTo>
                    <a:pt x="322" y="176"/>
                  </a:lnTo>
                  <a:lnTo>
                    <a:pt x="351" y="156"/>
                  </a:lnTo>
                  <a:lnTo>
                    <a:pt x="381" y="137"/>
                  </a:lnTo>
                  <a:lnTo>
                    <a:pt x="420" y="127"/>
                  </a:lnTo>
                  <a:lnTo>
                    <a:pt x="439" y="88"/>
                  </a:lnTo>
                  <a:lnTo>
                    <a:pt x="449" y="59"/>
                  </a:lnTo>
                  <a:lnTo>
                    <a:pt x="459" y="49"/>
                  </a:lnTo>
                  <a:lnTo>
                    <a:pt x="478" y="30"/>
                  </a:lnTo>
                  <a:lnTo>
                    <a:pt x="478" y="20"/>
                  </a:lnTo>
                  <a:lnTo>
                    <a:pt x="507" y="0"/>
                  </a:lnTo>
                  <a:lnTo>
                    <a:pt x="517" y="0"/>
                  </a:lnTo>
                  <a:lnTo>
                    <a:pt x="517" y="20"/>
                  </a:lnTo>
                  <a:lnTo>
                    <a:pt x="517" y="39"/>
                  </a:lnTo>
                  <a:lnTo>
                    <a:pt x="546" y="49"/>
                  </a:lnTo>
                  <a:lnTo>
                    <a:pt x="585" y="88"/>
                  </a:lnTo>
                  <a:lnTo>
                    <a:pt x="605" y="137"/>
                  </a:lnTo>
                  <a:lnTo>
                    <a:pt x="605" y="156"/>
                  </a:lnTo>
                  <a:lnTo>
                    <a:pt x="605" y="186"/>
                  </a:lnTo>
                  <a:lnTo>
                    <a:pt x="595" y="215"/>
                  </a:lnTo>
                  <a:lnTo>
                    <a:pt x="595" y="225"/>
                  </a:lnTo>
                  <a:lnTo>
                    <a:pt x="585" y="264"/>
                  </a:lnTo>
                  <a:lnTo>
                    <a:pt x="595" y="293"/>
                  </a:lnTo>
                  <a:lnTo>
                    <a:pt x="576" y="332"/>
                  </a:lnTo>
                  <a:lnTo>
                    <a:pt x="566" y="361"/>
                  </a:lnTo>
                  <a:lnTo>
                    <a:pt x="585" y="391"/>
                  </a:lnTo>
                  <a:lnTo>
                    <a:pt x="615" y="410"/>
                  </a:lnTo>
                  <a:lnTo>
                    <a:pt x="615" y="420"/>
                  </a:lnTo>
                  <a:lnTo>
                    <a:pt x="605" y="459"/>
                  </a:lnTo>
                  <a:lnTo>
                    <a:pt x="615" y="498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367"/>
            <p:cNvSpPr>
              <a:spLocks/>
            </p:cNvSpPr>
            <p:nvPr/>
          </p:nvSpPr>
          <p:spPr bwMode="auto">
            <a:xfrm>
              <a:off x="2596" y="2167"/>
              <a:ext cx="612" cy="517"/>
            </a:xfrm>
            <a:custGeom>
              <a:avLst/>
              <a:gdLst>
                <a:gd name="T0" fmla="*/ 0 w 614"/>
                <a:gd name="T1" fmla="*/ 361 h 517"/>
                <a:gd name="T2" fmla="*/ 19 w 614"/>
                <a:gd name="T3" fmla="*/ 351 h 517"/>
                <a:gd name="T4" fmla="*/ 58 w 614"/>
                <a:gd name="T5" fmla="*/ 332 h 517"/>
                <a:gd name="T6" fmla="*/ 58 w 614"/>
                <a:gd name="T7" fmla="*/ 293 h 517"/>
                <a:gd name="T8" fmla="*/ 117 w 614"/>
                <a:gd name="T9" fmla="*/ 224 h 517"/>
                <a:gd name="T10" fmla="*/ 136 w 614"/>
                <a:gd name="T11" fmla="*/ 185 h 517"/>
                <a:gd name="T12" fmla="*/ 156 w 614"/>
                <a:gd name="T13" fmla="*/ 195 h 517"/>
                <a:gd name="T14" fmla="*/ 195 w 614"/>
                <a:gd name="T15" fmla="*/ 205 h 517"/>
                <a:gd name="T16" fmla="*/ 204 w 614"/>
                <a:gd name="T17" fmla="*/ 195 h 517"/>
                <a:gd name="T18" fmla="*/ 253 w 614"/>
                <a:gd name="T19" fmla="*/ 215 h 517"/>
                <a:gd name="T20" fmla="*/ 282 w 614"/>
                <a:gd name="T21" fmla="*/ 224 h 517"/>
                <a:gd name="T22" fmla="*/ 302 w 614"/>
                <a:gd name="T23" fmla="*/ 205 h 517"/>
                <a:gd name="T24" fmla="*/ 273 w 614"/>
                <a:gd name="T25" fmla="*/ 185 h 517"/>
                <a:gd name="T26" fmla="*/ 282 w 614"/>
                <a:gd name="T27" fmla="*/ 156 h 517"/>
                <a:gd name="T28" fmla="*/ 292 w 614"/>
                <a:gd name="T29" fmla="*/ 146 h 517"/>
                <a:gd name="T30" fmla="*/ 302 w 614"/>
                <a:gd name="T31" fmla="*/ 137 h 517"/>
                <a:gd name="T32" fmla="*/ 312 w 614"/>
                <a:gd name="T33" fmla="*/ 107 h 517"/>
                <a:gd name="T34" fmla="*/ 322 w 614"/>
                <a:gd name="T35" fmla="*/ 107 h 517"/>
                <a:gd name="T36" fmla="*/ 341 w 614"/>
                <a:gd name="T37" fmla="*/ 88 h 517"/>
                <a:gd name="T38" fmla="*/ 341 w 614"/>
                <a:gd name="T39" fmla="*/ 68 h 517"/>
                <a:gd name="T40" fmla="*/ 341 w 614"/>
                <a:gd name="T41" fmla="*/ 49 h 517"/>
                <a:gd name="T42" fmla="*/ 361 w 614"/>
                <a:gd name="T43" fmla="*/ 29 h 517"/>
                <a:gd name="T44" fmla="*/ 400 w 614"/>
                <a:gd name="T45" fmla="*/ 0 h 517"/>
                <a:gd name="T46" fmla="*/ 429 w 614"/>
                <a:gd name="T47" fmla="*/ 10 h 517"/>
                <a:gd name="T48" fmla="*/ 468 w 614"/>
                <a:gd name="T49" fmla="*/ 29 h 517"/>
                <a:gd name="T50" fmla="*/ 497 w 614"/>
                <a:gd name="T51" fmla="*/ 29 h 517"/>
                <a:gd name="T52" fmla="*/ 575 w 614"/>
                <a:gd name="T53" fmla="*/ 68 h 517"/>
                <a:gd name="T54" fmla="*/ 614 w 614"/>
                <a:gd name="T55" fmla="*/ 98 h 517"/>
                <a:gd name="T56" fmla="*/ 595 w 614"/>
                <a:gd name="T57" fmla="*/ 137 h 517"/>
                <a:gd name="T58" fmla="*/ 556 w 614"/>
                <a:gd name="T59" fmla="*/ 195 h 517"/>
                <a:gd name="T60" fmla="*/ 487 w 614"/>
                <a:gd name="T61" fmla="*/ 234 h 517"/>
                <a:gd name="T62" fmla="*/ 439 w 614"/>
                <a:gd name="T63" fmla="*/ 263 h 517"/>
                <a:gd name="T64" fmla="*/ 439 w 614"/>
                <a:gd name="T65" fmla="*/ 302 h 517"/>
                <a:gd name="T66" fmla="*/ 419 w 614"/>
                <a:gd name="T67" fmla="*/ 361 h 517"/>
                <a:gd name="T68" fmla="*/ 409 w 614"/>
                <a:gd name="T69" fmla="*/ 381 h 517"/>
                <a:gd name="T70" fmla="*/ 380 w 614"/>
                <a:gd name="T71" fmla="*/ 390 h 517"/>
                <a:gd name="T72" fmla="*/ 341 w 614"/>
                <a:gd name="T73" fmla="*/ 410 h 517"/>
                <a:gd name="T74" fmla="*/ 322 w 614"/>
                <a:gd name="T75" fmla="*/ 439 h 517"/>
                <a:gd name="T76" fmla="*/ 302 w 614"/>
                <a:gd name="T77" fmla="*/ 420 h 517"/>
                <a:gd name="T78" fmla="*/ 282 w 614"/>
                <a:gd name="T79" fmla="*/ 420 h 517"/>
                <a:gd name="T80" fmla="*/ 243 w 614"/>
                <a:gd name="T81" fmla="*/ 459 h 517"/>
                <a:gd name="T82" fmla="*/ 204 w 614"/>
                <a:gd name="T83" fmla="*/ 468 h 517"/>
                <a:gd name="T84" fmla="*/ 185 w 614"/>
                <a:gd name="T85" fmla="*/ 459 h 517"/>
                <a:gd name="T86" fmla="*/ 165 w 614"/>
                <a:gd name="T87" fmla="*/ 488 h 517"/>
                <a:gd name="T88" fmla="*/ 146 w 614"/>
                <a:gd name="T89" fmla="*/ 517 h 517"/>
                <a:gd name="T90" fmla="*/ 107 w 614"/>
                <a:gd name="T91" fmla="*/ 478 h 517"/>
                <a:gd name="T92" fmla="*/ 87 w 614"/>
                <a:gd name="T93" fmla="*/ 459 h 517"/>
                <a:gd name="T94" fmla="*/ 97 w 614"/>
                <a:gd name="T95" fmla="*/ 449 h 517"/>
                <a:gd name="T96" fmla="*/ 58 w 614"/>
                <a:gd name="T97" fmla="*/ 439 h 517"/>
                <a:gd name="T98" fmla="*/ 19 w 614"/>
                <a:gd name="T99" fmla="*/ 420 h 5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14"/>
                <a:gd name="T151" fmla="*/ 0 h 517"/>
                <a:gd name="T152" fmla="*/ 614 w 614"/>
                <a:gd name="T153" fmla="*/ 517 h 51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14" h="517">
                  <a:moveTo>
                    <a:pt x="0" y="390"/>
                  </a:moveTo>
                  <a:lnTo>
                    <a:pt x="0" y="361"/>
                  </a:lnTo>
                  <a:lnTo>
                    <a:pt x="9" y="341"/>
                  </a:lnTo>
                  <a:lnTo>
                    <a:pt x="19" y="351"/>
                  </a:lnTo>
                  <a:lnTo>
                    <a:pt x="29" y="341"/>
                  </a:lnTo>
                  <a:lnTo>
                    <a:pt x="58" y="332"/>
                  </a:lnTo>
                  <a:lnTo>
                    <a:pt x="39" y="312"/>
                  </a:lnTo>
                  <a:lnTo>
                    <a:pt x="58" y="293"/>
                  </a:lnTo>
                  <a:lnTo>
                    <a:pt x="97" y="254"/>
                  </a:lnTo>
                  <a:lnTo>
                    <a:pt x="117" y="224"/>
                  </a:lnTo>
                  <a:lnTo>
                    <a:pt x="126" y="205"/>
                  </a:lnTo>
                  <a:lnTo>
                    <a:pt x="136" y="185"/>
                  </a:lnTo>
                  <a:lnTo>
                    <a:pt x="146" y="176"/>
                  </a:lnTo>
                  <a:lnTo>
                    <a:pt x="156" y="195"/>
                  </a:lnTo>
                  <a:lnTo>
                    <a:pt x="175" y="215"/>
                  </a:lnTo>
                  <a:lnTo>
                    <a:pt x="195" y="205"/>
                  </a:lnTo>
                  <a:lnTo>
                    <a:pt x="204" y="195"/>
                  </a:lnTo>
                  <a:lnTo>
                    <a:pt x="234" y="215"/>
                  </a:lnTo>
                  <a:lnTo>
                    <a:pt x="253" y="215"/>
                  </a:lnTo>
                  <a:lnTo>
                    <a:pt x="273" y="224"/>
                  </a:lnTo>
                  <a:lnTo>
                    <a:pt x="282" y="224"/>
                  </a:lnTo>
                  <a:lnTo>
                    <a:pt x="292" y="215"/>
                  </a:lnTo>
                  <a:lnTo>
                    <a:pt x="302" y="205"/>
                  </a:lnTo>
                  <a:lnTo>
                    <a:pt x="292" y="195"/>
                  </a:lnTo>
                  <a:lnTo>
                    <a:pt x="273" y="185"/>
                  </a:lnTo>
                  <a:lnTo>
                    <a:pt x="273" y="176"/>
                  </a:lnTo>
                  <a:lnTo>
                    <a:pt x="282" y="156"/>
                  </a:lnTo>
                  <a:lnTo>
                    <a:pt x="282" y="146"/>
                  </a:lnTo>
                  <a:lnTo>
                    <a:pt x="292" y="146"/>
                  </a:lnTo>
                  <a:lnTo>
                    <a:pt x="302" y="137"/>
                  </a:lnTo>
                  <a:lnTo>
                    <a:pt x="302" y="127"/>
                  </a:lnTo>
                  <a:lnTo>
                    <a:pt x="312" y="107"/>
                  </a:lnTo>
                  <a:lnTo>
                    <a:pt x="322" y="107"/>
                  </a:lnTo>
                  <a:lnTo>
                    <a:pt x="341" y="107"/>
                  </a:lnTo>
                  <a:lnTo>
                    <a:pt x="341" y="88"/>
                  </a:lnTo>
                  <a:lnTo>
                    <a:pt x="331" y="78"/>
                  </a:lnTo>
                  <a:lnTo>
                    <a:pt x="341" y="68"/>
                  </a:lnTo>
                  <a:lnTo>
                    <a:pt x="341" y="59"/>
                  </a:lnTo>
                  <a:lnTo>
                    <a:pt x="341" y="49"/>
                  </a:lnTo>
                  <a:lnTo>
                    <a:pt x="351" y="39"/>
                  </a:lnTo>
                  <a:lnTo>
                    <a:pt x="361" y="29"/>
                  </a:lnTo>
                  <a:lnTo>
                    <a:pt x="361" y="10"/>
                  </a:lnTo>
                  <a:lnTo>
                    <a:pt x="400" y="0"/>
                  </a:lnTo>
                  <a:lnTo>
                    <a:pt x="409" y="20"/>
                  </a:lnTo>
                  <a:lnTo>
                    <a:pt x="429" y="10"/>
                  </a:lnTo>
                  <a:lnTo>
                    <a:pt x="439" y="29"/>
                  </a:lnTo>
                  <a:lnTo>
                    <a:pt x="468" y="29"/>
                  </a:lnTo>
                  <a:lnTo>
                    <a:pt x="487" y="20"/>
                  </a:lnTo>
                  <a:lnTo>
                    <a:pt x="497" y="29"/>
                  </a:lnTo>
                  <a:lnTo>
                    <a:pt x="536" y="49"/>
                  </a:lnTo>
                  <a:lnTo>
                    <a:pt x="575" y="68"/>
                  </a:lnTo>
                  <a:lnTo>
                    <a:pt x="614" y="88"/>
                  </a:lnTo>
                  <a:lnTo>
                    <a:pt x="614" y="98"/>
                  </a:lnTo>
                  <a:lnTo>
                    <a:pt x="604" y="117"/>
                  </a:lnTo>
                  <a:lnTo>
                    <a:pt x="595" y="137"/>
                  </a:lnTo>
                  <a:lnTo>
                    <a:pt x="575" y="156"/>
                  </a:lnTo>
                  <a:lnTo>
                    <a:pt x="556" y="195"/>
                  </a:lnTo>
                  <a:lnTo>
                    <a:pt x="517" y="205"/>
                  </a:lnTo>
                  <a:lnTo>
                    <a:pt x="487" y="234"/>
                  </a:lnTo>
                  <a:lnTo>
                    <a:pt x="458" y="244"/>
                  </a:lnTo>
                  <a:lnTo>
                    <a:pt x="439" y="263"/>
                  </a:lnTo>
                  <a:lnTo>
                    <a:pt x="439" y="283"/>
                  </a:lnTo>
                  <a:lnTo>
                    <a:pt x="439" y="302"/>
                  </a:lnTo>
                  <a:lnTo>
                    <a:pt x="409" y="341"/>
                  </a:lnTo>
                  <a:lnTo>
                    <a:pt x="419" y="361"/>
                  </a:lnTo>
                  <a:lnTo>
                    <a:pt x="429" y="371"/>
                  </a:lnTo>
                  <a:lnTo>
                    <a:pt x="409" y="381"/>
                  </a:lnTo>
                  <a:lnTo>
                    <a:pt x="390" y="400"/>
                  </a:lnTo>
                  <a:lnTo>
                    <a:pt x="380" y="390"/>
                  </a:lnTo>
                  <a:lnTo>
                    <a:pt x="351" y="390"/>
                  </a:lnTo>
                  <a:lnTo>
                    <a:pt x="341" y="410"/>
                  </a:lnTo>
                  <a:lnTo>
                    <a:pt x="341" y="429"/>
                  </a:lnTo>
                  <a:lnTo>
                    <a:pt x="322" y="439"/>
                  </a:lnTo>
                  <a:lnTo>
                    <a:pt x="302" y="429"/>
                  </a:lnTo>
                  <a:lnTo>
                    <a:pt x="302" y="420"/>
                  </a:lnTo>
                  <a:lnTo>
                    <a:pt x="302" y="410"/>
                  </a:lnTo>
                  <a:lnTo>
                    <a:pt x="282" y="420"/>
                  </a:lnTo>
                  <a:lnTo>
                    <a:pt x="263" y="429"/>
                  </a:lnTo>
                  <a:lnTo>
                    <a:pt x="243" y="459"/>
                  </a:lnTo>
                  <a:lnTo>
                    <a:pt x="243" y="468"/>
                  </a:lnTo>
                  <a:lnTo>
                    <a:pt x="204" y="468"/>
                  </a:lnTo>
                  <a:lnTo>
                    <a:pt x="204" y="459"/>
                  </a:lnTo>
                  <a:lnTo>
                    <a:pt x="185" y="459"/>
                  </a:lnTo>
                  <a:lnTo>
                    <a:pt x="175" y="468"/>
                  </a:lnTo>
                  <a:lnTo>
                    <a:pt x="165" y="488"/>
                  </a:lnTo>
                  <a:lnTo>
                    <a:pt x="146" y="498"/>
                  </a:lnTo>
                  <a:lnTo>
                    <a:pt x="146" y="517"/>
                  </a:lnTo>
                  <a:lnTo>
                    <a:pt x="117" y="517"/>
                  </a:lnTo>
                  <a:lnTo>
                    <a:pt x="107" y="478"/>
                  </a:lnTo>
                  <a:lnTo>
                    <a:pt x="87" y="468"/>
                  </a:lnTo>
                  <a:lnTo>
                    <a:pt x="87" y="459"/>
                  </a:lnTo>
                  <a:lnTo>
                    <a:pt x="87" y="449"/>
                  </a:lnTo>
                  <a:lnTo>
                    <a:pt x="97" y="449"/>
                  </a:lnTo>
                  <a:lnTo>
                    <a:pt x="87" y="439"/>
                  </a:lnTo>
                  <a:lnTo>
                    <a:pt x="58" y="439"/>
                  </a:lnTo>
                  <a:lnTo>
                    <a:pt x="39" y="429"/>
                  </a:lnTo>
                  <a:lnTo>
                    <a:pt x="19" y="420"/>
                  </a:lnTo>
                  <a:lnTo>
                    <a:pt x="0" y="39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366"/>
            <p:cNvSpPr>
              <a:spLocks/>
            </p:cNvSpPr>
            <p:nvPr/>
          </p:nvSpPr>
          <p:spPr bwMode="auto">
            <a:xfrm>
              <a:off x="2030" y="790"/>
              <a:ext cx="663" cy="675"/>
            </a:xfrm>
            <a:custGeom>
              <a:avLst/>
              <a:gdLst>
                <a:gd name="T0" fmla="*/ 488 w 663"/>
                <a:gd name="T1" fmla="*/ 469 h 674"/>
                <a:gd name="T2" fmla="*/ 449 w 663"/>
                <a:gd name="T3" fmla="*/ 449 h 674"/>
                <a:gd name="T4" fmla="*/ 439 w 663"/>
                <a:gd name="T5" fmla="*/ 478 h 674"/>
                <a:gd name="T6" fmla="*/ 410 w 663"/>
                <a:gd name="T7" fmla="*/ 508 h 674"/>
                <a:gd name="T8" fmla="*/ 400 w 663"/>
                <a:gd name="T9" fmla="*/ 547 h 674"/>
                <a:gd name="T10" fmla="*/ 419 w 663"/>
                <a:gd name="T11" fmla="*/ 576 h 674"/>
                <a:gd name="T12" fmla="*/ 361 w 663"/>
                <a:gd name="T13" fmla="*/ 634 h 674"/>
                <a:gd name="T14" fmla="*/ 351 w 663"/>
                <a:gd name="T15" fmla="*/ 654 h 674"/>
                <a:gd name="T16" fmla="*/ 302 w 663"/>
                <a:gd name="T17" fmla="*/ 674 h 674"/>
                <a:gd name="T18" fmla="*/ 283 w 663"/>
                <a:gd name="T19" fmla="*/ 654 h 674"/>
                <a:gd name="T20" fmla="*/ 283 w 663"/>
                <a:gd name="T21" fmla="*/ 634 h 674"/>
                <a:gd name="T22" fmla="*/ 263 w 663"/>
                <a:gd name="T23" fmla="*/ 615 h 674"/>
                <a:gd name="T24" fmla="*/ 195 w 663"/>
                <a:gd name="T25" fmla="*/ 605 h 674"/>
                <a:gd name="T26" fmla="*/ 195 w 663"/>
                <a:gd name="T27" fmla="*/ 576 h 674"/>
                <a:gd name="T28" fmla="*/ 156 w 663"/>
                <a:gd name="T29" fmla="*/ 537 h 674"/>
                <a:gd name="T30" fmla="*/ 136 w 663"/>
                <a:gd name="T31" fmla="*/ 498 h 674"/>
                <a:gd name="T32" fmla="*/ 127 w 663"/>
                <a:gd name="T33" fmla="*/ 527 h 674"/>
                <a:gd name="T34" fmla="*/ 68 w 663"/>
                <a:gd name="T35" fmla="*/ 517 h 674"/>
                <a:gd name="T36" fmla="*/ 19 w 663"/>
                <a:gd name="T37" fmla="*/ 371 h 674"/>
                <a:gd name="T38" fmla="*/ 19 w 663"/>
                <a:gd name="T39" fmla="*/ 332 h 674"/>
                <a:gd name="T40" fmla="*/ 19 w 663"/>
                <a:gd name="T41" fmla="*/ 303 h 674"/>
                <a:gd name="T42" fmla="*/ 117 w 663"/>
                <a:gd name="T43" fmla="*/ 322 h 674"/>
                <a:gd name="T44" fmla="*/ 214 w 663"/>
                <a:gd name="T45" fmla="*/ 332 h 674"/>
                <a:gd name="T46" fmla="*/ 253 w 663"/>
                <a:gd name="T47" fmla="*/ 322 h 674"/>
                <a:gd name="T48" fmla="*/ 283 w 663"/>
                <a:gd name="T49" fmla="*/ 254 h 674"/>
                <a:gd name="T50" fmla="*/ 283 w 663"/>
                <a:gd name="T51" fmla="*/ 215 h 674"/>
                <a:gd name="T52" fmla="*/ 312 w 663"/>
                <a:gd name="T53" fmla="*/ 205 h 674"/>
                <a:gd name="T54" fmla="*/ 351 w 663"/>
                <a:gd name="T55" fmla="*/ 195 h 674"/>
                <a:gd name="T56" fmla="*/ 361 w 663"/>
                <a:gd name="T57" fmla="*/ 166 h 674"/>
                <a:gd name="T58" fmla="*/ 400 w 663"/>
                <a:gd name="T59" fmla="*/ 137 h 674"/>
                <a:gd name="T60" fmla="*/ 419 w 663"/>
                <a:gd name="T61" fmla="*/ 127 h 674"/>
                <a:gd name="T62" fmla="*/ 449 w 663"/>
                <a:gd name="T63" fmla="*/ 98 h 674"/>
                <a:gd name="T64" fmla="*/ 478 w 663"/>
                <a:gd name="T65" fmla="*/ 88 h 674"/>
                <a:gd name="T66" fmla="*/ 517 w 663"/>
                <a:gd name="T67" fmla="*/ 78 h 674"/>
                <a:gd name="T68" fmla="*/ 556 w 663"/>
                <a:gd name="T69" fmla="*/ 39 h 674"/>
                <a:gd name="T70" fmla="*/ 566 w 663"/>
                <a:gd name="T71" fmla="*/ 10 h 674"/>
                <a:gd name="T72" fmla="*/ 624 w 663"/>
                <a:gd name="T73" fmla="*/ 88 h 674"/>
                <a:gd name="T74" fmla="*/ 605 w 663"/>
                <a:gd name="T75" fmla="*/ 127 h 674"/>
                <a:gd name="T76" fmla="*/ 653 w 663"/>
                <a:gd name="T77" fmla="*/ 137 h 674"/>
                <a:gd name="T78" fmla="*/ 663 w 663"/>
                <a:gd name="T79" fmla="*/ 176 h 674"/>
                <a:gd name="T80" fmla="*/ 653 w 663"/>
                <a:gd name="T81" fmla="*/ 166 h 674"/>
                <a:gd name="T82" fmla="*/ 653 w 663"/>
                <a:gd name="T83" fmla="*/ 186 h 674"/>
                <a:gd name="T84" fmla="*/ 644 w 663"/>
                <a:gd name="T85" fmla="*/ 195 h 674"/>
                <a:gd name="T86" fmla="*/ 653 w 663"/>
                <a:gd name="T87" fmla="*/ 254 h 674"/>
                <a:gd name="T88" fmla="*/ 644 w 663"/>
                <a:gd name="T89" fmla="*/ 273 h 674"/>
                <a:gd name="T90" fmla="*/ 614 w 663"/>
                <a:gd name="T91" fmla="*/ 273 h 674"/>
                <a:gd name="T92" fmla="*/ 595 w 663"/>
                <a:gd name="T93" fmla="*/ 293 h 674"/>
                <a:gd name="T94" fmla="*/ 566 w 663"/>
                <a:gd name="T95" fmla="*/ 293 h 674"/>
                <a:gd name="T96" fmla="*/ 556 w 663"/>
                <a:gd name="T97" fmla="*/ 322 h 674"/>
                <a:gd name="T98" fmla="*/ 517 w 663"/>
                <a:gd name="T99" fmla="*/ 342 h 674"/>
                <a:gd name="T100" fmla="*/ 507 w 663"/>
                <a:gd name="T101" fmla="*/ 352 h 674"/>
                <a:gd name="T102" fmla="*/ 507 w 663"/>
                <a:gd name="T103" fmla="*/ 371 h 674"/>
                <a:gd name="T104" fmla="*/ 497 w 663"/>
                <a:gd name="T105" fmla="*/ 391 h 674"/>
                <a:gd name="T106" fmla="*/ 517 w 663"/>
                <a:gd name="T107" fmla="*/ 400 h 674"/>
                <a:gd name="T108" fmla="*/ 507 w 663"/>
                <a:gd name="T109" fmla="*/ 439 h 674"/>
                <a:gd name="T110" fmla="*/ 497 w 663"/>
                <a:gd name="T111" fmla="*/ 469 h 6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63"/>
                <a:gd name="T169" fmla="*/ 0 h 674"/>
                <a:gd name="T170" fmla="*/ 663 w 663"/>
                <a:gd name="T171" fmla="*/ 674 h 6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63" h="674">
                  <a:moveTo>
                    <a:pt x="497" y="469"/>
                  </a:moveTo>
                  <a:lnTo>
                    <a:pt x="488" y="469"/>
                  </a:lnTo>
                  <a:lnTo>
                    <a:pt x="458" y="478"/>
                  </a:lnTo>
                  <a:lnTo>
                    <a:pt x="449" y="449"/>
                  </a:lnTo>
                  <a:lnTo>
                    <a:pt x="429" y="469"/>
                  </a:lnTo>
                  <a:lnTo>
                    <a:pt x="439" y="478"/>
                  </a:lnTo>
                  <a:lnTo>
                    <a:pt x="419" y="498"/>
                  </a:lnTo>
                  <a:lnTo>
                    <a:pt x="410" y="508"/>
                  </a:lnTo>
                  <a:lnTo>
                    <a:pt x="400" y="527"/>
                  </a:lnTo>
                  <a:lnTo>
                    <a:pt x="400" y="547"/>
                  </a:lnTo>
                  <a:lnTo>
                    <a:pt x="410" y="566"/>
                  </a:lnTo>
                  <a:lnTo>
                    <a:pt x="419" y="576"/>
                  </a:lnTo>
                  <a:lnTo>
                    <a:pt x="419" y="595"/>
                  </a:lnTo>
                  <a:lnTo>
                    <a:pt x="361" y="634"/>
                  </a:lnTo>
                  <a:lnTo>
                    <a:pt x="351" y="634"/>
                  </a:lnTo>
                  <a:lnTo>
                    <a:pt x="351" y="654"/>
                  </a:lnTo>
                  <a:lnTo>
                    <a:pt x="312" y="664"/>
                  </a:lnTo>
                  <a:lnTo>
                    <a:pt x="302" y="674"/>
                  </a:lnTo>
                  <a:lnTo>
                    <a:pt x="292" y="664"/>
                  </a:lnTo>
                  <a:lnTo>
                    <a:pt x="283" y="654"/>
                  </a:lnTo>
                  <a:lnTo>
                    <a:pt x="283" y="644"/>
                  </a:lnTo>
                  <a:lnTo>
                    <a:pt x="283" y="634"/>
                  </a:lnTo>
                  <a:lnTo>
                    <a:pt x="263" y="634"/>
                  </a:lnTo>
                  <a:lnTo>
                    <a:pt x="263" y="615"/>
                  </a:lnTo>
                  <a:lnTo>
                    <a:pt x="253" y="615"/>
                  </a:lnTo>
                  <a:lnTo>
                    <a:pt x="195" y="605"/>
                  </a:lnTo>
                  <a:lnTo>
                    <a:pt x="185" y="595"/>
                  </a:lnTo>
                  <a:lnTo>
                    <a:pt x="195" y="576"/>
                  </a:lnTo>
                  <a:lnTo>
                    <a:pt x="185" y="566"/>
                  </a:lnTo>
                  <a:lnTo>
                    <a:pt x="156" y="537"/>
                  </a:lnTo>
                  <a:lnTo>
                    <a:pt x="156" y="527"/>
                  </a:lnTo>
                  <a:lnTo>
                    <a:pt x="136" y="498"/>
                  </a:lnTo>
                  <a:lnTo>
                    <a:pt x="117" y="498"/>
                  </a:lnTo>
                  <a:lnTo>
                    <a:pt x="127" y="527"/>
                  </a:lnTo>
                  <a:lnTo>
                    <a:pt x="107" y="527"/>
                  </a:lnTo>
                  <a:lnTo>
                    <a:pt x="68" y="517"/>
                  </a:lnTo>
                  <a:lnTo>
                    <a:pt x="0" y="391"/>
                  </a:lnTo>
                  <a:lnTo>
                    <a:pt x="19" y="371"/>
                  </a:lnTo>
                  <a:lnTo>
                    <a:pt x="19" y="352"/>
                  </a:lnTo>
                  <a:lnTo>
                    <a:pt x="19" y="332"/>
                  </a:lnTo>
                  <a:lnTo>
                    <a:pt x="10" y="322"/>
                  </a:lnTo>
                  <a:lnTo>
                    <a:pt x="19" y="303"/>
                  </a:lnTo>
                  <a:lnTo>
                    <a:pt x="78" y="322"/>
                  </a:lnTo>
                  <a:lnTo>
                    <a:pt x="117" y="322"/>
                  </a:lnTo>
                  <a:lnTo>
                    <a:pt x="166" y="322"/>
                  </a:lnTo>
                  <a:lnTo>
                    <a:pt x="214" y="332"/>
                  </a:lnTo>
                  <a:lnTo>
                    <a:pt x="244" y="322"/>
                  </a:lnTo>
                  <a:lnTo>
                    <a:pt x="253" y="322"/>
                  </a:lnTo>
                  <a:lnTo>
                    <a:pt x="263" y="293"/>
                  </a:lnTo>
                  <a:lnTo>
                    <a:pt x="283" y="254"/>
                  </a:lnTo>
                  <a:lnTo>
                    <a:pt x="283" y="225"/>
                  </a:lnTo>
                  <a:lnTo>
                    <a:pt x="283" y="215"/>
                  </a:lnTo>
                  <a:lnTo>
                    <a:pt x="292" y="205"/>
                  </a:lnTo>
                  <a:lnTo>
                    <a:pt x="312" y="205"/>
                  </a:lnTo>
                  <a:lnTo>
                    <a:pt x="341" y="205"/>
                  </a:lnTo>
                  <a:lnTo>
                    <a:pt x="351" y="195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400" y="147"/>
                  </a:lnTo>
                  <a:lnTo>
                    <a:pt x="400" y="137"/>
                  </a:lnTo>
                  <a:lnTo>
                    <a:pt x="410" y="127"/>
                  </a:lnTo>
                  <a:lnTo>
                    <a:pt x="419" y="127"/>
                  </a:lnTo>
                  <a:lnTo>
                    <a:pt x="439" y="108"/>
                  </a:lnTo>
                  <a:lnTo>
                    <a:pt x="449" y="98"/>
                  </a:lnTo>
                  <a:lnTo>
                    <a:pt x="468" y="88"/>
                  </a:lnTo>
                  <a:lnTo>
                    <a:pt x="478" y="88"/>
                  </a:lnTo>
                  <a:lnTo>
                    <a:pt x="497" y="88"/>
                  </a:lnTo>
                  <a:lnTo>
                    <a:pt x="517" y="78"/>
                  </a:lnTo>
                  <a:lnTo>
                    <a:pt x="536" y="59"/>
                  </a:lnTo>
                  <a:lnTo>
                    <a:pt x="556" y="39"/>
                  </a:lnTo>
                  <a:lnTo>
                    <a:pt x="566" y="20"/>
                  </a:lnTo>
                  <a:lnTo>
                    <a:pt x="566" y="10"/>
                  </a:lnTo>
                  <a:lnTo>
                    <a:pt x="575" y="0"/>
                  </a:lnTo>
                  <a:lnTo>
                    <a:pt x="624" y="88"/>
                  </a:lnTo>
                  <a:lnTo>
                    <a:pt x="614" y="108"/>
                  </a:lnTo>
                  <a:lnTo>
                    <a:pt x="605" y="127"/>
                  </a:lnTo>
                  <a:lnTo>
                    <a:pt x="614" y="137"/>
                  </a:lnTo>
                  <a:lnTo>
                    <a:pt x="653" y="137"/>
                  </a:lnTo>
                  <a:lnTo>
                    <a:pt x="663" y="156"/>
                  </a:lnTo>
                  <a:lnTo>
                    <a:pt x="663" y="176"/>
                  </a:lnTo>
                  <a:lnTo>
                    <a:pt x="653" y="166"/>
                  </a:lnTo>
                  <a:lnTo>
                    <a:pt x="653" y="176"/>
                  </a:lnTo>
                  <a:lnTo>
                    <a:pt x="653" y="186"/>
                  </a:lnTo>
                  <a:lnTo>
                    <a:pt x="644" y="186"/>
                  </a:lnTo>
                  <a:lnTo>
                    <a:pt x="644" y="195"/>
                  </a:lnTo>
                  <a:lnTo>
                    <a:pt x="653" y="225"/>
                  </a:lnTo>
                  <a:lnTo>
                    <a:pt x="653" y="254"/>
                  </a:lnTo>
                  <a:lnTo>
                    <a:pt x="634" y="264"/>
                  </a:lnTo>
                  <a:lnTo>
                    <a:pt x="644" y="273"/>
                  </a:lnTo>
                  <a:lnTo>
                    <a:pt x="624" y="283"/>
                  </a:lnTo>
                  <a:lnTo>
                    <a:pt x="614" y="273"/>
                  </a:lnTo>
                  <a:lnTo>
                    <a:pt x="595" y="293"/>
                  </a:lnTo>
                  <a:lnTo>
                    <a:pt x="575" y="293"/>
                  </a:lnTo>
                  <a:lnTo>
                    <a:pt x="566" y="293"/>
                  </a:lnTo>
                  <a:lnTo>
                    <a:pt x="556" y="322"/>
                  </a:lnTo>
                  <a:lnTo>
                    <a:pt x="536" y="342"/>
                  </a:lnTo>
                  <a:lnTo>
                    <a:pt x="517" y="342"/>
                  </a:lnTo>
                  <a:lnTo>
                    <a:pt x="527" y="352"/>
                  </a:lnTo>
                  <a:lnTo>
                    <a:pt x="507" y="352"/>
                  </a:lnTo>
                  <a:lnTo>
                    <a:pt x="497" y="352"/>
                  </a:lnTo>
                  <a:lnTo>
                    <a:pt x="507" y="371"/>
                  </a:lnTo>
                  <a:lnTo>
                    <a:pt x="497" y="391"/>
                  </a:lnTo>
                  <a:lnTo>
                    <a:pt x="507" y="400"/>
                  </a:lnTo>
                  <a:lnTo>
                    <a:pt x="517" y="400"/>
                  </a:lnTo>
                  <a:lnTo>
                    <a:pt x="507" y="420"/>
                  </a:lnTo>
                  <a:lnTo>
                    <a:pt x="507" y="439"/>
                  </a:lnTo>
                  <a:lnTo>
                    <a:pt x="488" y="459"/>
                  </a:lnTo>
                  <a:lnTo>
                    <a:pt x="497" y="469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365"/>
            <p:cNvSpPr>
              <a:spLocks/>
            </p:cNvSpPr>
            <p:nvPr/>
          </p:nvSpPr>
          <p:spPr bwMode="auto">
            <a:xfrm>
              <a:off x="2586" y="1533"/>
              <a:ext cx="1318" cy="722"/>
            </a:xfrm>
            <a:custGeom>
              <a:avLst/>
              <a:gdLst>
                <a:gd name="T0" fmla="*/ 371 w 1317"/>
                <a:gd name="T1" fmla="*/ 644 h 722"/>
                <a:gd name="T2" fmla="*/ 439 w 1317"/>
                <a:gd name="T3" fmla="*/ 644 h 722"/>
                <a:gd name="T4" fmla="*/ 488 w 1317"/>
                <a:gd name="T5" fmla="*/ 654 h 722"/>
                <a:gd name="T6" fmla="*/ 585 w 1317"/>
                <a:gd name="T7" fmla="*/ 702 h 722"/>
                <a:gd name="T8" fmla="*/ 673 w 1317"/>
                <a:gd name="T9" fmla="*/ 673 h 722"/>
                <a:gd name="T10" fmla="*/ 702 w 1317"/>
                <a:gd name="T11" fmla="*/ 644 h 722"/>
                <a:gd name="T12" fmla="*/ 741 w 1317"/>
                <a:gd name="T13" fmla="*/ 566 h 722"/>
                <a:gd name="T14" fmla="*/ 819 w 1317"/>
                <a:gd name="T15" fmla="*/ 507 h 722"/>
                <a:gd name="T16" fmla="*/ 839 w 1317"/>
                <a:gd name="T17" fmla="*/ 458 h 722"/>
                <a:gd name="T18" fmla="*/ 868 w 1317"/>
                <a:gd name="T19" fmla="*/ 419 h 722"/>
                <a:gd name="T20" fmla="*/ 897 w 1317"/>
                <a:gd name="T21" fmla="*/ 439 h 722"/>
                <a:gd name="T22" fmla="*/ 966 w 1317"/>
                <a:gd name="T23" fmla="*/ 419 h 722"/>
                <a:gd name="T24" fmla="*/ 1044 w 1317"/>
                <a:gd name="T25" fmla="*/ 410 h 722"/>
                <a:gd name="T26" fmla="*/ 1092 w 1317"/>
                <a:gd name="T27" fmla="*/ 380 h 722"/>
                <a:gd name="T28" fmla="*/ 1122 w 1317"/>
                <a:gd name="T29" fmla="*/ 361 h 722"/>
                <a:gd name="T30" fmla="*/ 1190 w 1317"/>
                <a:gd name="T31" fmla="*/ 361 h 722"/>
                <a:gd name="T32" fmla="*/ 1239 w 1317"/>
                <a:gd name="T33" fmla="*/ 341 h 722"/>
                <a:gd name="T34" fmla="*/ 1307 w 1317"/>
                <a:gd name="T35" fmla="*/ 322 h 722"/>
                <a:gd name="T36" fmla="*/ 1307 w 1317"/>
                <a:gd name="T37" fmla="*/ 312 h 722"/>
                <a:gd name="T38" fmla="*/ 1307 w 1317"/>
                <a:gd name="T39" fmla="*/ 273 h 722"/>
                <a:gd name="T40" fmla="*/ 1307 w 1317"/>
                <a:gd name="T41" fmla="*/ 224 h 722"/>
                <a:gd name="T42" fmla="*/ 1258 w 1317"/>
                <a:gd name="T43" fmla="*/ 214 h 722"/>
                <a:gd name="T44" fmla="*/ 1229 w 1317"/>
                <a:gd name="T45" fmla="*/ 244 h 722"/>
                <a:gd name="T46" fmla="*/ 1190 w 1317"/>
                <a:gd name="T47" fmla="*/ 234 h 722"/>
                <a:gd name="T48" fmla="*/ 1151 w 1317"/>
                <a:gd name="T49" fmla="*/ 253 h 722"/>
                <a:gd name="T50" fmla="*/ 1092 w 1317"/>
                <a:gd name="T51" fmla="*/ 273 h 722"/>
                <a:gd name="T52" fmla="*/ 1005 w 1317"/>
                <a:gd name="T53" fmla="*/ 234 h 722"/>
                <a:gd name="T54" fmla="*/ 848 w 1317"/>
                <a:gd name="T55" fmla="*/ 127 h 722"/>
                <a:gd name="T56" fmla="*/ 780 w 1317"/>
                <a:gd name="T57" fmla="*/ 68 h 722"/>
                <a:gd name="T58" fmla="*/ 712 w 1317"/>
                <a:gd name="T59" fmla="*/ 19 h 722"/>
                <a:gd name="T60" fmla="*/ 595 w 1317"/>
                <a:gd name="T61" fmla="*/ 10 h 722"/>
                <a:gd name="T62" fmla="*/ 478 w 1317"/>
                <a:gd name="T63" fmla="*/ 58 h 722"/>
                <a:gd name="T64" fmla="*/ 497 w 1317"/>
                <a:gd name="T65" fmla="*/ 107 h 722"/>
                <a:gd name="T66" fmla="*/ 449 w 1317"/>
                <a:gd name="T67" fmla="*/ 175 h 722"/>
                <a:gd name="T68" fmla="*/ 410 w 1317"/>
                <a:gd name="T69" fmla="*/ 136 h 722"/>
                <a:gd name="T70" fmla="*/ 371 w 1317"/>
                <a:gd name="T71" fmla="*/ 136 h 722"/>
                <a:gd name="T72" fmla="*/ 341 w 1317"/>
                <a:gd name="T73" fmla="*/ 97 h 722"/>
                <a:gd name="T74" fmla="*/ 283 w 1317"/>
                <a:gd name="T75" fmla="*/ 49 h 722"/>
                <a:gd name="T76" fmla="*/ 253 w 1317"/>
                <a:gd name="T77" fmla="*/ 49 h 722"/>
                <a:gd name="T78" fmla="*/ 263 w 1317"/>
                <a:gd name="T79" fmla="*/ 136 h 722"/>
                <a:gd name="T80" fmla="*/ 224 w 1317"/>
                <a:gd name="T81" fmla="*/ 166 h 722"/>
                <a:gd name="T82" fmla="*/ 214 w 1317"/>
                <a:gd name="T83" fmla="*/ 195 h 722"/>
                <a:gd name="T84" fmla="*/ 166 w 1317"/>
                <a:gd name="T85" fmla="*/ 224 h 722"/>
                <a:gd name="T86" fmla="*/ 156 w 1317"/>
                <a:gd name="T87" fmla="*/ 263 h 722"/>
                <a:gd name="T88" fmla="*/ 205 w 1317"/>
                <a:gd name="T89" fmla="*/ 283 h 722"/>
                <a:gd name="T90" fmla="*/ 253 w 1317"/>
                <a:gd name="T91" fmla="*/ 253 h 722"/>
                <a:gd name="T92" fmla="*/ 234 w 1317"/>
                <a:gd name="T93" fmla="*/ 341 h 722"/>
                <a:gd name="T94" fmla="*/ 195 w 1317"/>
                <a:gd name="T95" fmla="*/ 390 h 722"/>
                <a:gd name="T96" fmla="*/ 146 w 1317"/>
                <a:gd name="T97" fmla="*/ 410 h 722"/>
                <a:gd name="T98" fmla="*/ 88 w 1317"/>
                <a:gd name="T99" fmla="*/ 400 h 722"/>
                <a:gd name="T100" fmla="*/ 58 w 1317"/>
                <a:gd name="T101" fmla="*/ 468 h 722"/>
                <a:gd name="T102" fmla="*/ 10 w 1317"/>
                <a:gd name="T103" fmla="*/ 488 h 722"/>
                <a:gd name="T104" fmla="*/ 19 w 1317"/>
                <a:gd name="T105" fmla="*/ 527 h 722"/>
                <a:gd name="T106" fmla="*/ 19 w 1317"/>
                <a:gd name="T107" fmla="*/ 566 h 722"/>
                <a:gd name="T108" fmla="*/ 10 w 1317"/>
                <a:gd name="T109" fmla="*/ 595 h 722"/>
                <a:gd name="T110" fmla="*/ 88 w 1317"/>
                <a:gd name="T111" fmla="*/ 566 h 722"/>
                <a:gd name="T112" fmla="*/ 146 w 1317"/>
                <a:gd name="T113" fmla="*/ 585 h 722"/>
                <a:gd name="T114" fmla="*/ 195 w 1317"/>
                <a:gd name="T115" fmla="*/ 595 h 722"/>
                <a:gd name="T116" fmla="*/ 224 w 1317"/>
                <a:gd name="T117" fmla="*/ 556 h 722"/>
                <a:gd name="T118" fmla="*/ 263 w 1317"/>
                <a:gd name="T119" fmla="*/ 546 h 722"/>
                <a:gd name="T120" fmla="*/ 322 w 1317"/>
                <a:gd name="T121" fmla="*/ 575 h 7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17"/>
                <a:gd name="T184" fmla="*/ 0 h 722"/>
                <a:gd name="T185" fmla="*/ 1317 w 1317"/>
                <a:gd name="T186" fmla="*/ 722 h 72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17" h="722">
                  <a:moveTo>
                    <a:pt x="322" y="605"/>
                  </a:moveTo>
                  <a:lnTo>
                    <a:pt x="341" y="595"/>
                  </a:lnTo>
                  <a:lnTo>
                    <a:pt x="371" y="644"/>
                  </a:lnTo>
                  <a:lnTo>
                    <a:pt x="410" y="634"/>
                  </a:lnTo>
                  <a:lnTo>
                    <a:pt x="419" y="654"/>
                  </a:lnTo>
                  <a:lnTo>
                    <a:pt x="439" y="644"/>
                  </a:lnTo>
                  <a:lnTo>
                    <a:pt x="449" y="663"/>
                  </a:lnTo>
                  <a:lnTo>
                    <a:pt x="478" y="663"/>
                  </a:lnTo>
                  <a:lnTo>
                    <a:pt x="488" y="654"/>
                  </a:lnTo>
                  <a:lnTo>
                    <a:pt x="507" y="663"/>
                  </a:lnTo>
                  <a:lnTo>
                    <a:pt x="546" y="683"/>
                  </a:lnTo>
                  <a:lnTo>
                    <a:pt x="585" y="702"/>
                  </a:lnTo>
                  <a:lnTo>
                    <a:pt x="624" y="722"/>
                  </a:lnTo>
                  <a:lnTo>
                    <a:pt x="653" y="702"/>
                  </a:lnTo>
                  <a:lnTo>
                    <a:pt x="673" y="673"/>
                  </a:lnTo>
                  <a:lnTo>
                    <a:pt x="692" y="663"/>
                  </a:lnTo>
                  <a:lnTo>
                    <a:pt x="712" y="654"/>
                  </a:lnTo>
                  <a:lnTo>
                    <a:pt x="702" y="644"/>
                  </a:lnTo>
                  <a:lnTo>
                    <a:pt x="722" y="614"/>
                  </a:lnTo>
                  <a:lnTo>
                    <a:pt x="722" y="585"/>
                  </a:lnTo>
                  <a:lnTo>
                    <a:pt x="741" y="566"/>
                  </a:lnTo>
                  <a:lnTo>
                    <a:pt x="780" y="536"/>
                  </a:lnTo>
                  <a:lnTo>
                    <a:pt x="800" y="527"/>
                  </a:lnTo>
                  <a:lnTo>
                    <a:pt x="819" y="507"/>
                  </a:lnTo>
                  <a:lnTo>
                    <a:pt x="819" y="488"/>
                  </a:lnTo>
                  <a:lnTo>
                    <a:pt x="839" y="468"/>
                  </a:lnTo>
                  <a:lnTo>
                    <a:pt x="839" y="458"/>
                  </a:lnTo>
                  <a:lnTo>
                    <a:pt x="848" y="449"/>
                  </a:lnTo>
                  <a:lnTo>
                    <a:pt x="848" y="429"/>
                  </a:lnTo>
                  <a:lnTo>
                    <a:pt x="868" y="419"/>
                  </a:lnTo>
                  <a:lnTo>
                    <a:pt x="888" y="419"/>
                  </a:lnTo>
                  <a:lnTo>
                    <a:pt x="897" y="429"/>
                  </a:lnTo>
                  <a:lnTo>
                    <a:pt x="897" y="439"/>
                  </a:lnTo>
                  <a:lnTo>
                    <a:pt x="936" y="439"/>
                  </a:lnTo>
                  <a:lnTo>
                    <a:pt x="946" y="439"/>
                  </a:lnTo>
                  <a:lnTo>
                    <a:pt x="966" y="419"/>
                  </a:lnTo>
                  <a:lnTo>
                    <a:pt x="995" y="410"/>
                  </a:lnTo>
                  <a:lnTo>
                    <a:pt x="1024" y="410"/>
                  </a:lnTo>
                  <a:lnTo>
                    <a:pt x="1044" y="410"/>
                  </a:lnTo>
                  <a:lnTo>
                    <a:pt x="1063" y="400"/>
                  </a:lnTo>
                  <a:lnTo>
                    <a:pt x="1073" y="400"/>
                  </a:lnTo>
                  <a:lnTo>
                    <a:pt x="1092" y="380"/>
                  </a:lnTo>
                  <a:lnTo>
                    <a:pt x="1102" y="380"/>
                  </a:lnTo>
                  <a:lnTo>
                    <a:pt x="1122" y="371"/>
                  </a:lnTo>
                  <a:lnTo>
                    <a:pt x="1122" y="361"/>
                  </a:lnTo>
                  <a:lnTo>
                    <a:pt x="1141" y="361"/>
                  </a:lnTo>
                  <a:lnTo>
                    <a:pt x="1161" y="361"/>
                  </a:lnTo>
                  <a:lnTo>
                    <a:pt x="1190" y="361"/>
                  </a:lnTo>
                  <a:lnTo>
                    <a:pt x="1209" y="361"/>
                  </a:lnTo>
                  <a:lnTo>
                    <a:pt x="1229" y="351"/>
                  </a:lnTo>
                  <a:lnTo>
                    <a:pt x="1239" y="341"/>
                  </a:lnTo>
                  <a:lnTo>
                    <a:pt x="1258" y="341"/>
                  </a:lnTo>
                  <a:lnTo>
                    <a:pt x="1287" y="332"/>
                  </a:lnTo>
                  <a:lnTo>
                    <a:pt x="1307" y="322"/>
                  </a:lnTo>
                  <a:lnTo>
                    <a:pt x="1287" y="312"/>
                  </a:lnTo>
                  <a:lnTo>
                    <a:pt x="1307" y="312"/>
                  </a:lnTo>
                  <a:lnTo>
                    <a:pt x="1317" y="302"/>
                  </a:lnTo>
                  <a:lnTo>
                    <a:pt x="1317" y="293"/>
                  </a:lnTo>
                  <a:lnTo>
                    <a:pt x="1307" y="273"/>
                  </a:lnTo>
                  <a:lnTo>
                    <a:pt x="1297" y="253"/>
                  </a:lnTo>
                  <a:lnTo>
                    <a:pt x="1297" y="244"/>
                  </a:lnTo>
                  <a:lnTo>
                    <a:pt x="1307" y="224"/>
                  </a:lnTo>
                  <a:lnTo>
                    <a:pt x="1297" y="214"/>
                  </a:lnTo>
                  <a:lnTo>
                    <a:pt x="1268" y="205"/>
                  </a:lnTo>
                  <a:lnTo>
                    <a:pt x="1258" y="214"/>
                  </a:lnTo>
                  <a:lnTo>
                    <a:pt x="1248" y="224"/>
                  </a:lnTo>
                  <a:lnTo>
                    <a:pt x="1239" y="224"/>
                  </a:lnTo>
                  <a:lnTo>
                    <a:pt x="1229" y="244"/>
                  </a:lnTo>
                  <a:lnTo>
                    <a:pt x="1209" y="244"/>
                  </a:lnTo>
                  <a:lnTo>
                    <a:pt x="1200" y="234"/>
                  </a:lnTo>
                  <a:lnTo>
                    <a:pt x="1190" y="234"/>
                  </a:lnTo>
                  <a:lnTo>
                    <a:pt x="1170" y="234"/>
                  </a:lnTo>
                  <a:lnTo>
                    <a:pt x="1161" y="253"/>
                  </a:lnTo>
                  <a:lnTo>
                    <a:pt x="1151" y="253"/>
                  </a:lnTo>
                  <a:lnTo>
                    <a:pt x="1131" y="263"/>
                  </a:lnTo>
                  <a:lnTo>
                    <a:pt x="1112" y="263"/>
                  </a:lnTo>
                  <a:lnTo>
                    <a:pt x="1092" y="273"/>
                  </a:lnTo>
                  <a:lnTo>
                    <a:pt x="1083" y="273"/>
                  </a:lnTo>
                  <a:lnTo>
                    <a:pt x="1053" y="263"/>
                  </a:lnTo>
                  <a:lnTo>
                    <a:pt x="1005" y="234"/>
                  </a:lnTo>
                  <a:lnTo>
                    <a:pt x="956" y="195"/>
                  </a:lnTo>
                  <a:lnTo>
                    <a:pt x="907" y="166"/>
                  </a:lnTo>
                  <a:lnTo>
                    <a:pt x="848" y="127"/>
                  </a:lnTo>
                  <a:lnTo>
                    <a:pt x="839" y="107"/>
                  </a:lnTo>
                  <a:lnTo>
                    <a:pt x="819" y="97"/>
                  </a:lnTo>
                  <a:lnTo>
                    <a:pt x="780" y="68"/>
                  </a:lnTo>
                  <a:lnTo>
                    <a:pt x="761" y="49"/>
                  </a:lnTo>
                  <a:lnTo>
                    <a:pt x="741" y="19"/>
                  </a:lnTo>
                  <a:lnTo>
                    <a:pt x="712" y="19"/>
                  </a:lnTo>
                  <a:lnTo>
                    <a:pt x="692" y="19"/>
                  </a:lnTo>
                  <a:lnTo>
                    <a:pt x="663" y="19"/>
                  </a:lnTo>
                  <a:lnTo>
                    <a:pt x="595" y="10"/>
                  </a:lnTo>
                  <a:lnTo>
                    <a:pt x="546" y="0"/>
                  </a:lnTo>
                  <a:lnTo>
                    <a:pt x="497" y="49"/>
                  </a:lnTo>
                  <a:lnTo>
                    <a:pt x="478" y="58"/>
                  </a:lnTo>
                  <a:lnTo>
                    <a:pt x="468" y="78"/>
                  </a:lnTo>
                  <a:lnTo>
                    <a:pt x="497" y="88"/>
                  </a:lnTo>
                  <a:lnTo>
                    <a:pt x="497" y="107"/>
                  </a:lnTo>
                  <a:lnTo>
                    <a:pt x="478" y="136"/>
                  </a:lnTo>
                  <a:lnTo>
                    <a:pt x="478" y="156"/>
                  </a:lnTo>
                  <a:lnTo>
                    <a:pt x="449" y="175"/>
                  </a:lnTo>
                  <a:lnTo>
                    <a:pt x="439" y="146"/>
                  </a:lnTo>
                  <a:lnTo>
                    <a:pt x="429" y="156"/>
                  </a:lnTo>
                  <a:lnTo>
                    <a:pt x="410" y="136"/>
                  </a:lnTo>
                  <a:lnTo>
                    <a:pt x="390" y="136"/>
                  </a:lnTo>
                  <a:lnTo>
                    <a:pt x="380" y="136"/>
                  </a:lnTo>
                  <a:lnTo>
                    <a:pt x="371" y="136"/>
                  </a:lnTo>
                  <a:lnTo>
                    <a:pt x="361" y="127"/>
                  </a:lnTo>
                  <a:lnTo>
                    <a:pt x="361" y="117"/>
                  </a:lnTo>
                  <a:lnTo>
                    <a:pt x="341" y="97"/>
                  </a:lnTo>
                  <a:lnTo>
                    <a:pt x="322" y="78"/>
                  </a:lnTo>
                  <a:lnTo>
                    <a:pt x="292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53" y="39"/>
                  </a:lnTo>
                  <a:lnTo>
                    <a:pt x="253" y="49"/>
                  </a:lnTo>
                  <a:lnTo>
                    <a:pt x="253" y="68"/>
                  </a:lnTo>
                  <a:lnTo>
                    <a:pt x="263" y="107"/>
                  </a:lnTo>
                  <a:lnTo>
                    <a:pt x="263" y="136"/>
                  </a:lnTo>
                  <a:lnTo>
                    <a:pt x="253" y="146"/>
                  </a:lnTo>
                  <a:lnTo>
                    <a:pt x="234" y="156"/>
                  </a:lnTo>
                  <a:lnTo>
                    <a:pt x="224" y="166"/>
                  </a:lnTo>
                  <a:lnTo>
                    <a:pt x="244" y="185"/>
                  </a:lnTo>
                  <a:lnTo>
                    <a:pt x="244" y="195"/>
                  </a:lnTo>
                  <a:lnTo>
                    <a:pt x="214" y="195"/>
                  </a:lnTo>
                  <a:lnTo>
                    <a:pt x="195" y="205"/>
                  </a:lnTo>
                  <a:lnTo>
                    <a:pt x="185" y="224"/>
                  </a:lnTo>
                  <a:lnTo>
                    <a:pt x="166" y="224"/>
                  </a:lnTo>
                  <a:lnTo>
                    <a:pt x="166" y="244"/>
                  </a:lnTo>
                  <a:lnTo>
                    <a:pt x="166" y="253"/>
                  </a:lnTo>
                  <a:lnTo>
                    <a:pt x="156" y="263"/>
                  </a:lnTo>
                  <a:lnTo>
                    <a:pt x="166" y="273"/>
                  </a:lnTo>
                  <a:lnTo>
                    <a:pt x="175" y="263"/>
                  </a:lnTo>
                  <a:lnTo>
                    <a:pt x="205" y="283"/>
                  </a:lnTo>
                  <a:lnTo>
                    <a:pt x="234" y="263"/>
                  </a:lnTo>
                  <a:lnTo>
                    <a:pt x="234" y="273"/>
                  </a:lnTo>
                  <a:lnTo>
                    <a:pt x="253" y="253"/>
                  </a:lnTo>
                  <a:lnTo>
                    <a:pt x="292" y="293"/>
                  </a:lnTo>
                  <a:lnTo>
                    <a:pt x="283" y="312"/>
                  </a:lnTo>
                  <a:lnTo>
                    <a:pt x="234" y="341"/>
                  </a:lnTo>
                  <a:lnTo>
                    <a:pt x="195" y="351"/>
                  </a:lnTo>
                  <a:lnTo>
                    <a:pt x="175" y="371"/>
                  </a:lnTo>
                  <a:lnTo>
                    <a:pt x="195" y="390"/>
                  </a:lnTo>
                  <a:lnTo>
                    <a:pt x="166" y="419"/>
                  </a:lnTo>
                  <a:lnTo>
                    <a:pt x="146" y="419"/>
                  </a:lnTo>
                  <a:lnTo>
                    <a:pt x="146" y="410"/>
                  </a:lnTo>
                  <a:lnTo>
                    <a:pt x="127" y="400"/>
                  </a:lnTo>
                  <a:lnTo>
                    <a:pt x="97" y="400"/>
                  </a:lnTo>
                  <a:lnTo>
                    <a:pt x="88" y="400"/>
                  </a:lnTo>
                  <a:lnTo>
                    <a:pt x="68" y="429"/>
                  </a:lnTo>
                  <a:lnTo>
                    <a:pt x="58" y="449"/>
                  </a:lnTo>
                  <a:lnTo>
                    <a:pt x="58" y="468"/>
                  </a:lnTo>
                  <a:lnTo>
                    <a:pt x="49" y="468"/>
                  </a:lnTo>
                  <a:lnTo>
                    <a:pt x="39" y="468"/>
                  </a:lnTo>
                  <a:lnTo>
                    <a:pt x="10" y="488"/>
                  </a:lnTo>
                  <a:lnTo>
                    <a:pt x="10" y="497"/>
                  </a:lnTo>
                  <a:lnTo>
                    <a:pt x="10" y="507"/>
                  </a:lnTo>
                  <a:lnTo>
                    <a:pt x="19" y="527"/>
                  </a:lnTo>
                  <a:lnTo>
                    <a:pt x="10" y="546"/>
                  </a:lnTo>
                  <a:lnTo>
                    <a:pt x="19" y="566"/>
                  </a:lnTo>
                  <a:lnTo>
                    <a:pt x="0" y="575"/>
                  </a:lnTo>
                  <a:lnTo>
                    <a:pt x="10" y="585"/>
                  </a:lnTo>
                  <a:lnTo>
                    <a:pt x="10" y="595"/>
                  </a:lnTo>
                  <a:lnTo>
                    <a:pt x="29" y="575"/>
                  </a:lnTo>
                  <a:lnTo>
                    <a:pt x="58" y="556"/>
                  </a:lnTo>
                  <a:lnTo>
                    <a:pt x="88" y="566"/>
                  </a:lnTo>
                  <a:lnTo>
                    <a:pt x="117" y="585"/>
                  </a:lnTo>
                  <a:lnTo>
                    <a:pt x="136" y="575"/>
                  </a:lnTo>
                  <a:lnTo>
                    <a:pt x="146" y="585"/>
                  </a:lnTo>
                  <a:lnTo>
                    <a:pt x="146" y="605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05" y="614"/>
                  </a:lnTo>
                  <a:lnTo>
                    <a:pt x="224" y="595"/>
                  </a:lnTo>
                  <a:lnTo>
                    <a:pt x="224" y="556"/>
                  </a:lnTo>
                  <a:lnTo>
                    <a:pt x="234" y="546"/>
                  </a:lnTo>
                  <a:lnTo>
                    <a:pt x="253" y="556"/>
                  </a:lnTo>
                  <a:lnTo>
                    <a:pt x="263" y="546"/>
                  </a:lnTo>
                  <a:lnTo>
                    <a:pt x="273" y="556"/>
                  </a:lnTo>
                  <a:lnTo>
                    <a:pt x="292" y="546"/>
                  </a:lnTo>
                  <a:lnTo>
                    <a:pt x="322" y="575"/>
                  </a:lnTo>
                  <a:lnTo>
                    <a:pt x="312" y="585"/>
                  </a:lnTo>
                  <a:lnTo>
                    <a:pt x="322" y="605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364"/>
            <p:cNvSpPr>
              <a:spLocks/>
            </p:cNvSpPr>
            <p:nvPr/>
          </p:nvSpPr>
          <p:spPr bwMode="auto">
            <a:xfrm>
              <a:off x="2294" y="1183"/>
              <a:ext cx="839" cy="769"/>
            </a:xfrm>
            <a:custGeom>
              <a:avLst/>
              <a:gdLst>
                <a:gd name="T0" fmla="*/ 449 w 839"/>
                <a:gd name="T1" fmla="*/ 761 h 770"/>
                <a:gd name="T2" fmla="*/ 478 w 839"/>
                <a:gd name="T3" fmla="*/ 722 h 770"/>
                <a:gd name="T4" fmla="*/ 585 w 839"/>
                <a:gd name="T5" fmla="*/ 644 h 770"/>
                <a:gd name="T6" fmla="*/ 498 w 839"/>
                <a:gd name="T7" fmla="*/ 634 h 770"/>
                <a:gd name="T8" fmla="*/ 459 w 839"/>
                <a:gd name="T9" fmla="*/ 604 h 770"/>
                <a:gd name="T10" fmla="*/ 488 w 839"/>
                <a:gd name="T11" fmla="*/ 556 h 770"/>
                <a:gd name="T12" fmla="*/ 517 w 839"/>
                <a:gd name="T13" fmla="*/ 517 h 770"/>
                <a:gd name="T14" fmla="*/ 556 w 839"/>
                <a:gd name="T15" fmla="*/ 458 h 770"/>
                <a:gd name="T16" fmla="*/ 566 w 839"/>
                <a:gd name="T17" fmla="*/ 390 h 770"/>
                <a:gd name="T18" fmla="*/ 634 w 839"/>
                <a:gd name="T19" fmla="*/ 448 h 770"/>
                <a:gd name="T20" fmla="*/ 673 w 839"/>
                <a:gd name="T21" fmla="*/ 487 h 770"/>
                <a:gd name="T22" fmla="*/ 732 w 839"/>
                <a:gd name="T23" fmla="*/ 497 h 770"/>
                <a:gd name="T24" fmla="*/ 790 w 839"/>
                <a:gd name="T25" fmla="*/ 458 h 770"/>
                <a:gd name="T26" fmla="*/ 790 w 839"/>
                <a:gd name="T27" fmla="*/ 400 h 770"/>
                <a:gd name="T28" fmla="*/ 771 w 839"/>
                <a:gd name="T29" fmla="*/ 331 h 770"/>
                <a:gd name="T30" fmla="*/ 742 w 839"/>
                <a:gd name="T31" fmla="*/ 263 h 770"/>
                <a:gd name="T32" fmla="*/ 693 w 839"/>
                <a:gd name="T33" fmla="*/ 185 h 770"/>
                <a:gd name="T34" fmla="*/ 673 w 839"/>
                <a:gd name="T35" fmla="*/ 185 h 770"/>
                <a:gd name="T36" fmla="*/ 664 w 839"/>
                <a:gd name="T37" fmla="*/ 165 h 770"/>
                <a:gd name="T38" fmla="*/ 654 w 839"/>
                <a:gd name="T39" fmla="*/ 107 h 770"/>
                <a:gd name="T40" fmla="*/ 576 w 839"/>
                <a:gd name="T41" fmla="*/ 97 h 770"/>
                <a:gd name="T42" fmla="*/ 498 w 839"/>
                <a:gd name="T43" fmla="*/ 78 h 770"/>
                <a:gd name="T44" fmla="*/ 449 w 839"/>
                <a:gd name="T45" fmla="*/ 156 h 770"/>
                <a:gd name="T46" fmla="*/ 420 w 839"/>
                <a:gd name="T47" fmla="*/ 156 h 770"/>
                <a:gd name="T48" fmla="*/ 390 w 839"/>
                <a:gd name="T49" fmla="*/ 136 h 770"/>
                <a:gd name="T50" fmla="*/ 361 w 839"/>
                <a:gd name="T51" fmla="*/ 87 h 770"/>
                <a:gd name="T52" fmla="*/ 371 w 839"/>
                <a:gd name="T53" fmla="*/ 78 h 770"/>
                <a:gd name="T54" fmla="*/ 371 w 839"/>
                <a:gd name="T55" fmla="*/ 9 h 770"/>
                <a:gd name="T56" fmla="*/ 332 w 839"/>
                <a:gd name="T57" fmla="*/ 9 h 770"/>
                <a:gd name="T58" fmla="*/ 303 w 839"/>
                <a:gd name="T59" fmla="*/ 48 h 770"/>
                <a:gd name="T60" fmla="*/ 312 w 839"/>
                <a:gd name="T61" fmla="*/ 107 h 770"/>
                <a:gd name="T62" fmla="*/ 264 w 839"/>
                <a:gd name="T63" fmla="*/ 126 h 770"/>
                <a:gd name="T64" fmla="*/ 234 w 839"/>
                <a:gd name="T65" fmla="*/ 78 h 770"/>
                <a:gd name="T66" fmla="*/ 186 w 839"/>
                <a:gd name="T67" fmla="*/ 58 h 770"/>
                <a:gd name="T68" fmla="*/ 147 w 839"/>
                <a:gd name="T69" fmla="*/ 117 h 770"/>
                <a:gd name="T70" fmla="*/ 156 w 839"/>
                <a:gd name="T71" fmla="*/ 185 h 770"/>
                <a:gd name="T72" fmla="*/ 88 w 839"/>
                <a:gd name="T73" fmla="*/ 243 h 770"/>
                <a:gd name="T74" fmla="*/ 20 w 839"/>
                <a:gd name="T75" fmla="*/ 302 h 770"/>
                <a:gd name="T76" fmla="*/ 0 w 839"/>
                <a:gd name="T77" fmla="*/ 380 h 770"/>
                <a:gd name="T78" fmla="*/ 49 w 839"/>
                <a:gd name="T79" fmla="*/ 439 h 770"/>
                <a:gd name="T80" fmla="*/ 88 w 839"/>
                <a:gd name="T81" fmla="*/ 487 h 770"/>
                <a:gd name="T82" fmla="*/ 127 w 839"/>
                <a:gd name="T83" fmla="*/ 517 h 770"/>
                <a:gd name="T84" fmla="*/ 186 w 839"/>
                <a:gd name="T85" fmla="*/ 575 h 770"/>
                <a:gd name="T86" fmla="*/ 225 w 839"/>
                <a:gd name="T87" fmla="*/ 595 h 770"/>
                <a:gd name="T88" fmla="*/ 273 w 839"/>
                <a:gd name="T89" fmla="*/ 624 h 770"/>
                <a:gd name="T90" fmla="*/ 303 w 839"/>
                <a:gd name="T91" fmla="*/ 663 h 770"/>
                <a:gd name="T92" fmla="*/ 332 w 839"/>
                <a:gd name="T93" fmla="*/ 702 h 770"/>
                <a:gd name="T94" fmla="*/ 381 w 839"/>
                <a:gd name="T95" fmla="*/ 751 h 7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39"/>
                <a:gd name="T145" fmla="*/ 0 h 770"/>
                <a:gd name="T146" fmla="*/ 839 w 839"/>
                <a:gd name="T147" fmla="*/ 770 h 7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39" h="770">
                  <a:moveTo>
                    <a:pt x="381" y="751"/>
                  </a:moveTo>
                  <a:lnTo>
                    <a:pt x="390" y="751"/>
                  </a:lnTo>
                  <a:lnTo>
                    <a:pt x="420" y="751"/>
                  </a:lnTo>
                  <a:lnTo>
                    <a:pt x="449" y="761"/>
                  </a:lnTo>
                  <a:lnTo>
                    <a:pt x="449" y="770"/>
                  </a:lnTo>
                  <a:lnTo>
                    <a:pt x="459" y="770"/>
                  </a:lnTo>
                  <a:lnTo>
                    <a:pt x="488" y="741"/>
                  </a:lnTo>
                  <a:lnTo>
                    <a:pt x="478" y="722"/>
                  </a:lnTo>
                  <a:lnTo>
                    <a:pt x="488" y="702"/>
                  </a:lnTo>
                  <a:lnTo>
                    <a:pt x="537" y="692"/>
                  </a:lnTo>
                  <a:lnTo>
                    <a:pt x="576" y="663"/>
                  </a:lnTo>
                  <a:lnTo>
                    <a:pt x="585" y="644"/>
                  </a:lnTo>
                  <a:lnTo>
                    <a:pt x="546" y="614"/>
                  </a:lnTo>
                  <a:lnTo>
                    <a:pt x="537" y="624"/>
                  </a:lnTo>
                  <a:lnTo>
                    <a:pt x="527" y="614"/>
                  </a:lnTo>
                  <a:lnTo>
                    <a:pt x="498" y="634"/>
                  </a:lnTo>
                  <a:lnTo>
                    <a:pt x="478" y="624"/>
                  </a:lnTo>
                  <a:lnTo>
                    <a:pt x="459" y="624"/>
                  </a:lnTo>
                  <a:lnTo>
                    <a:pt x="449" y="614"/>
                  </a:lnTo>
                  <a:lnTo>
                    <a:pt x="459" y="604"/>
                  </a:lnTo>
                  <a:lnTo>
                    <a:pt x="459" y="595"/>
                  </a:lnTo>
                  <a:lnTo>
                    <a:pt x="468" y="575"/>
                  </a:lnTo>
                  <a:lnTo>
                    <a:pt x="478" y="575"/>
                  </a:lnTo>
                  <a:lnTo>
                    <a:pt x="488" y="556"/>
                  </a:lnTo>
                  <a:lnTo>
                    <a:pt x="507" y="556"/>
                  </a:lnTo>
                  <a:lnTo>
                    <a:pt x="537" y="546"/>
                  </a:lnTo>
                  <a:lnTo>
                    <a:pt x="537" y="536"/>
                  </a:lnTo>
                  <a:lnTo>
                    <a:pt x="517" y="517"/>
                  </a:lnTo>
                  <a:lnTo>
                    <a:pt x="537" y="507"/>
                  </a:lnTo>
                  <a:lnTo>
                    <a:pt x="546" y="497"/>
                  </a:lnTo>
                  <a:lnTo>
                    <a:pt x="556" y="487"/>
                  </a:lnTo>
                  <a:lnTo>
                    <a:pt x="556" y="458"/>
                  </a:lnTo>
                  <a:lnTo>
                    <a:pt x="546" y="419"/>
                  </a:lnTo>
                  <a:lnTo>
                    <a:pt x="546" y="400"/>
                  </a:lnTo>
                  <a:lnTo>
                    <a:pt x="546" y="390"/>
                  </a:lnTo>
                  <a:lnTo>
                    <a:pt x="566" y="390"/>
                  </a:lnTo>
                  <a:lnTo>
                    <a:pt x="576" y="400"/>
                  </a:lnTo>
                  <a:lnTo>
                    <a:pt x="595" y="419"/>
                  </a:lnTo>
                  <a:lnTo>
                    <a:pt x="615" y="429"/>
                  </a:lnTo>
                  <a:lnTo>
                    <a:pt x="634" y="448"/>
                  </a:lnTo>
                  <a:lnTo>
                    <a:pt x="654" y="468"/>
                  </a:lnTo>
                  <a:lnTo>
                    <a:pt x="654" y="478"/>
                  </a:lnTo>
                  <a:lnTo>
                    <a:pt x="664" y="487"/>
                  </a:lnTo>
                  <a:lnTo>
                    <a:pt x="673" y="487"/>
                  </a:lnTo>
                  <a:lnTo>
                    <a:pt x="693" y="497"/>
                  </a:lnTo>
                  <a:lnTo>
                    <a:pt x="703" y="487"/>
                  </a:lnTo>
                  <a:lnTo>
                    <a:pt x="722" y="507"/>
                  </a:lnTo>
                  <a:lnTo>
                    <a:pt x="732" y="497"/>
                  </a:lnTo>
                  <a:lnTo>
                    <a:pt x="751" y="526"/>
                  </a:lnTo>
                  <a:lnTo>
                    <a:pt x="781" y="507"/>
                  </a:lnTo>
                  <a:lnTo>
                    <a:pt x="771" y="487"/>
                  </a:lnTo>
                  <a:lnTo>
                    <a:pt x="790" y="458"/>
                  </a:lnTo>
                  <a:lnTo>
                    <a:pt x="790" y="439"/>
                  </a:lnTo>
                  <a:lnTo>
                    <a:pt x="761" y="429"/>
                  </a:lnTo>
                  <a:lnTo>
                    <a:pt x="771" y="419"/>
                  </a:lnTo>
                  <a:lnTo>
                    <a:pt x="790" y="400"/>
                  </a:lnTo>
                  <a:lnTo>
                    <a:pt x="839" y="351"/>
                  </a:lnTo>
                  <a:lnTo>
                    <a:pt x="820" y="341"/>
                  </a:lnTo>
                  <a:lnTo>
                    <a:pt x="800" y="322"/>
                  </a:lnTo>
                  <a:lnTo>
                    <a:pt x="771" y="331"/>
                  </a:lnTo>
                  <a:lnTo>
                    <a:pt x="751" y="312"/>
                  </a:lnTo>
                  <a:lnTo>
                    <a:pt x="742" y="292"/>
                  </a:lnTo>
                  <a:lnTo>
                    <a:pt x="742" y="263"/>
                  </a:lnTo>
                  <a:lnTo>
                    <a:pt x="722" y="243"/>
                  </a:lnTo>
                  <a:lnTo>
                    <a:pt x="712" y="204"/>
                  </a:lnTo>
                  <a:lnTo>
                    <a:pt x="703" y="175"/>
                  </a:lnTo>
                  <a:lnTo>
                    <a:pt x="693" y="185"/>
                  </a:lnTo>
                  <a:lnTo>
                    <a:pt x="673" y="204"/>
                  </a:lnTo>
                  <a:lnTo>
                    <a:pt x="654" y="214"/>
                  </a:lnTo>
                  <a:lnTo>
                    <a:pt x="654" y="204"/>
                  </a:lnTo>
                  <a:lnTo>
                    <a:pt x="673" y="185"/>
                  </a:lnTo>
                  <a:lnTo>
                    <a:pt x="664" y="175"/>
                  </a:lnTo>
                  <a:lnTo>
                    <a:pt x="644" y="175"/>
                  </a:lnTo>
                  <a:lnTo>
                    <a:pt x="644" y="165"/>
                  </a:lnTo>
                  <a:lnTo>
                    <a:pt x="664" y="165"/>
                  </a:lnTo>
                  <a:lnTo>
                    <a:pt x="673" y="165"/>
                  </a:lnTo>
                  <a:lnTo>
                    <a:pt x="673" y="136"/>
                  </a:lnTo>
                  <a:lnTo>
                    <a:pt x="654" y="126"/>
                  </a:lnTo>
                  <a:lnTo>
                    <a:pt x="654" y="107"/>
                  </a:lnTo>
                  <a:lnTo>
                    <a:pt x="644" y="107"/>
                  </a:lnTo>
                  <a:lnTo>
                    <a:pt x="634" y="97"/>
                  </a:lnTo>
                  <a:lnTo>
                    <a:pt x="595" y="97"/>
                  </a:lnTo>
                  <a:lnTo>
                    <a:pt x="576" y="97"/>
                  </a:lnTo>
                  <a:lnTo>
                    <a:pt x="556" y="87"/>
                  </a:lnTo>
                  <a:lnTo>
                    <a:pt x="546" y="87"/>
                  </a:lnTo>
                  <a:lnTo>
                    <a:pt x="517" y="87"/>
                  </a:lnTo>
                  <a:lnTo>
                    <a:pt x="498" y="78"/>
                  </a:lnTo>
                  <a:lnTo>
                    <a:pt x="459" y="97"/>
                  </a:lnTo>
                  <a:lnTo>
                    <a:pt x="459" y="117"/>
                  </a:lnTo>
                  <a:lnTo>
                    <a:pt x="449" y="136"/>
                  </a:lnTo>
                  <a:lnTo>
                    <a:pt x="449" y="156"/>
                  </a:lnTo>
                  <a:lnTo>
                    <a:pt x="429" y="165"/>
                  </a:lnTo>
                  <a:lnTo>
                    <a:pt x="429" y="156"/>
                  </a:lnTo>
                  <a:lnTo>
                    <a:pt x="429" y="146"/>
                  </a:lnTo>
                  <a:lnTo>
                    <a:pt x="420" y="156"/>
                  </a:lnTo>
                  <a:lnTo>
                    <a:pt x="410" y="156"/>
                  </a:lnTo>
                  <a:lnTo>
                    <a:pt x="400" y="156"/>
                  </a:lnTo>
                  <a:lnTo>
                    <a:pt x="390" y="156"/>
                  </a:lnTo>
                  <a:lnTo>
                    <a:pt x="390" y="136"/>
                  </a:lnTo>
                  <a:lnTo>
                    <a:pt x="390" y="126"/>
                  </a:lnTo>
                  <a:lnTo>
                    <a:pt x="371" y="87"/>
                  </a:lnTo>
                  <a:lnTo>
                    <a:pt x="361" y="87"/>
                  </a:lnTo>
                  <a:lnTo>
                    <a:pt x="342" y="87"/>
                  </a:lnTo>
                  <a:lnTo>
                    <a:pt x="351" y="78"/>
                  </a:lnTo>
                  <a:lnTo>
                    <a:pt x="361" y="87"/>
                  </a:lnTo>
                  <a:lnTo>
                    <a:pt x="371" y="78"/>
                  </a:lnTo>
                  <a:lnTo>
                    <a:pt x="371" y="68"/>
                  </a:lnTo>
                  <a:lnTo>
                    <a:pt x="371" y="48"/>
                  </a:lnTo>
                  <a:lnTo>
                    <a:pt x="371" y="29"/>
                  </a:lnTo>
                  <a:lnTo>
                    <a:pt x="371" y="9"/>
                  </a:lnTo>
                  <a:lnTo>
                    <a:pt x="361" y="0"/>
                  </a:lnTo>
                  <a:lnTo>
                    <a:pt x="342" y="9"/>
                  </a:lnTo>
                  <a:lnTo>
                    <a:pt x="332" y="9"/>
                  </a:lnTo>
                  <a:lnTo>
                    <a:pt x="312" y="19"/>
                  </a:lnTo>
                  <a:lnTo>
                    <a:pt x="312" y="29"/>
                  </a:lnTo>
                  <a:lnTo>
                    <a:pt x="303" y="39"/>
                  </a:lnTo>
                  <a:lnTo>
                    <a:pt x="303" y="48"/>
                  </a:lnTo>
                  <a:lnTo>
                    <a:pt x="303" y="68"/>
                  </a:lnTo>
                  <a:lnTo>
                    <a:pt x="312" y="78"/>
                  </a:lnTo>
                  <a:lnTo>
                    <a:pt x="322" y="87"/>
                  </a:lnTo>
                  <a:lnTo>
                    <a:pt x="312" y="107"/>
                  </a:lnTo>
                  <a:lnTo>
                    <a:pt x="293" y="107"/>
                  </a:lnTo>
                  <a:lnTo>
                    <a:pt x="293" y="126"/>
                  </a:lnTo>
                  <a:lnTo>
                    <a:pt x="283" y="126"/>
                  </a:lnTo>
                  <a:lnTo>
                    <a:pt x="264" y="126"/>
                  </a:lnTo>
                  <a:lnTo>
                    <a:pt x="244" y="117"/>
                  </a:lnTo>
                  <a:lnTo>
                    <a:pt x="244" y="107"/>
                  </a:lnTo>
                  <a:lnTo>
                    <a:pt x="244" y="87"/>
                  </a:lnTo>
                  <a:lnTo>
                    <a:pt x="234" y="78"/>
                  </a:lnTo>
                  <a:lnTo>
                    <a:pt x="225" y="78"/>
                  </a:lnTo>
                  <a:lnTo>
                    <a:pt x="205" y="7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76" y="87"/>
                  </a:lnTo>
                  <a:lnTo>
                    <a:pt x="156" y="107"/>
                  </a:lnTo>
                  <a:lnTo>
                    <a:pt x="147" y="117"/>
                  </a:lnTo>
                  <a:lnTo>
                    <a:pt x="137" y="136"/>
                  </a:lnTo>
                  <a:lnTo>
                    <a:pt x="137" y="156"/>
                  </a:lnTo>
                  <a:lnTo>
                    <a:pt x="147" y="175"/>
                  </a:lnTo>
                  <a:lnTo>
                    <a:pt x="156" y="185"/>
                  </a:lnTo>
                  <a:lnTo>
                    <a:pt x="156" y="204"/>
                  </a:lnTo>
                  <a:lnTo>
                    <a:pt x="137" y="214"/>
                  </a:lnTo>
                  <a:lnTo>
                    <a:pt x="98" y="243"/>
                  </a:lnTo>
                  <a:lnTo>
                    <a:pt x="88" y="243"/>
                  </a:lnTo>
                  <a:lnTo>
                    <a:pt x="88" y="263"/>
                  </a:lnTo>
                  <a:lnTo>
                    <a:pt x="49" y="273"/>
                  </a:lnTo>
                  <a:lnTo>
                    <a:pt x="29" y="292"/>
                  </a:lnTo>
                  <a:lnTo>
                    <a:pt x="20" y="302"/>
                  </a:lnTo>
                  <a:lnTo>
                    <a:pt x="20" y="322"/>
                  </a:lnTo>
                  <a:lnTo>
                    <a:pt x="0" y="331"/>
                  </a:lnTo>
                  <a:lnTo>
                    <a:pt x="0" y="361"/>
                  </a:lnTo>
                  <a:lnTo>
                    <a:pt x="0" y="380"/>
                  </a:lnTo>
                  <a:lnTo>
                    <a:pt x="10" y="400"/>
                  </a:lnTo>
                  <a:lnTo>
                    <a:pt x="20" y="409"/>
                  </a:lnTo>
                  <a:lnTo>
                    <a:pt x="29" y="439"/>
                  </a:lnTo>
                  <a:lnTo>
                    <a:pt x="49" y="439"/>
                  </a:lnTo>
                  <a:lnTo>
                    <a:pt x="59" y="448"/>
                  </a:lnTo>
                  <a:lnTo>
                    <a:pt x="69" y="458"/>
                  </a:lnTo>
                  <a:lnTo>
                    <a:pt x="78" y="487"/>
                  </a:lnTo>
                  <a:lnTo>
                    <a:pt x="88" y="487"/>
                  </a:lnTo>
                  <a:lnTo>
                    <a:pt x="108" y="487"/>
                  </a:lnTo>
                  <a:lnTo>
                    <a:pt x="127" y="497"/>
                  </a:lnTo>
                  <a:lnTo>
                    <a:pt x="137" y="507"/>
                  </a:lnTo>
                  <a:lnTo>
                    <a:pt x="127" y="517"/>
                  </a:lnTo>
                  <a:lnTo>
                    <a:pt x="137" y="526"/>
                  </a:lnTo>
                  <a:lnTo>
                    <a:pt x="147" y="536"/>
                  </a:lnTo>
                  <a:lnTo>
                    <a:pt x="156" y="556"/>
                  </a:lnTo>
                  <a:lnTo>
                    <a:pt x="186" y="575"/>
                  </a:lnTo>
                  <a:lnTo>
                    <a:pt x="205" y="575"/>
                  </a:lnTo>
                  <a:lnTo>
                    <a:pt x="215" y="575"/>
                  </a:lnTo>
                  <a:lnTo>
                    <a:pt x="234" y="585"/>
                  </a:lnTo>
                  <a:lnTo>
                    <a:pt x="225" y="595"/>
                  </a:lnTo>
                  <a:lnTo>
                    <a:pt x="234" y="604"/>
                  </a:lnTo>
                  <a:lnTo>
                    <a:pt x="244" y="624"/>
                  </a:lnTo>
                  <a:lnTo>
                    <a:pt x="254" y="634"/>
                  </a:lnTo>
                  <a:lnTo>
                    <a:pt x="273" y="624"/>
                  </a:lnTo>
                  <a:lnTo>
                    <a:pt x="293" y="614"/>
                  </a:lnTo>
                  <a:lnTo>
                    <a:pt x="303" y="634"/>
                  </a:lnTo>
                  <a:lnTo>
                    <a:pt x="293" y="644"/>
                  </a:lnTo>
                  <a:lnTo>
                    <a:pt x="303" y="663"/>
                  </a:lnTo>
                  <a:lnTo>
                    <a:pt x="312" y="673"/>
                  </a:lnTo>
                  <a:lnTo>
                    <a:pt x="322" y="673"/>
                  </a:lnTo>
                  <a:lnTo>
                    <a:pt x="332" y="683"/>
                  </a:lnTo>
                  <a:lnTo>
                    <a:pt x="332" y="702"/>
                  </a:lnTo>
                  <a:lnTo>
                    <a:pt x="351" y="692"/>
                  </a:lnTo>
                  <a:lnTo>
                    <a:pt x="381" y="722"/>
                  </a:lnTo>
                  <a:lnTo>
                    <a:pt x="351" y="741"/>
                  </a:lnTo>
                  <a:lnTo>
                    <a:pt x="381" y="751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363"/>
            <p:cNvSpPr>
              <a:spLocks/>
            </p:cNvSpPr>
            <p:nvPr/>
          </p:nvSpPr>
          <p:spPr bwMode="auto">
            <a:xfrm>
              <a:off x="1200" y="1911"/>
              <a:ext cx="252" cy="275"/>
            </a:xfrm>
            <a:custGeom>
              <a:avLst/>
              <a:gdLst>
                <a:gd name="T0" fmla="*/ 195 w 253"/>
                <a:gd name="T1" fmla="*/ 264 h 274"/>
                <a:gd name="T2" fmla="*/ 175 w 253"/>
                <a:gd name="T3" fmla="*/ 254 h 274"/>
                <a:gd name="T4" fmla="*/ 156 w 253"/>
                <a:gd name="T5" fmla="*/ 225 h 274"/>
                <a:gd name="T6" fmla="*/ 136 w 253"/>
                <a:gd name="T7" fmla="*/ 205 h 274"/>
                <a:gd name="T8" fmla="*/ 117 w 253"/>
                <a:gd name="T9" fmla="*/ 205 h 274"/>
                <a:gd name="T10" fmla="*/ 97 w 253"/>
                <a:gd name="T11" fmla="*/ 186 h 274"/>
                <a:gd name="T12" fmla="*/ 68 w 253"/>
                <a:gd name="T13" fmla="*/ 176 h 274"/>
                <a:gd name="T14" fmla="*/ 68 w 253"/>
                <a:gd name="T15" fmla="*/ 156 h 274"/>
                <a:gd name="T16" fmla="*/ 58 w 253"/>
                <a:gd name="T17" fmla="*/ 156 h 274"/>
                <a:gd name="T18" fmla="*/ 39 w 253"/>
                <a:gd name="T19" fmla="*/ 156 h 274"/>
                <a:gd name="T20" fmla="*/ 29 w 253"/>
                <a:gd name="T21" fmla="*/ 137 h 274"/>
                <a:gd name="T22" fmla="*/ 29 w 253"/>
                <a:gd name="T23" fmla="*/ 137 h 274"/>
                <a:gd name="T24" fmla="*/ 19 w 253"/>
                <a:gd name="T25" fmla="*/ 127 h 274"/>
                <a:gd name="T26" fmla="*/ 19 w 253"/>
                <a:gd name="T27" fmla="*/ 117 h 274"/>
                <a:gd name="T28" fmla="*/ 29 w 253"/>
                <a:gd name="T29" fmla="*/ 117 h 274"/>
                <a:gd name="T30" fmla="*/ 29 w 253"/>
                <a:gd name="T31" fmla="*/ 98 h 274"/>
                <a:gd name="T32" fmla="*/ 29 w 253"/>
                <a:gd name="T33" fmla="*/ 88 h 274"/>
                <a:gd name="T34" fmla="*/ 19 w 253"/>
                <a:gd name="T35" fmla="*/ 78 h 274"/>
                <a:gd name="T36" fmla="*/ 19 w 253"/>
                <a:gd name="T37" fmla="*/ 69 h 274"/>
                <a:gd name="T38" fmla="*/ 10 w 253"/>
                <a:gd name="T39" fmla="*/ 59 h 274"/>
                <a:gd name="T40" fmla="*/ 0 w 253"/>
                <a:gd name="T41" fmla="*/ 39 h 274"/>
                <a:gd name="T42" fmla="*/ 0 w 253"/>
                <a:gd name="T43" fmla="*/ 39 h 274"/>
                <a:gd name="T44" fmla="*/ 10 w 253"/>
                <a:gd name="T45" fmla="*/ 39 h 274"/>
                <a:gd name="T46" fmla="*/ 19 w 253"/>
                <a:gd name="T47" fmla="*/ 39 h 274"/>
                <a:gd name="T48" fmla="*/ 29 w 253"/>
                <a:gd name="T49" fmla="*/ 30 h 274"/>
                <a:gd name="T50" fmla="*/ 39 w 253"/>
                <a:gd name="T51" fmla="*/ 20 h 274"/>
                <a:gd name="T52" fmla="*/ 49 w 253"/>
                <a:gd name="T53" fmla="*/ 30 h 274"/>
                <a:gd name="T54" fmla="*/ 58 w 253"/>
                <a:gd name="T55" fmla="*/ 39 h 274"/>
                <a:gd name="T56" fmla="*/ 68 w 253"/>
                <a:gd name="T57" fmla="*/ 30 h 274"/>
                <a:gd name="T58" fmla="*/ 68 w 253"/>
                <a:gd name="T59" fmla="*/ 10 h 274"/>
                <a:gd name="T60" fmla="*/ 68 w 253"/>
                <a:gd name="T61" fmla="*/ 0 h 274"/>
                <a:gd name="T62" fmla="*/ 107 w 253"/>
                <a:gd name="T63" fmla="*/ 10 h 274"/>
                <a:gd name="T64" fmla="*/ 117 w 253"/>
                <a:gd name="T65" fmla="*/ 10 h 274"/>
                <a:gd name="T66" fmla="*/ 127 w 253"/>
                <a:gd name="T67" fmla="*/ 10 h 274"/>
                <a:gd name="T68" fmla="*/ 136 w 253"/>
                <a:gd name="T69" fmla="*/ 10 h 274"/>
                <a:gd name="T70" fmla="*/ 136 w 253"/>
                <a:gd name="T71" fmla="*/ 10 h 274"/>
                <a:gd name="T72" fmla="*/ 156 w 253"/>
                <a:gd name="T73" fmla="*/ 30 h 274"/>
                <a:gd name="T74" fmla="*/ 175 w 253"/>
                <a:gd name="T75" fmla="*/ 39 h 274"/>
                <a:gd name="T76" fmla="*/ 166 w 253"/>
                <a:gd name="T77" fmla="*/ 49 h 274"/>
                <a:gd name="T78" fmla="*/ 156 w 253"/>
                <a:gd name="T79" fmla="*/ 59 h 274"/>
                <a:gd name="T80" fmla="*/ 156 w 253"/>
                <a:gd name="T81" fmla="*/ 59 h 274"/>
                <a:gd name="T82" fmla="*/ 175 w 253"/>
                <a:gd name="T83" fmla="*/ 69 h 274"/>
                <a:gd name="T84" fmla="*/ 195 w 253"/>
                <a:gd name="T85" fmla="*/ 78 h 274"/>
                <a:gd name="T86" fmla="*/ 195 w 253"/>
                <a:gd name="T87" fmla="*/ 108 h 274"/>
                <a:gd name="T88" fmla="*/ 205 w 253"/>
                <a:gd name="T89" fmla="*/ 127 h 274"/>
                <a:gd name="T90" fmla="*/ 205 w 253"/>
                <a:gd name="T91" fmla="*/ 156 h 274"/>
                <a:gd name="T92" fmla="*/ 205 w 253"/>
                <a:gd name="T93" fmla="*/ 176 h 274"/>
                <a:gd name="T94" fmla="*/ 205 w 253"/>
                <a:gd name="T95" fmla="*/ 156 h 274"/>
                <a:gd name="T96" fmla="*/ 205 w 253"/>
                <a:gd name="T97" fmla="*/ 176 h 274"/>
                <a:gd name="T98" fmla="*/ 224 w 253"/>
                <a:gd name="T99" fmla="*/ 186 h 274"/>
                <a:gd name="T100" fmla="*/ 224 w 253"/>
                <a:gd name="T101" fmla="*/ 205 h 274"/>
                <a:gd name="T102" fmla="*/ 224 w 253"/>
                <a:gd name="T103" fmla="*/ 205 h 274"/>
                <a:gd name="T104" fmla="*/ 253 w 253"/>
                <a:gd name="T105" fmla="*/ 215 h 274"/>
                <a:gd name="T106" fmla="*/ 253 w 253"/>
                <a:gd name="T107" fmla="*/ 225 h 274"/>
                <a:gd name="T108" fmla="*/ 244 w 253"/>
                <a:gd name="T109" fmla="*/ 234 h 274"/>
                <a:gd name="T110" fmla="*/ 244 w 253"/>
                <a:gd name="T111" fmla="*/ 254 h 274"/>
                <a:gd name="T112" fmla="*/ 234 w 253"/>
                <a:gd name="T113" fmla="*/ 244 h 274"/>
                <a:gd name="T114" fmla="*/ 224 w 253"/>
                <a:gd name="T115" fmla="*/ 234 h 274"/>
                <a:gd name="T116" fmla="*/ 214 w 253"/>
                <a:gd name="T117" fmla="*/ 244 h 274"/>
                <a:gd name="T118" fmla="*/ 205 w 253"/>
                <a:gd name="T119" fmla="*/ 264 h 274"/>
                <a:gd name="T120" fmla="*/ 195 w 253"/>
                <a:gd name="T121" fmla="*/ 274 h 274"/>
                <a:gd name="T122" fmla="*/ 195 w 253"/>
                <a:gd name="T123" fmla="*/ 264 h 2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3"/>
                <a:gd name="T187" fmla="*/ 0 h 274"/>
                <a:gd name="T188" fmla="*/ 253 w 253"/>
                <a:gd name="T189" fmla="*/ 274 h 2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3" h="274">
                  <a:moveTo>
                    <a:pt x="195" y="264"/>
                  </a:moveTo>
                  <a:lnTo>
                    <a:pt x="175" y="254"/>
                  </a:lnTo>
                  <a:lnTo>
                    <a:pt x="156" y="225"/>
                  </a:lnTo>
                  <a:lnTo>
                    <a:pt x="136" y="205"/>
                  </a:lnTo>
                  <a:lnTo>
                    <a:pt x="117" y="205"/>
                  </a:lnTo>
                  <a:lnTo>
                    <a:pt x="97" y="186"/>
                  </a:lnTo>
                  <a:lnTo>
                    <a:pt x="68" y="17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39" y="156"/>
                  </a:lnTo>
                  <a:lnTo>
                    <a:pt x="29" y="13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29" y="117"/>
                  </a:lnTo>
                  <a:lnTo>
                    <a:pt x="29" y="98"/>
                  </a:lnTo>
                  <a:lnTo>
                    <a:pt x="29" y="88"/>
                  </a:lnTo>
                  <a:lnTo>
                    <a:pt x="19" y="78"/>
                  </a:lnTo>
                  <a:lnTo>
                    <a:pt x="19" y="69"/>
                  </a:lnTo>
                  <a:lnTo>
                    <a:pt x="1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19" y="39"/>
                  </a:lnTo>
                  <a:lnTo>
                    <a:pt x="29" y="30"/>
                  </a:lnTo>
                  <a:lnTo>
                    <a:pt x="39" y="20"/>
                  </a:lnTo>
                  <a:lnTo>
                    <a:pt x="49" y="30"/>
                  </a:lnTo>
                  <a:lnTo>
                    <a:pt x="58" y="39"/>
                  </a:lnTo>
                  <a:lnTo>
                    <a:pt x="68" y="30"/>
                  </a:lnTo>
                  <a:lnTo>
                    <a:pt x="68" y="10"/>
                  </a:lnTo>
                  <a:lnTo>
                    <a:pt x="68" y="0"/>
                  </a:lnTo>
                  <a:lnTo>
                    <a:pt x="107" y="10"/>
                  </a:lnTo>
                  <a:lnTo>
                    <a:pt x="117" y="10"/>
                  </a:lnTo>
                  <a:lnTo>
                    <a:pt x="127" y="10"/>
                  </a:lnTo>
                  <a:lnTo>
                    <a:pt x="136" y="10"/>
                  </a:lnTo>
                  <a:lnTo>
                    <a:pt x="156" y="3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56" y="59"/>
                  </a:lnTo>
                  <a:lnTo>
                    <a:pt x="175" y="69"/>
                  </a:lnTo>
                  <a:lnTo>
                    <a:pt x="195" y="78"/>
                  </a:lnTo>
                  <a:lnTo>
                    <a:pt x="195" y="108"/>
                  </a:lnTo>
                  <a:lnTo>
                    <a:pt x="205" y="127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24" y="186"/>
                  </a:lnTo>
                  <a:lnTo>
                    <a:pt x="224" y="205"/>
                  </a:lnTo>
                  <a:lnTo>
                    <a:pt x="253" y="215"/>
                  </a:lnTo>
                  <a:lnTo>
                    <a:pt x="253" y="225"/>
                  </a:lnTo>
                  <a:lnTo>
                    <a:pt x="244" y="234"/>
                  </a:lnTo>
                  <a:lnTo>
                    <a:pt x="244" y="254"/>
                  </a:lnTo>
                  <a:lnTo>
                    <a:pt x="234" y="244"/>
                  </a:lnTo>
                  <a:lnTo>
                    <a:pt x="224" y="234"/>
                  </a:lnTo>
                  <a:lnTo>
                    <a:pt x="214" y="24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95" y="26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362"/>
            <p:cNvSpPr>
              <a:spLocks/>
            </p:cNvSpPr>
            <p:nvPr/>
          </p:nvSpPr>
          <p:spPr bwMode="auto">
            <a:xfrm>
              <a:off x="1171" y="2050"/>
              <a:ext cx="225" cy="291"/>
            </a:xfrm>
            <a:custGeom>
              <a:avLst/>
              <a:gdLst>
                <a:gd name="T0" fmla="*/ 137 w 225"/>
                <a:gd name="T1" fmla="*/ 283 h 293"/>
                <a:gd name="T2" fmla="*/ 147 w 225"/>
                <a:gd name="T3" fmla="*/ 263 h 293"/>
                <a:gd name="T4" fmla="*/ 166 w 225"/>
                <a:gd name="T5" fmla="*/ 244 h 293"/>
                <a:gd name="T6" fmla="*/ 186 w 225"/>
                <a:gd name="T7" fmla="*/ 244 h 293"/>
                <a:gd name="T8" fmla="*/ 186 w 225"/>
                <a:gd name="T9" fmla="*/ 224 h 293"/>
                <a:gd name="T10" fmla="*/ 186 w 225"/>
                <a:gd name="T11" fmla="*/ 215 h 293"/>
                <a:gd name="T12" fmla="*/ 186 w 225"/>
                <a:gd name="T13" fmla="*/ 205 h 293"/>
                <a:gd name="T14" fmla="*/ 186 w 225"/>
                <a:gd name="T15" fmla="*/ 205 h 293"/>
                <a:gd name="T16" fmla="*/ 196 w 225"/>
                <a:gd name="T17" fmla="*/ 205 h 293"/>
                <a:gd name="T18" fmla="*/ 205 w 225"/>
                <a:gd name="T19" fmla="*/ 195 h 293"/>
                <a:gd name="T20" fmla="*/ 215 w 225"/>
                <a:gd name="T21" fmla="*/ 185 h 293"/>
                <a:gd name="T22" fmla="*/ 215 w 225"/>
                <a:gd name="T23" fmla="*/ 176 h 293"/>
                <a:gd name="T24" fmla="*/ 205 w 225"/>
                <a:gd name="T25" fmla="*/ 166 h 293"/>
                <a:gd name="T26" fmla="*/ 215 w 225"/>
                <a:gd name="T27" fmla="*/ 156 h 293"/>
                <a:gd name="T28" fmla="*/ 225 w 225"/>
                <a:gd name="T29" fmla="*/ 156 h 293"/>
                <a:gd name="T30" fmla="*/ 225 w 225"/>
                <a:gd name="T31" fmla="*/ 137 h 293"/>
                <a:gd name="T32" fmla="*/ 225 w 225"/>
                <a:gd name="T33" fmla="*/ 127 h 293"/>
                <a:gd name="T34" fmla="*/ 215 w 225"/>
                <a:gd name="T35" fmla="*/ 117 h 293"/>
                <a:gd name="T36" fmla="*/ 186 w 225"/>
                <a:gd name="T37" fmla="*/ 88 h 293"/>
                <a:gd name="T38" fmla="*/ 166 w 225"/>
                <a:gd name="T39" fmla="*/ 78 h 293"/>
                <a:gd name="T40" fmla="*/ 147 w 225"/>
                <a:gd name="T41" fmla="*/ 68 h 293"/>
                <a:gd name="T42" fmla="*/ 127 w 225"/>
                <a:gd name="T43" fmla="*/ 58 h 293"/>
                <a:gd name="T44" fmla="*/ 108 w 225"/>
                <a:gd name="T45" fmla="*/ 39 h 293"/>
                <a:gd name="T46" fmla="*/ 98 w 225"/>
                <a:gd name="T47" fmla="*/ 19 h 293"/>
                <a:gd name="T48" fmla="*/ 88 w 225"/>
                <a:gd name="T49" fmla="*/ 19 h 293"/>
                <a:gd name="T50" fmla="*/ 79 w 225"/>
                <a:gd name="T51" fmla="*/ 19 h 293"/>
                <a:gd name="T52" fmla="*/ 69 w 225"/>
                <a:gd name="T53" fmla="*/ 0 h 293"/>
                <a:gd name="T54" fmla="*/ 59 w 225"/>
                <a:gd name="T55" fmla="*/ 0 h 293"/>
                <a:gd name="T56" fmla="*/ 49 w 225"/>
                <a:gd name="T57" fmla="*/ 0 h 293"/>
                <a:gd name="T58" fmla="*/ 40 w 225"/>
                <a:gd name="T59" fmla="*/ 10 h 293"/>
                <a:gd name="T60" fmla="*/ 40 w 225"/>
                <a:gd name="T61" fmla="*/ 19 h 293"/>
                <a:gd name="T62" fmla="*/ 10 w 225"/>
                <a:gd name="T63" fmla="*/ 19 h 293"/>
                <a:gd name="T64" fmla="*/ 0 w 225"/>
                <a:gd name="T65" fmla="*/ 49 h 293"/>
                <a:gd name="T66" fmla="*/ 0 w 225"/>
                <a:gd name="T67" fmla="*/ 58 h 293"/>
                <a:gd name="T68" fmla="*/ 20 w 225"/>
                <a:gd name="T69" fmla="*/ 58 h 293"/>
                <a:gd name="T70" fmla="*/ 30 w 225"/>
                <a:gd name="T71" fmla="*/ 68 h 293"/>
                <a:gd name="T72" fmla="*/ 30 w 225"/>
                <a:gd name="T73" fmla="*/ 88 h 293"/>
                <a:gd name="T74" fmla="*/ 30 w 225"/>
                <a:gd name="T75" fmla="*/ 117 h 293"/>
                <a:gd name="T76" fmla="*/ 49 w 225"/>
                <a:gd name="T77" fmla="*/ 127 h 293"/>
                <a:gd name="T78" fmla="*/ 59 w 225"/>
                <a:gd name="T79" fmla="*/ 127 h 293"/>
                <a:gd name="T80" fmla="*/ 79 w 225"/>
                <a:gd name="T81" fmla="*/ 146 h 293"/>
                <a:gd name="T82" fmla="*/ 88 w 225"/>
                <a:gd name="T83" fmla="*/ 146 h 293"/>
                <a:gd name="T84" fmla="*/ 88 w 225"/>
                <a:gd name="T85" fmla="*/ 156 h 293"/>
                <a:gd name="T86" fmla="*/ 79 w 225"/>
                <a:gd name="T87" fmla="*/ 166 h 293"/>
                <a:gd name="T88" fmla="*/ 79 w 225"/>
                <a:gd name="T89" fmla="*/ 185 h 293"/>
                <a:gd name="T90" fmla="*/ 69 w 225"/>
                <a:gd name="T91" fmla="*/ 205 h 293"/>
                <a:gd name="T92" fmla="*/ 79 w 225"/>
                <a:gd name="T93" fmla="*/ 224 h 293"/>
                <a:gd name="T94" fmla="*/ 88 w 225"/>
                <a:gd name="T95" fmla="*/ 234 h 293"/>
                <a:gd name="T96" fmla="*/ 98 w 225"/>
                <a:gd name="T97" fmla="*/ 224 h 293"/>
                <a:gd name="T98" fmla="*/ 98 w 225"/>
                <a:gd name="T99" fmla="*/ 234 h 293"/>
                <a:gd name="T100" fmla="*/ 108 w 225"/>
                <a:gd name="T101" fmla="*/ 254 h 293"/>
                <a:gd name="T102" fmla="*/ 108 w 225"/>
                <a:gd name="T103" fmla="*/ 283 h 293"/>
                <a:gd name="T104" fmla="*/ 108 w 225"/>
                <a:gd name="T105" fmla="*/ 293 h 293"/>
                <a:gd name="T106" fmla="*/ 127 w 225"/>
                <a:gd name="T107" fmla="*/ 283 h 293"/>
                <a:gd name="T108" fmla="*/ 137 w 225"/>
                <a:gd name="T109" fmla="*/ 283 h 29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5"/>
                <a:gd name="T166" fmla="*/ 0 h 293"/>
                <a:gd name="T167" fmla="*/ 225 w 225"/>
                <a:gd name="T168" fmla="*/ 293 h 29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5" h="293">
                  <a:moveTo>
                    <a:pt x="137" y="283"/>
                  </a:moveTo>
                  <a:lnTo>
                    <a:pt x="147" y="263"/>
                  </a:lnTo>
                  <a:lnTo>
                    <a:pt x="166" y="244"/>
                  </a:lnTo>
                  <a:lnTo>
                    <a:pt x="186" y="244"/>
                  </a:lnTo>
                  <a:lnTo>
                    <a:pt x="186" y="224"/>
                  </a:lnTo>
                  <a:lnTo>
                    <a:pt x="186" y="215"/>
                  </a:lnTo>
                  <a:lnTo>
                    <a:pt x="186" y="205"/>
                  </a:lnTo>
                  <a:lnTo>
                    <a:pt x="196" y="205"/>
                  </a:lnTo>
                  <a:lnTo>
                    <a:pt x="205" y="195"/>
                  </a:lnTo>
                  <a:lnTo>
                    <a:pt x="215" y="185"/>
                  </a:lnTo>
                  <a:lnTo>
                    <a:pt x="215" y="176"/>
                  </a:lnTo>
                  <a:lnTo>
                    <a:pt x="205" y="166"/>
                  </a:lnTo>
                  <a:lnTo>
                    <a:pt x="215" y="156"/>
                  </a:lnTo>
                  <a:lnTo>
                    <a:pt x="225" y="156"/>
                  </a:lnTo>
                  <a:lnTo>
                    <a:pt x="225" y="137"/>
                  </a:lnTo>
                  <a:lnTo>
                    <a:pt x="225" y="127"/>
                  </a:lnTo>
                  <a:lnTo>
                    <a:pt x="215" y="117"/>
                  </a:lnTo>
                  <a:lnTo>
                    <a:pt x="186" y="88"/>
                  </a:lnTo>
                  <a:lnTo>
                    <a:pt x="166" y="78"/>
                  </a:lnTo>
                  <a:lnTo>
                    <a:pt x="147" y="68"/>
                  </a:lnTo>
                  <a:lnTo>
                    <a:pt x="127" y="58"/>
                  </a:lnTo>
                  <a:lnTo>
                    <a:pt x="108" y="39"/>
                  </a:lnTo>
                  <a:lnTo>
                    <a:pt x="98" y="19"/>
                  </a:lnTo>
                  <a:lnTo>
                    <a:pt x="88" y="19"/>
                  </a:lnTo>
                  <a:lnTo>
                    <a:pt x="79" y="19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0"/>
                  </a:lnTo>
                  <a:lnTo>
                    <a:pt x="40" y="10"/>
                  </a:lnTo>
                  <a:lnTo>
                    <a:pt x="40" y="19"/>
                  </a:lnTo>
                  <a:lnTo>
                    <a:pt x="10" y="19"/>
                  </a:lnTo>
                  <a:lnTo>
                    <a:pt x="0" y="49"/>
                  </a:lnTo>
                  <a:lnTo>
                    <a:pt x="0" y="58"/>
                  </a:lnTo>
                  <a:lnTo>
                    <a:pt x="20" y="58"/>
                  </a:lnTo>
                  <a:lnTo>
                    <a:pt x="30" y="68"/>
                  </a:lnTo>
                  <a:lnTo>
                    <a:pt x="30" y="88"/>
                  </a:lnTo>
                  <a:lnTo>
                    <a:pt x="30" y="117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79" y="146"/>
                  </a:lnTo>
                  <a:lnTo>
                    <a:pt x="88" y="146"/>
                  </a:lnTo>
                  <a:lnTo>
                    <a:pt x="88" y="156"/>
                  </a:lnTo>
                  <a:lnTo>
                    <a:pt x="79" y="166"/>
                  </a:lnTo>
                  <a:lnTo>
                    <a:pt x="79" y="185"/>
                  </a:lnTo>
                  <a:lnTo>
                    <a:pt x="69" y="205"/>
                  </a:lnTo>
                  <a:lnTo>
                    <a:pt x="79" y="224"/>
                  </a:lnTo>
                  <a:lnTo>
                    <a:pt x="88" y="234"/>
                  </a:lnTo>
                  <a:lnTo>
                    <a:pt x="98" y="224"/>
                  </a:lnTo>
                  <a:lnTo>
                    <a:pt x="98" y="234"/>
                  </a:lnTo>
                  <a:lnTo>
                    <a:pt x="108" y="25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83"/>
                  </a:lnTo>
                  <a:lnTo>
                    <a:pt x="137" y="28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361"/>
            <p:cNvSpPr>
              <a:spLocks/>
            </p:cNvSpPr>
            <p:nvPr/>
          </p:nvSpPr>
          <p:spPr bwMode="auto">
            <a:xfrm>
              <a:off x="1329" y="1864"/>
              <a:ext cx="203" cy="233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5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8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175 w 204"/>
                <a:gd name="T99" fmla="*/ 78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"/>
                <a:gd name="T151" fmla="*/ 0 h 234"/>
                <a:gd name="T152" fmla="*/ 204 w 204"/>
                <a:gd name="T153" fmla="*/ 234 h 23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8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  <a:lnTo>
                    <a:pt x="175" y="7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360"/>
            <p:cNvSpPr>
              <a:spLocks/>
            </p:cNvSpPr>
            <p:nvPr/>
          </p:nvSpPr>
          <p:spPr bwMode="auto">
            <a:xfrm>
              <a:off x="1329" y="1864"/>
              <a:ext cx="203" cy="233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4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9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4"/>
                <a:gd name="T148" fmla="*/ 0 h 234"/>
                <a:gd name="T149" fmla="*/ 204 w 204"/>
                <a:gd name="T150" fmla="*/ 234 h 2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48" y="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9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</a:path>
              </a:pathLst>
            </a:custGeom>
            <a:noFill/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359"/>
            <p:cNvSpPr>
              <a:spLocks/>
            </p:cNvSpPr>
            <p:nvPr/>
          </p:nvSpPr>
          <p:spPr bwMode="auto">
            <a:xfrm>
              <a:off x="1491" y="1864"/>
              <a:ext cx="206" cy="216"/>
            </a:xfrm>
            <a:custGeom>
              <a:avLst/>
              <a:gdLst>
                <a:gd name="T0" fmla="*/ 137 w 205"/>
                <a:gd name="T1" fmla="*/ 204 h 214"/>
                <a:gd name="T2" fmla="*/ 117 w 205"/>
                <a:gd name="T3" fmla="*/ 204 h 214"/>
                <a:gd name="T4" fmla="*/ 88 w 205"/>
                <a:gd name="T5" fmla="*/ 204 h 214"/>
                <a:gd name="T6" fmla="*/ 78 w 205"/>
                <a:gd name="T7" fmla="*/ 214 h 214"/>
                <a:gd name="T8" fmla="*/ 69 w 205"/>
                <a:gd name="T9" fmla="*/ 214 h 214"/>
                <a:gd name="T10" fmla="*/ 49 w 205"/>
                <a:gd name="T11" fmla="*/ 204 h 214"/>
                <a:gd name="T12" fmla="*/ 49 w 205"/>
                <a:gd name="T13" fmla="*/ 195 h 214"/>
                <a:gd name="T14" fmla="*/ 39 w 205"/>
                <a:gd name="T15" fmla="*/ 175 h 214"/>
                <a:gd name="T16" fmla="*/ 30 w 205"/>
                <a:gd name="T17" fmla="*/ 156 h 214"/>
                <a:gd name="T18" fmla="*/ 30 w 205"/>
                <a:gd name="T19" fmla="*/ 146 h 214"/>
                <a:gd name="T20" fmla="*/ 30 w 205"/>
                <a:gd name="T21" fmla="*/ 136 h 214"/>
                <a:gd name="T22" fmla="*/ 10 w 205"/>
                <a:gd name="T23" fmla="*/ 117 h 214"/>
                <a:gd name="T24" fmla="*/ 0 w 205"/>
                <a:gd name="T25" fmla="*/ 97 h 214"/>
                <a:gd name="T26" fmla="*/ 10 w 205"/>
                <a:gd name="T27" fmla="*/ 78 h 214"/>
                <a:gd name="T28" fmla="*/ 10 w 205"/>
                <a:gd name="T29" fmla="*/ 58 h 214"/>
                <a:gd name="T30" fmla="*/ 10 w 205"/>
                <a:gd name="T31" fmla="*/ 48 h 214"/>
                <a:gd name="T32" fmla="*/ 10 w 205"/>
                <a:gd name="T33" fmla="*/ 39 h 214"/>
                <a:gd name="T34" fmla="*/ 20 w 205"/>
                <a:gd name="T35" fmla="*/ 39 h 214"/>
                <a:gd name="T36" fmla="*/ 30 w 205"/>
                <a:gd name="T37" fmla="*/ 29 h 214"/>
                <a:gd name="T38" fmla="*/ 49 w 205"/>
                <a:gd name="T39" fmla="*/ 29 h 214"/>
                <a:gd name="T40" fmla="*/ 69 w 205"/>
                <a:gd name="T41" fmla="*/ 29 h 214"/>
                <a:gd name="T42" fmla="*/ 69 w 205"/>
                <a:gd name="T43" fmla="*/ 9 h 214"/>
                <a:gd name="T44" fmla="*/ 78 w 205"/>
                <a:gd name="T45" fmla="*/ 0 h 214"/>
                <a:gd name="T46" fmla="*/ 78 w 205"/>
                <a:gd name="T47" fmla="*/ 9 h 214"/>
                <a:gd name="T48" fmla="*/ 98 w 205"/>
                <a:gd name="T49" fmla="*/ 29 h 214"/>
                <a:gd name="T50" fmla="*/ 108 w 205"/>
                <a:gd name="T51" fmla="*/ 39 h 214"/>
                <a:gd name="T52" fmla="*/ 137 w 205"/>
                <a:gd name="T53" fmla="*/ 39 h 214"/>
                <a:gd name="T54" fmla="*/ 166 w 205"/>
                <a:gd name="T55" fmla="*/ 39 h 214"/>
                <a:gd name="T56" fmla="*/ 176 w 205"/>
                <a:gd name="T57" fmla="*/ 39 h 214"/>
                <a:gd name="T58" fmla="*/ 176 w 205"/>
                <a:gd name="T59" fmla="*/ 48 h 214"/>
                <a:gd name="T60" fmla="*/ 176 w 205"/>
                <a:gd name="T61" fmla="*/ 58 h 214"/>
                <a:gd name="T62" fmla="*/ 195 w 205"/>
                <a:gd name="T63" fmla="*/ 58 h 214"/>
                <a:gd name="T64" fmla="*/ 205 w 205"/>
                <a:gd name="T65" fmla="*/ 58 h 214"/>
                <a:gd name="T66" fmla="*/ 195 w 205"/>
                <a:gd name="T67" fmla="*/ 68 h 214"/>
                <a:gd name="T68" fmla="*/ 205 w 205"/>
                <a:gd name="T69" fmla="*/ 87 h 214"/>
                <a:gd name="T70" fmla="*/ 195 w 205"/>
                <a:gd name="T71" fmla="*/ 97 h 214"/>
                <a:gd name="T72" fmla="*/ 186 w 205"/>
                <a:gd name="T73" fmla="*/ 107 h 214"/>
                <a:gd name="T74" fmla="*/ 186 w 205"/>
                <a:gd name="T75" fmla="*/ 117 h 214"/>
                <a:gd name="T76" fmla="*/ 186 w 205"/>
                <a:gd name="T77" fmla="*/ 136 h 214"/>
                <a:gd name="T78" fmla="*/ 186 w 205"/>
                <a:gd name="T79" fmla="*/ 146 h 214"/>
                <a:gd name="T80" fmla="*/ 176 w 205"/>
                <a:gd name="T81" fmla="*/ 156 h 214"/>
                <a:gd name="T82" fmla="*/ 156 w 205"/>
                <a:gd name="T83" fmla="*/ 175 h 214"/>
                <a:gd name="T84" fmla="*/ 137 w 205"/>
                <a:gd name="T85" fmla="*/ 204 h 21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5"/>
                <a:gd name="T130" fmla="*/ 0 h 214"/>
                <a:gd name="T131" fmla="*/ 205 w 205"/>
                <a:gd name="T132" fmla="*/ 214 h 21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5" h="214">
                  <a:moveTo>
                    <a:pt x="137" y="204"/>
                  </a:moveTo>
                  <a:lnTo>
                    <a:pt x="117" y="204"/>
                  </a:lnTo>
                  <a:lnTo>
                    <a:pt x="88" y="204"/>
                  </a:lnTo>
                  <a:lnTo>
                    <a:pt x="78" y="214"/>
                  </a:lnTo>
                  <a:lnTo>
                    <a:pt x="69" y="214"/>
                  </a:lnTo>
                  <a:lnTo>
                    <a:pt x="49" y="204"/>
                  </a:lnTo>
                  <a:lnTo>
                    <a:pt x="49" y="195"/>
                  </a:lnTo>
                  <a:lnTo>
                    <a:pt x="39" y="175"/>
                  </a:lnTo>
                  <a:lnTo>
                    <a:pt x="30" y="156"/>
                  </a:lnTo>
                  <a:lnTo>
                    <a:pt x="30" y="146"/>
                  </a:lnTo>
                  <a:lnTo>
                    <a:pt x="30" y="136"/>
                  </a:lnTo>
                  <a:lnTo>
                    <a:pt x="10" y="117"/>
                  </a:lnTo>
                  <a:lnTo>
                    <a:pt x="0" y="97"/>
                  </a:lnTo>
                  <a:lnTo>
                    <a:pt x="10" y="78"/>
                  </a:lnTo>
                  <a:lnTo>
                    <a:pt x="10" y="58"/>
                  </a:lnTo>
                  <a:lnTo>
                    <a:pt x="10" y="48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29"/>
                  </a:lnTo>
                  <a:lnTo>
                    <a:pt x="49" y="29"/>
                  </a:lnTo>
                  <a:lnTo>
                    <a:pt x="69" y="29"/>
                  </a:lnTo>
                  <a:lnTo>
                    <a:pt x="69" y="9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98" y="29"/>
                  </a:lnTo>
                  <a:lnTo>
                    <a:pt x="108" y="39"/>
                  </a:lnTo>
                  <a:lnTo>
                    <a:pt x="137" y="39"/>
                  </a:lnTo>
                  <a:lnTo>
                    <a:pt x="166" y="39"/>
                  </a:lnTo>
                  <a:lnTo>
                    <a:pt x="176" y="39"/>
                  </a:lnTo>
                  <a:lnTo>
                    <a:pt x="176" y="48"/>
                  </a:lnTo>
                  <a:lnTo>
                    <a:pt x="176" y="58"/>
                  </a:lnTo>
                  <a:lnTo>
                    <a:pt x="195" y="58"/>
                  </a:lnTo>
                  <a:lnTo>
                    <a:pt x="205" y="58"/>
                  </a:lnTo>
                  <a:lnTo>
                    <a:pt x="195" y="68"/>
                  </a:lnTo>
                  <a:lnTo>
                    <a:pt x="205" y="87"/>
                  </a:lnTo>
                  <a:lnTo>
                    <a:pt x="195" y="97"/>
                  </a:lnTo>
                  <a:lnTo>
                    <a:pt x="186" y="107"/>
                  </a:lnTo>
                  <a:lnTo>
                    <a:pt x="186" y="117"/>
                  </a:lnTo>
                  <a:lnTo>
                    <a:pt x="186" y="136"/>
                  </a:lnTo>
                  <a:lnTo>
                    <a:pt x="186" y="146"/>
                  </a:lnTo>
                  <a:lnTo>
                    <a:pt x="176" y="156"/>
                  </a:lnTo>
                  <a:lnTo>
                    <a:pt x="156" y="175"/>
                  </a:lnTo>
                  <a:lnTo>
                    <a:pt x="137" y="20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358"/>
            <p:cNvSpPr>
              <a:spLocks/>
            </p:cNvSpPr>
            <p:nvPr/>
          </p:nvSpPr>
          <p:spPr bwMode="auto">
            <a:xfrm>
              <a:off x="1631" y="1982"/>
              <a:ext cx="271" cy="244"/>
            </a:xfrm>
            <a:custGeom>
              <a:avLst/>
              <a:gdLst>
                <a:gd name="T0" fmla="*/ 39 w 273"/>
                <a:gd name="T1" fmla="*/ 156 h 244"/>
                <a:gd name="T2" fmla="*/ 39 w 273"/>
                <a:gd name="T3" fmla="*/ 165 h 244"/>
                <a:gd name="T4" fmla="*/ 49 w 273"/>
                <a:gd name="T5" fmla="*/ 165 h 244"/>
                <a:gd name="T6" fmla="*/ 68 w 273"/>
                <a:gd name="T7" fmla="*/ 165 h 244"/>
                <a:gd name="T8" fmla="*/ 78 w 273"/>
                <a:gd name="T9" fmla="*/ 165 h 244"/>
                <a:gd name="T10" fmla="*/ 78 w 273"/>
                <a:gd name="T11" fmla="*/ 185 h 244"/>
                <a:gd name="T12" fmla="*/ 78 w 273"/>
                <a:gd name="T13" fmla="*/ 195 h 244"/>
                <a:gd name="T14" fmla="*/ 88 w 273"/>
                <a:gd name="T15" fmla="*/ 214 h 244"/>
                <a:gd name="T16" fmla="*/ 97 w 273"/>
                <a:gd name="T17" fmla="*/ 214 h 244"/>
                <a:gd name="T18" fmla="*/ 117 w 273"/>
                <a:gd name="T19" fmla="*/ 205 h 244"/>
                <a:gd name="T20" fmla="*/ 137 w 273"/>
                <a:gd name="T21" fmla="*/ 205 h 244"/>
                <a:gd name="T22" fmla="*/ 166 w 273"/>
                <a:gd name="T23" fmla="*/ 234 h 244"/>
                <a:gd name="T24" fmla="*/ 185 w 273"/>
                <a:gd name="T25" fmla="*/ 244 h 244"/>
                <a:gd name="T26" fmla="*/ 185 w 273"/>
                <a:gd name="T27" fmla="*/ 234 h 244"/>
                <a:gd name="T28" fmla="*/ 195 w 273"/>
                <a:gd name="T29" fmla="*/ 224 h 244"/>
                <a:gd name="T30" fmla="*/ 195 w 273"/>
                <a:gd name="T31" fmla="*/ 224 h 244"/>
                <a:gd name="T32" fmla="*/ 195 w 273"/>
                <a:gd name="T33" fmla="*/ 234 h 244"/>
                <a:gd name="T34" fmla="*/ 215 w 273"/>
                <a:gd name="T35" fmla="*/ 224 h 244"/>
                <a:gd name="T36" fmla="*/ 205 w 273"/>
                <a:gd name="T37" fmla="*/ 214 h 244"/>
                <a:gd name="T38" fmla="*/ 205 w 273"/>
                <a:gd name="T39" fmla="*/ 205 h 244"/>
                <a:gd name="T40" fmla="*/ 215 w 273"/>
                <a:gd name="T41" fmla="*/ 205 h 244"/>
                <a:gd name="T42" fmla="*/ 234 w 273"/>
                <a:gd name="T43" fmla="*/ 214 h 244"/>
                <a:gd name="T44" fmla="*/ 244 w 273"/>
                <a:gd name="T45" fmla="*/ 214 h 244"/>
                <a:gd name="T46" fmla="*/ 244 w 273"/>
                <a:gd name="T47" fmla="*/ 205 h 244"/>
                <a:gd name="T48" fmla="*/ 263 w 273"/>
                <a:gd name="T49" fmla="*/ 195 h 244"/>
                <a:gd name="T50" fmla="*/ 254 w 273"/>
                <a:gd name="T51" fmla="*/ 175 h 244"/>
                <a:gd name="T52" fmla="*/ 263 w 273"/>
                <a:gd name="T53" fmla="*/ 175 h 244"/>
                <a:gd name="T54" fmla="*/ 273 w 273"/>
                <a:gd name="T55" fmla="*/ 175 h 244"/>
                <a:gd name="T56" fmla="*/ 273 w 273"/>
                <a:gd name="T57" fmla="*/ 156 h 244"/>
                <a:gd name="T58" fmla="*/ 263 w 273"/>
                <a:gd name="T59" fmla="*/ 146 h 244"/>
                <a:gd name="T60" fmla="*/ 263 w 273"/>
                <a:gd name="T61" fmla="*/ 126 h 244"/>
                <a:gd name="T62" fmla="*/ 263 w 273"/>
                <a:gd name="T63" fmla="*/ 97 h 244"/>
                <a:gd name="T64" fmla="*/ 263 w 273"/>
                <a:gd name="T65" fmla="*/ 78 h 244"/>
                <a:gd name="T66" fmla="*/ 244 w 273"/>
                <a:gd name="T67" fmla="*/ 78 h 244"/>
                <a:gd name="T68" fmla="*/ 244 w 273"/>
                <a:gd name="T69" fmla="*/ 68 h 244"/>
                <a:gd name="T70" fmla="*/ 234 w 273"/>
                <a:gd name="T71" fmla="*/ 58 h 244"/>
                <a:gd name="T72" fmla="*/ 224 w 273"/>
                <a:gd name="T73" fmla="*/ 58 h 244"/>
                <a:gd name="T74" fmla="*/ 224 w 273"/>
                <a:gd name="T75" fmla="*/ 39 h 244"/>
                <a:gd name="T76" fmla="*/ 215 w 273"/>
                <a:gd name="T77" fmla="*/ 29 h 244"/>
                <a:gd name="T78" fmla="*/ 195 w 273"/>
                <a:gd name="T79" fmla="*/ 19 h 244"/>
                <a:gd name="T80" fmla="*/ 176 w 273"/>
                <a:gd name="T81" fmla="*/ 19 h 244"/>
                <a:gd name="T82" fmla="*/ 156 w 273"/>
                <a:gd name="T83" fmla="*/ 19 h 244"/>
                <a:gd name="T84" fmla="*/ 127 w 273"/>
                <a:gd name="T85" fmla="*/ 9 h 244"/>
                <a:gd name="T86" fmla="*/ 107 w 273"/>
                <a:gd name="T87" fmla="*/ 9 h 244"/>
                <a:gd name="T88" fmla="*/ 107 w 273"/>
                <a:gd name="T89" fmla="*/ 9 h 244"/>
                <a:gd name="T90" fmla="*/ 97 w 273"/>
                <a:gd name="T91" fmla="*/ 0 h 244"/>
                <a:gd name="T92" fmla="*/ 78 w 273"/>
                <a:gd name="T93" fmla="*/ 0 h 244"/>
                <a:gd name="T94" fmla="*/ 78 w 273"/>
                <a:gd name="T95" fmla="*/ 9 h 244"/>
                <a:gd name="T96" fmla="*/ 68 w 273"/>
                <a:gd name="T97" fmla="*/ 19 h 244"/>
                <a:gd name="T98" fmla="*/ 58 w 273"/>
                <a:gd name="T99" fmla="*/ 9 h 244"/>
                <a:gd name="T100" fmla="*/ 49 w 273"/>
                <a:gd name="T101" fmla="*/ 19 h 244"/>
                <a:gd name="T102" fmla="*/ 49 w 273"/>
                <a:gd name="T103" fmla="*/ 29 h 244"/>
                <a:gd name="T104" fmla="*/ 39 w 273"/>
                <a:gd name="T105" fmla="*/ 39 h 244"/>
                <a:gd name="T106" fmla="*/ 19 w 273"/>
                <a:gd name="T107" fmla="*/ 58 h 244"/>
                <a:gd name="T108" fmla="*/ 0 w 273"/>
                <a:gd name="T109" fmla="*/ 87 h 244"/>
                <a:gd name="T110" fmla="*/ 10 w 273"/>
                <a:gd name="T111" fmla="*/ 97 h 244"/>
                <a:gd name="T112" fmla="*/ 0 w 273"/>
                <a:gd name="T113" fmla="*/ 117 h 244"/>
                <a:gd name="T114" fmla="*/ 10 w 273"/>
                <a:gd name="T115" fmla="*/ 126 h 244"/>
                <a:gd name="T116" fmla="*/ 19 w 273"/>
                <a:gd name="T117" fmla="*/ 126 h 244"/>
                <a:gd name="T118" fmla="*/ 39 w 273"/>
                <a:gd name="T119" fmla="*/ 126 h 244"/>
                <a:gd name="T120" fmla="*/ 49 w 273"/>
                <a:gd name="T121" fmla="*/ 136 h 244"/>
                <a:gd name="T122" fmla="*/ 29 w 273"/>
                <a:gd name="T123" fmla="*/ 146 h 244"/>
                <a:gd name="T124" fmla="*/ 39 w 273"/>
                <a:gd name="T125" fmla="*/ 156 h 2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3"/>
                <a:gd name="T190" fmla="*/ 0 h 244"/>
                <a:gd name="T191" fmla="*/ 273 w 273"/>
                <a:gd name="T192" fmla="*/ 244 h 2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3" h="244">
                  <a:moveTo>
                    <a:pt x="39" y="156"/>
                  </a:moveTo>
                  <a:lnTo>
                    <a:pt x="39" y="165"/>
                  </a:lnTo>
                  <a:lnTo>
                    <a:pt x="49" y="165"/>
                  </a:lnTo>
                  <a:lnTo>
                    <a:pt x="68" y="165"/>
                  </a:lnTo>
                  <a:lnTo>
                    <a:pt x="78" y="16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7" y="214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66" y="234"/>
                  </a:lnTo>
                  <a:lnTo>
                    <a:pt x="185" y="244"/>
                  </a:lnTo>
                  <a:lnTo>
                    <a:pt x="185" y="234"/>
                  </a:lnTo>
                  <a:lnTo>
                    <a:pt x="195" y="224"/>
                  </a:lnTo>
                  <a:lnTo>
                    <a:pt x="195" y="234"/>
                  </a:lnTo>
                  <a:lnTo>
                    <a:pt x="215" y="22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215" y="205"/>
                  </a:lnTo>
                  <a:lnTo>
                    <a:pt x="234" y="214"/>
                  </a:lnTo>
                  <a:lnTo>
                    <a:pt x="244" y="214"/>
                  </a:lnTo>
                  <a:lnTo>
                    <a:pt x="244" y="205"/>
                  </a:lnTo>
                  <a:lnTo>
                    <a:pt x="263" y="195"/>
                  </a:lnTo>
                  <a:lnTo>
                    <a:pt x="254" y="175"/>
                  </a:lnTo>
                  <a:lnTo>
                    <a:pt x="263" y="175"/>
                  </a:lnTo>
                  <a:lnTo>
                    <a:pt x="273" y="175"/>
                  </a:lnTo>
                  <a:lnTo>
                    <a:pt x="273" y="156"/>
                  </a:lnTo>
                  <a:lnTo>
                    <a:pt x="263" y="146"/>
                  </a:lnTo>
                  <a:lnTo>
                    <a:pt x="263" y="126"/>
                  </a:lnTo>
                  <a:lnTo>
                    <a:pt x="263" y="97"/>
                  </a:lnTo>
                  <a:lnTo>
                    <a:pt x="263" y="78"/>
                  </a:lnTo>
                  <a:lnTo>
                    <a:pt x="244" y="78"/>
                  </a:lnTo>
                  <a:lnTo>
                    <a:pt x="244" y="68"/>
                  </a:lnTo>
                  <a:lnTo>
                    <a:pt x="234" y="58"/>
                  </a:lnTo>
                  <a:lnTo>
                    <a:pt x="224" y="58"/>
                  </a:lnTo>
                  <a:lnTo>
                    <a:pt x="224" y="39"/>
                  </a:lnTo>
                  <a:lnTo>
                    <a:pt x="215" y="29"/>
                  </a:lnTo>
                  <a:lnTo>
                    <a:pt x="195" y="19"/>
                  </a:lnTo>
                  <a:lnTo>
                    <a:pt x="176" y="19"/>
                  </a:lnTo>
                  <a:lnTo>
                    <a:pt x="156" y="19"/>
                  </a:lnTo>
                  <a:lnTo>
                    <a:pt x="127" y="9"/>
                  </a:lnTo>
                  <a:lnTo>
                    <a:pt x="107" y="9"/>
                  </a:lnTo>
                  <a:lnTo>
                    <a:pt x="97" y="0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68" y="19"/>
                  </a:lnTo>
                  <a:lnTo>
                    <a:pt x="58" y="9"/>
                  </a:lnTo>
                  <a:lnTo>
                    <a:pt x="49" y="19"/>
                  </a:lnTo>
                  <a:lnTo>
                    <a:pt x="49" y="29"/>
                  </a:lnTo>
                  <a:lnTo>
                    <a:pt x="39" y="39"/>
                  </a:lnTo>
                  <a:lnTo>
                    <a:pt x="19" y="58"/>
                  </a:lnTo>
                  <a:lnTo>
                    <a:pt x="0" y="87"/>
                  </a:lnTo>
                  <a:lnTo>
                    <a:pt x="10" y="97"/>
                  </a:lnTo>
                  <a:lnTo>
                    <a:pt x="0" y="117"/>
                  </a:lnTo>
                  <a:lnTo>
                    <a:pt x="10" y="126"/>
                  </a:lnTo>
                  <a:lnTo>
                    <a:pt x="19" y="126"/>
                  </a:lnTo>
                  <a:lnTo>
                    <a:pt x="39" y="126"/>
                  </a:lnTo>
                  <a:lnTo>
                    <a:pt x="49" y="136"/>
                  </a:lnTo>
                  <a:lnTo>
                    <a:pt x="29" y="146"/>
                  </a:lnTo>
                  <a:lnTo>
                    <a:pt x="39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357"/>
            <p:cNvSpPr>
              <a:spLocks/>
            </p:cNvSpPr>
            <p:nvPr/>
          </p:nvSpPr>
          <p:spPr bwMode="auto">
            <a:xfrm>
              <a:off x="1425" y="2038"/>
              <a:ext cx="252" cy="235"/>
            </a:xfrm>
            <a:custGeom>
              <a:avLst/>
              <a:gdLst>
                <a:gd name="T0" fmla="*/ 127 w 254"/>
                <a:gd name="T1" fmla="*/ 234 h 234"/>
                <a:gd name="T2" fmla="*/ 166 w 254"/>
                <a:gd name="T3" fmla="*/ 215 h 234"/>
                <a:gd name="T4" fmla="*/ 166 w 254"/>
                <a:gd name="T5" fmla="*/ 156 h 234"/>
                <a:gd name="T6" fmla="*/ 166 w 254"/>
                <a:gd name="T7" fmla="*/ 147 h 234"/>
                <a:gd name="T8" fmla="*/ 185 w 254"/>
                <a:gd name="T9" fmla="*/ 137 h 234"/>
                <a:gd name="T10" fmla="*/ 215 w 254"/>
                <a:gd name="T11" fmla="*/ 117 h 234"/>
                <a:gd name="T12" fmla="*/ 244 w 254"/>
                <a:gd name="T13" fmla="*/ 98 h 234"/>
                <a:gd name="T14" fmla="*/ 234 w 254"/>
                <a:gd name="T15" fmla="*/ 88 h 234"/>
                <a:gd name="T16" fmla="*/ 254 w 254"/>
                <a:gd name="T17" fmla="*/ 78 h 234"/>
                <a:gd name="T18" fmla="*/ 244 w 254"/>
                <a:gd name="T19" fmla="*/ 68 h 234"/>
                <a:gd name="T20" fmla="*/ 224 w 254"/>
                <a:gd name="T21" fmla="*/ 68 h 234"/>
                <a:gd name="T22" fmla="*/ 215 w 254"/>
                <a:gd name="T23" fmla="*/ 68 h 234"/>
                <a:gd name="T24" fmla="*/ 215 w 254"/>
                <a:gd name="T25" fmla="*/ 59 h 234"/>
                <a:gd name="T26" fmla="*/ 215 w 254"/>
                <a:gd name="T27" fmla="*/ 39 h 234"/>
                <a:gd name="T28" fmla="*/ 205 w 254"/>
                <a:gd name="T29" fmla="*/ 29 h 234"/>
                <a:gd name="T30" fmla="*/ 185 w 254"/>
                <a:gd name="T31" fmla="*/ 29 h 234"/>
                <a:gd name="T32" fmla="*/ 166 w 254"/>
                <a:gd name="T33" fmla="*/ 29 h 234"/>
                <a:gd name="T34" fmla="*/ 156 w 254"/>
                <a:gd name="T35" fmla="*/ 49 h 234"/>
                <a:gd name="T36" fmla="*/ 137 w 254"/>
                <a:gd name="T37" fmla="*/ 39 h 234"/>
                <a:gd name="T38" fmla="*/ 117 w 254"/>
                <a:gd name="T39" fmla="*/ 29 h 234"/>
                <a:gd name="T40" fmla="*/ 127 w 254"/>
                <a:gd name="T41" fmla="*/ 20 h 234"/>
                <a:gd name="T42" fmla="*/ 107 w 254"/>
                <a:gd name="T43" fmla="*/ 0 h 234"/>
                <a:gd name="T44" fmla="*/ 88 w 254"/>
                <a:gd name="T45" fmla="*/ 10 h 234"/>
                <a:gd name="T46" fmla="*/ 78 w 254"/>
                <a:gd name="T47" fmla="*/ 20 h 234"/>
                <a:gd name="T48" fmla="*/ 59 w 254"/>
                <a:gd name="T49" fmla="*/ 20 h 234"/>
                <a:gd name="T50" fmla="*/ 49 w 254"/>
                <a:gd name="T51" fmla="*/ 29 h 234"/>
                <a:gd name="T52" fmla="*/ 59 w 254"/>
                <a:gd name="T53" fmla="*/ 39 h 234"/>
                <a:gd name="T54" fmla="*/ 49 w 254"/>
                <a:gd name="T55" fmla="*/ 49 h 234"/>
                <a:gd name="T56" fmla="*/ 39 w 254"/>
                <a:gd name="T57" fmla="*/ 59 h 234"/>
                <a:gd name="T58" fmla="*/ 20 w 254"/>
                <a:gd name="T59" fmla="*/ 59 h 234"/>
                <a:gd name="T60" fmla="*/ 10 w 254"/>
                <a:gd name="T61" fmla="*/ 68 h 234"/>
                <a:gd name="T62" fmla="*/ 0 w 254"/>
                <a:gd name="T63" fmla="*/ 78 h 234"/>
                <a:gd name="T64" fmla="*/ 10 w 254"/>
                <a:gd name="T65" fmla="*/ 88 h 234"/>
                <a:gd name="T66" fmla="*/ 29 w 254"/>
                <a:gd name="T67" fmla="*/ 88 h 234"/>
                <a:gd name="T68" fmla="*/ 29 w 254"/>
                <a:gd name="T69" fmla="*/ 98 h 234"/>
                <a:gd name="T70" fmla="*/ 39 w 254"/>
                <a:gd name="T71" fmla="*/ 107 h 234"/>
                <a:gd name="T72" fmla="*/ 39 w 254"/>
                <a:gd name="T73" fmla="*/ 107 h 234"/>
                <a:gd name="T74" fmla="*/ 59 w 254"/>
                <a:gd name="T75" fmla="*/ 107 h 234"/>
                <a:gd name="T76" fmla="*/ 49 w 254"/>
                <a:gd name="T77" fmla="*/ 127 h 234"/>
                <a:gd name="T78" fmla="*/ 59 w 254"/>
                <a:gd name="T79" fmla="*/ 137 h 234"/>
                <a:gd name="T80" fmla="*/ 78 w 254"/>
                <a:gd name="T81" fmla="*/ 137 h 234"/>
                <a:gd name="T82" fmla="*/ 78 w 254"/>
                <a:gd name="T83" fmla="*/ 156 h 234"/>
                <a:gd name="T84" fmla="*/ 88 w 254"/>
                <a:gd name="T85" fmla="*/ 156 h 234"/>
                <a:gd name="T86" fmla="*/ 78 w 254"/>
                <a:gd name="T87" fmla="*/ 166 h 234"/>
                <a:gd name="T88" fmla="*/ 78 w 254"/>
                <a:gd name="T89" fmla="*/ 186 h 234"/>
                <a:gd name="T90" fmla="*/ 88 w 254"/>
                <a:gd name="T91" fmla="*/ 195 h 234"/>
                <a:gd name="T92" fmla="*/ 98 w 254"/>
                <a:gd name="T93" fmla="*/ 195 h 234"/>
                <a:gd name="T94" fmla="*/ 107 w 254"/>
                <a:gd name="T95" fmla="*/ 205 h 234"/>
                <a:gd name="T96" fmla="*/ 127 w 254"/>
                <a:gd name="T97" fmla="*/ 234 h 2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4"/>
                <a:gd name="T148" fmla="*/ 0 h 234"/>
                <a:gd name="T149" fmla="*/ 254 w 254"/>
                <a:gd name="T150" fmla="*/ 234 h 2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4" h="234">
                  <a:moveTo>
                    <a:pt x="127" y="234"/>
                  </a:moveTo>
                  <a:lnTo>
                    <a:pt x="166" y="215"/>
                  </a:lnTo>
                  <a:lnTo>
                    <a:pt x="166" y="156"/>
                  </a:lnTo>
                  <a:lnTo>
                    <a:pt x="166" y="147"/>
                  </a:lnTo>
                  <a:lnTo>
                    <a:pt x="185" y="137"/>
                  </a:lnTo>
                  <a:lnTo>
                    <a:pt x="215" y="117"/>
                  </a:lnTo>
                  <a:lnTo>
                    <a:pt x="244" y="98"/>
                  </a:lnTo>
                  <a:lnTo>
                    <a:pt x="234" y="8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24" y="68"/>
                  </a:lnTo>
                  <a:lnTo>
                    <a:pt x="215" y="68"/>
                  </a:lnTo>
                  <a:lnTo>
                    <a:pt x="215" y="59"/>
                  </a:lnTo>
                  <a:lnTo>
                    <a:pt x="215" y="39"/>
                  </a:lnTo>
                  <a:lnTo>
                    <a:pt x="205" y="29"/>
                  </a:lnTo>
                  <a:lnTo>
                    <a:pt x="185" y="29"/>
                  </a:lnTo>
                  <a:lnTo>
                    <a:pt x="166" y="29"/>
                  </a:lnTo>
                  <a:lnTo>
                    <a:pt x="156" y="49"/>
                  </a:lnTo>
                  <a:lnTo>
                    <a:pt x="137" y="39"/>
                  </a:lnTo>
                  <a:lnTo>
                    <a:pt x="117" y="29"/>
                  </a:lnTo>
                  <a:lnTo>
                    <a:pt x="127" y="20"/>
                  </a:lnTo>
                  <a:lnTo>
                    <a:pt x="107" y="0"/>
                  </a:lnTo>
                  <a:lnTo>
                    <a:pt x="88" y="10"/>
                  </a:lnTo>
                  <a:lnTo>
                    <a:pt x="78" y="2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59" y="39"/>
                  </a:lnTo>
                  <a:lnTo>
                    <a:pt x="49" y="49"/>
                  </a:lnTo>
                  <a:lnTo>
                    <a:pt x="39" y="59"/>
                  </a:lnTo>
                  <a:lnTo>
                    <a:pt x="20" y="59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29" y="88"/>
                  </a:lnTo>
                  <a:lnTo>
                    <a:pt x="29" y="9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49" y="127"/>
                  </a:lnTo>
                  <a:lnTo>
                    <a:pt x="59" y="137"/>
                  </a:lnTo>
                  <a:lnTo>
                    <a:pt x="78" y="137"/>
                  </a:lnTo>
                  <a:lnTo>
                    <a:pt x="78" y="156"/>
                  </a:lnTo>
                  <a:lnTo>
                    <a:pt x="88" y="156"/>
                  </a:lnTo>
                  <a:lnTo>
                    <a:pt x="78" y="166"/>
                  </a:lnTo>
                  <a:lnTo>
                    <a:pt x="78" y="186"/>
                  </a:lnTo>
                  <a:lnTo>
                    <a:pt x="88" y="195"/>
                  </a:lnTo>
                  <a:lnTo>
                    <a:pt x="98" y="195"/>
                  </a:lnTo>
                  <a:lnTo>
                    <a:pt x="107" y="205"/>
                  </a:lnTo>
                  <a:lnTo>
                    <a:pt x="127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356"/>
            <p:cNvSpPr>
              <a:spLocks/>
            </p:cNvSpPr>
            <p:nvPr/>
          </p:nvSpPr>
          <p:spPr bwMode="auto">
            <a:xfrm>
              <a:off x="1544" y="2139"/>
              <a:ext cx="252" cy="261"/>
            </a:xfrm>
            <a:custGeom>
              <a:avLst/>
              <a:gdLst>
                <a:gd name="T0" fmla="*/ 10 w 254"/>
                <a:gd name="T1" fmla="*/ 156 h 263"/>
                <a:gd name="T2" fmla="*/ 10 w 254"/>
                <a:gd name="T3" fmla="*/ 156 h 263"/>
                <a:gd name="T4" fmla="*/ 0 w 254"/>
                <a:gd name="T5" fmla="*/ 175 h 263"/>
                <a:gd name="T6" fmla="*/ 10 w 254"/>
                <a:gd name="T7" fmla="*/ 185 h 263"/>
                <a:gd name="T8" fmla="*/ 29 w 254"/>
                <a:gd name="T9" fmla="*/ 185 h 263"/>
                <a:gd name="T10" fmla="*/ 39 w 254"/>
                <a:gd name="T11" fmla="*/ 185 h 263"/>
                <a:gd name="T12" fmla="*/ 49 w 254"/>
                <a:gd name="T13" fmla="*/ 205 h 263"/>
                <a:gd name="T14" fmla="*/ 49 w 254"/>
                <a:gd name="T15" fmla="*/ 224 h 263"/>
                <a:gd name="T16" fmla="*/ 59 w 254"/>
                <a:gd name="T17" fmla="*/ 234 h 263"/>
                <a:gd name="T18" fmla="*/ 68 w 254"/>
                <a:gd name="T19" fmla="*/ 234 h 263"/>
                <a:gd name="T20" fmla="*/ 78 w 254"/>
                <a:gd name="T21" fmla="*/ 244 h 263"/>
                <a:gd name="T22" fmla="*/ 68 w 254"/>
                <a:gd name="T23" fmla="*/ 244 h 263"/>
                <a:gd name="T24" fmla="*/ 68 w 254"/>
                <a:gd name="T25" fmla="*/ 253 h 263"/>
                <a:gd name="T26" fmla="*/ 78 w 254"/>
                <a:gd name="T27" fmla="*/ 263 h 263"/>
                <a:gd name="T28" fmla="*/ 88 w 254"/>
                <a:gd name="T29" fmla="*/ 263 h 263"/>
                <a:gd name="T30" fmla="*/ 98 w 254"/>
                <a:gd name="T31" fmla="*/ 263 h 263"/>
                <a:gd name="T32" fmla="*/ 117 w 254"/>
                <a:gd name="T33" fmla="*/ 244 h 263"/>
                <a:gd name="T34" fmla="*/ 127 w 254"/>
                <a:gd name="T35" fmla="*/ 244 h 263"/>
                <a:gd name="T36" fmla="*/ 137 w 254"/>
                <a:gd name="T37" fmla="*/ 234 h 263"/>
                <a:gd name="T38" fmla="*/ 146 w 254"/>
                <a:gd name="T39" fmla="*/ 224 h 263"/>
                <a:gd name="T40" fmla="*/ 166 w 254"/>
                <a:gd name="T41" fmla="*/ 224 h 263"/>
                <a:gd name="T42" fmla="*/ 185 w 254"/>
                <a:gd name="T43" fmla="*/ 224 h 263"/>
                <a:gd name="T44" fmla="*/ 195 w 254"/>
                <a:gd name="T45" fmla="*/ 205 h 263"/>
                <a:gd name="T46" fmla="*/ 195 w 254"/>
                <a:gd name="T47" fmla="*/ 185 h 263"/>
                <a:gd name="T48" fmla="*/ 195 w 254"/>
                <a:gd name="T49" fmla="*/ 166 h 263"/>
                <a:gd name="T50" fmla="*/ 215 w 254"/>
                <a:gd name="T51" fmla="*/ 156 h 263"/>
                <a:gd name="T52" fmla="*/ 225 w 254"/>
                <a:gd name="T53" fmla="*/ 136 h 263"/>
                <a:gd name="T54" fmla="*/ 225 w 254"/>
                <a:gd name="T55" fmla="*/ 88 h 263"/>
                <a:gd name="T56" fmla="*/ 254 w 254"/>
                <a:gd name="T57" fmla="*/ 88 h 263"/>
                <a:gd name="T58" fmla="*/ 225 w 254"/>
                <a:gd name="T59" fmla="*/ 49 h 263"/>
                <a:gd name="T60" fmla="*/ 205 w 254"/>
                <a:gd name="T61" fmla="*/ 49 h 263"/>
                <a:gd name="T62" fmla="*/ 185 w 254"/>
                <a:gd name="T63" fmla="*/ 58 h 263"/>
                <a:gd name="T64" fmla="*/ 176 w 254"/>
                <a:gd name="T65" fmla="*/ 58 h 263"/>
                <a:gd name="T66" fmla="*/ 166 w 254"/>
                <a:gd name="T67" fmla="*/ 39 h 263"/>
                <a:gd name="T68" fmla="*/ 166 w 254"/>
                <a:gd name="T69" fmla="*/ 29 h 263"/>
                <a:gd name="T70" fmla="*/ 166 w 254"/>
                <a:gd name="T71" fmla="*/ 9 h 263"/>
                <a:gd name="T72" fmla="*/ 156 w 254"/>
                <a:gd name="T73" fmla="*/ 9 h 263"/>
                <a:gd name="T74" fmla="*/ 137 w 254"/>
                <a:gd name="T75" fmla="*/ 9 h 263"/>
                <a:gd name="T76" fmla="*/ 127 w 254"/>
                <a:gd name="T77" fmla="*/ 9 h 263"/>
                <a:gd name="T78" fmla="*/ 127 w 254"/>
                <a:gd name="T79" fmla="*/ 0 h 263"/>
                <a:gd name="T80" fmla="*/ 98 w 254"/>
                <a:gd name="T81" fmla="*/ 19 h 263"/>
                <a:gd name="T82" fmla="*/ 68 w 254"/>
                <a:gd name="T83" fmla="*/ 39 h 263"/>
                <a:gd name="T84" fmla="*/ 49 w 254"/>
                <a:gd name="T85" fmla="*/ 39 h 263"/>
                <a:gd name="T86" fmla="*/ 39 w 254"/>
                <a:gd name="T87" fmla="*/ 58 h 263"/>
                <a:gd name="T88" fmla="*/ 39 w 254"/>
                <a:gd name="T89" fmla="*/ 107 h 263"/>
                <a:gd name="T90" fmla="*/ 10 w 254"/>
                <a:gd name="T91" fmla="*/ 136 h 263"/>
                <a:gd name="T92" fmla="*/ 10 w 254"/>
                <a:gd name="T93" fmla="*/ 156 h 2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263"/>
                <a:gd name="T143" fmla="*/ 254 w 254"/>
                <a:gd name="T144" fmla="*/ 263 h 2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263">
                  <a:moveTo>
                    <a:pt x="10" y="156"/>
                  </a:moveTo>
                  <a:lnTo>
                    <a:pt x="10" y="156"/>
                  </a:lnTo>
                  <a:lnTo>
                    <a:pt x="0" y="175"/>
                  </a:lnTo>
                  <a:lnTo>
                    <a:pt x="10" y="185"/>
                  </a:lnTo>
                  <a:lnTo>
                    <a:pt x="29" y="185"/>
                  </a:lnTo>
                  <a:lnTo>
                    <a:pt x="39" y="185"/>
                  </a:lnTo>
                  <a:lnTo>
                    <a:pt x="49" y="205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68" y="234"/>
                  </a:lnTo>
                  <a:lnTo>
                    <a:pt x="78" y="244"/>
                  </a:lnTo>
                  <a:lnTo>
                    <a:pt x="68" y="244"/>
                  </a:lnTo>
                  <a:lnTo>
                    <a:pt x="68" y="253"/>
                  </a:lnTo>
                  <a:lnTo>
                    <a:pt x="78" y="263"/>
                  </a:lnTo>
                  <a:lnTo>
                    <a:pt x="88" y="263"/>
                  </a:lnTo>
                  <a:lnTo>
                    <a:pt x="98" y="263"/>
                  </a:lnTo>
                  <a:lnTo>
                    <a:pt x="117" y="244"/>
                  </a:lnTo>
                  <a:lnTo>
                    <a:pt x="127" y="244"/>
                  </a:lnTo>
                  <a:lnTo>
                    <a:pt x="137" y="234"/>
                  </a:lnTo>
                  <a:lnTo>
                    <a:pt x="146" y="224"/>
                  </a:lnTo>
                  <a:lnTo>
                    <a:pt x="166" y="224"/>
                  </a:lnTo>
                  <a:lnTo>
                    <a:pt x="185" y="224"/>
                  </a:lnTo>
                  <a:lnTo>
                    <a:pt x="195" y="205"/>
                  </a:lnTo>
                  <a:lnTo>
                    <a:pt x="195" y="185"/>
                  </a:lnTo>
                  <a:lnTo>
                    <a:pt x="195" y="166"/>
                  </a:lnTo>
                  <a:lnTo>
                    <a:pt x="215" y="156"/>
                  </a:lnTo>
                  <a:lnTo>
                    <a:pt x="225" y="136"/>
                  </a:lnTo>
                  <a:lnTo>
                    <a:pt x="225" y="88"/>
                  </a:lnTo>
                  <a:lnTo>
                    <a:pt x="254" y="88"/>
                  </a:lnTo>
                  <a:lnTo>
                    <a:pt x="225" y="49"/>
                  </a:lnTo>
                  <a:lnTo>
                    <a:pt x="205" y="49"/>
                  </a:lnTo>
                  <a:lnTo>
                    <a:pt x="185" y="58"/>
                  </a:lnTo>
                  <a:lnTo>
                    <a:pt x="176" y="58"/>
                  </a:lnTo>
                  <a:lnTo>
                    <a:pt x="166" y="39"/>
                  </a:lnTo>
                  <a:lnTo>
                    <a:pt x="166" y="29"/>
                  </a:lnTo>
                  <a:lnTo>
                    <a:pt x="166" y="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9"/>
                  </a:lnTo>
                  <a:lnTo>
                    <a:pt x="127" y="0"/>
                  </a:lnTo>
                  <a:lnTo>
                    <a:pt x="98" y="19"/>
                  </a:lnTo>
                  <a:lnTo>
                    <a:pt x="68" y="39"/>
                  </a:lnTo>
                  <a:lnTo>
                    <a:pt x="49" y="39"/>
                  </a:lnTo>
                  <a:lnTo>
                    <a:pt x="39" y="58"/>
                  </a:lnTo>
                  <a:lnTo>
                    <a:pt x="39" y="107"/>
                  </a:lnTo>
                  <a:lnTo>
                    <a:pt x="10" y="136"/>
                  </a:lnTo>
                  <a:lnTo>
                    <a:pt x="10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355"/>
            <p:cNvSpPr>
              <a:spLocks/>
            </p:cNvSpPr>
            <p:nvPr/>
          </p:nvSpPr>
          <p:spPr bwMode="auto">
            <a:xfrm>
              <a:off x="1290" y="2139"/>
              <a:ext cx="329" cy="310"/>
            </a:xfrm>
            <a:custGeom>
              <a:avLst/>
              <a:gdLst>
                <a:gd name="T0" fmla="*/ 117 w 331"/>
                <a:gd name="T1" fmla="*/ 68 h 312"/>
                <a:gd name="T2" fmla="*/ 87 w 331"/>
                <a:gd name="T3" fmla="*/ 78 h 312"/>
                <a:gd name="T4" fmla="*/ 97 w 331"/>
                <a:gd name="T5" fmla="*/ 97 h 312"/>
                <a:gd name="T6" fmla="*/ 78 w 331"/>
                <a:gd name="T7" fmla="*/ 117 h 312"/>
                <a:gd name="T8" fmla="*/ 68 w 331"/>
                <a:gd name="T9" fmla="*/ 117 h 312"/>
                <a:gd name="T10" fmla="*/ 68 w 331"/>
                <a:gd name="T11" fmla="*/ 136 h 312"/>
                <a:gd name="T12" fmla="*/ 58 w 331"/>
                <a:gd name="T13" fmla="*/ 156 h 312"/>
                <a:gd name="T14" fmla="*/ 19 w 331"/>
                <a:gd name="T15" fmla="*/ 195 h 312"/>
                <a:gd name="T16" fmla="*/ 0 w 331"/>
                <a:gd name="T17" fmla="*/ 205 h 312"/>
                <a:gd name="T18" fmla="*/ 9 w 331"/>
                <a:gd name="T19" fmla="*/ 234 h 312"/>
                <a:gd name="T20" fmla="*/ 9 w 331"/>
                <a:gd name="T21" fmla="*/ 263 h 312"/>
                <a:gd name="T22" fmla="*/ 39 w 331"/>
                <a:gd name="T23" fmla="*/ 292 h 312"/>
                <a:gd name="T24" fmla="*/ 68 w 331"/>
                <a:gd name="T25" fmla="*/ 312 h 312"/>
                <a:gd name="T26" fmla="*/ 107 w 331"/>
                <a:gd name="T27" fmla="*/ 292 h 312"/>
                <a:gd name="T28" fmla="*/ 136 w 331"/>
                <a:gd name="T29" fmla="*/ 302 h 312"/>
                <a:gd name="T30" fmla="*/ 156 w 331"/>
                <a:gd name="T31" fmla="*/ 292 h 312"/>
                <a:gd name="T32" fmla="*/ 175 w 331"/>
                <a:gd name="T33" fmla="*/ 273 h 312"/>
                <a:gd name="T34" fmla="*/ 185 w 331"/>
                <a:gd name="T35" fmla="*/ 253 h 312"/>
                <a:gd name="T36" fmla="*/ 234 w 331"/>
                <a:gd name="T37" fmla="*/ 263 h 312"/>
                <a:gd name="T38" fmla="*/ 282 w 331"/>
                <a:gd name="T39" fmla="*/ 302 h 312"/>
                <a:gd name="T40" fmla="*/ 321 w 331"/>
                <a:gd name="T41" fmla="*/ 292 h 312"/>
                <a:gd name="T42" fmla="*/ 331 w 331"/>
                <a:gd name="T43" fmla="*/ 263 h 312"/>
                <a:gd name="T44" fmla="*/ 321 w 331"/>
                <a:gd name="T45" fmla="*/ 244 h 312"/>
                <a:gd name="T46" fmla="*/ 321 w 331"/>
                <a:gd name="T47" fmla="*/ 234 h 312"/>
                <a:gd name="T48" fmla="*/ 302 w 331"/>
                <a:gd name="T49" fmla="*/ 224 h 312"/>
                <a:gd name="T50" fmla="*/ 292 w 331"/>
                <a:gd name="T51" fmla="*/ 185 h 312"/>
                <a:gd name="T52" fmla="*/ 263 w 331"/>
                <a:gd name="T53" fmla="*/ 185 h 312"/>
                <a:gd name="T54" fmla="*/ 263 w 331"/>
                <a:gd name="T55" fmla="*/ 156 h 312"/>
                <a:gd name="T56" fmla="*/ 263 w 331"/>
                <a:gd name="T57" fmla="*/ 136 h 312"/>
                <a:gd name="T58" fmla="*/ 234 w 331"/>
                <a:gd name="T59" fmla="*/ 97 h 312"/>
                <a:gd name="T60" fmla="*/ 214 w 331"/>
                <a:gd name="T61" fmla="*/ 88 h 312"/>
                <a:gd name="T62" fmla="*/ 224 w 331"/>
                <a:gd name="T63" fmla="*/ 58 h 312"/>
                <a:gd name="T64" fmla="*/ 204 w 331"/>
                <a:gd name="T65" fmla="*/ 39 h 312"/>
                <a:gd name="T66" fmla="*/ 185 w 331"/>
                <a:gd name="T67" fmla="*/ 29 h 312"/>
                <a:gd name="T68" fmla="*/ 175 w 331"/>
                <a:gd name="T69" fmla="*/ 9 h 312"/>
                <a:gd name="T70" fmla="*/ 165 w 331"/>
                <a:gd name="T71" fmla="*/ 0 h 312"/>
                <a:gd name="T72" fmla="*/ 156 w 331"/>
                <a:gd name="T73" fmla="*/ 29 h 312"/>
                <a:gd name="T74" fmla="*/ 136 w 331"/>
                <a:gd name="T75" fmla="*/ 9 h 312"/>
                <a:gd name="T76" fmla="*/ 126 w 331"/>
                <a:gd name="T77" fmla="*/ 39 h 3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"/>
                <a:gd name="T118" fmla="*/ 0 h 312"/>
                <a:gd name="T119" fmla="*/ 331 w 331"/>
                <a:gd name="T120" fmla="*/ 312 h 3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" h="312">
                  <a:moveTo>
                    <a:pt x="117" y="49"/>
                  </a:moveTo>
                  <a:lnTo>
                    <a:pt x="117" y="68"/>
                  </a:lnTo>
                  <a:lnTo>
                    <a:pt x="97" y="68"/>
                  </a:lnTo>
                  <a:lnTo>
                    <a:pt x="87" y="78"/>
                  </a:lnTo>
                  <a:lnTo>
                    <a:pt x="97" y="88"/>
                  </a:lnTo>
                  <a:lnTo>
                    <a:pt x="97" y="97"/>
                  </a:lnTo>
                  <a:lnTo>
                    <a:pt x="87" y="107"/>
                  </a:lnTo>
                  <a:lnTo>
                    <a:pt x="78" y="117"/>
                  </a:lnTo>
                  <a:lnTo>
                    <a:pt x="68" y="117"/>
                  </a:lnTo>
                  <a:lnTo>
                    <a:pt x="68" y="127"/>
                  </a:lnTo>
                  <a:lnTo>
                    <a:pt x="68" y="13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29" y="185"/>
                  </a:lnTo>
                  <a:lnTo>
                    <a:pt x="19" y="195"/>
                  </a:lnTo>
                  <a:lnTo>
                    <a:pt x="9" y="205"/>
                  </a:lnTo>
                  <a:lnTo>
                    <a:pt x="0" y="205"/>
                  </a:lnTo>
                  <a:lnTo>
                    <a:pt x="0" y="214"/>
                  </a:lnTo>
                  <a:lnTo>
                    <a:pt x="9" y="234"/>
                  </a:lnTo>
                  <a:lnTo>
                    <a:pt x="0" y="253"/>
                  </a:lnTo>
                  <a:lnTo>
                    <a:pt x="9" y="263"/>
                  </a:lnTo>
                  <a:lnTo>
                    <a:pt x="9" y="273"/>
                  </a:lnTo>
                  <a:lnTo>
                    <a:pt x="39" y="29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97" y="292"/>
                  </a:lnTo>
                  <a:lnTo>
                    <a:pt x="107" y="292"/>
                  </a:lnTo>
                  <a:lnTo>
                    <a:pt x="117" y="312"/>
                  </a:lnTo>
                  <a:lnTo>
                    <a:pt x="136" y="302"/>
                  </a:lnTo>
                  <a:lnTo>
                    <a:pt x="146" y="292"/>
                  </a:lnTo>
                  <a:lnTo>
                    <a:pt x="156" y="292"/>
                  </a:lnTo>
                  <a:lnTo>
                    <a:pt x="165" y="283"/>
                  </a:lnTo>
                  <a:lnTo>
                    <a:pt x="175" y="273"/>
                  </a:lnTo>
                  <a:lnTo>
                    <a:pt x="185" y="263"/>
                  </a:lnTo>
                  <a:lnTo>
                    <a:pt x="185" y="253"/>
                  </a:lnTo>
                  <a:lnTo>
                    <a:pt x="204" y="253"/>
                  </a:lnTo>
                  <a:lnTo>
                    <a:pt x="234" y="263"/>
                  </a:lnTo>
                  <a:lnTo>
                    <a:pt x="253" y="263"/>
                  </a:lnTo>
                  <a:lnTo>
                    <a:pt x="282" y="302"/>
                  </a:lnTo>
                  <a:lnTo>
                    <a:pt x="302" y="312"/>
                  </a:lnTo>
                  <a:lnTo>
                    <a:pt x="321" y="292"/>
                  </a:lnTo>
                  <a:lnTo>
                    <a:pt x="321" y="273"/>
                  </a:lnTo>
                  <a:lnTo>
                    <a:pt x="331" y="263"/>
                  </a:lnTo>
                  <a:lnTo>
                    <a:pt x="321" y="253"/>
                  </a:lnTo>
                  <a:lnTo>
                    <a:pt x="321" y="244"/>
                  </a:lnTo>
                  <a:lnTo>
                    <a:pt x="331" y="234"/>
                  </a:lnTo>
                  <a:lnTo>
                    <a:pt x="321" y="234"/>
                  </a:lnTo>
                  <a:lnTo>
                    <a:pt x="312" y="234"/>
                  </a:lnTo>
                  <a:lnTo>
                    <a:pt x="302" y="224"/>
                  </a:lnTo>
                  <a:lnTo>
                    <a:pt x="302" y="205"/>
                  </a:lnTo>
                  <a:lnTo>
                    <a:pt x="292" y="185"/>
                  </a:lnTo>
                  <a:lnTo>
                    <a:pt x="282" y="185"/>
                  </a:lnTo>
                  <a:lnTo>
                    <a:pt x="263" y="185"/>
                  </a:lnTo>
                  <a:lnTo>
                    <a:pt x="253" y="175"/>
                  </a:lnTo>
                  <a:lnTo>
                    <a:pt x="263" y="156"/>
                  </a:lnTo>
                  <a:lnTo>
                    <a:pt x="263" y="136"/>
                  </a:lnTo>
                  <a:lnTo>
                    <a:pt x="243" y="97"/>
                  </a:lnTo>
                  <a:lnTo>
                    <a:pt x="234" y="97"/>
                  </a:lnTo>
                  <a:lnTo>
                    <a:pt x="224" y="97"/>
                  </a:lnTo>
                  <a:lnTo>
                    <a:pt x="214" y="88"/>
                  </a:lnTo>
                  <a:lnTo>
                    <a:pt x="214" y="6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204" y="39"/>
                  </a:lnTo>
                  <a:lnTo>
                    <a:pt x="195" y="39"/>
                  </a:lnTo>
                  <a:lnTo>
                    <a:pt x="185" y="29"/>
                  </a:lnTo>
                  <a:lnTo>
                    <a:pt x="195" y="9"/>
                  </a:lnTo>
                  <a:lnTo>
                    <a:pt x="175" y="9"/>
                  </a:lnTo>
                  <a:lnTo>
                    <a:pt x="165" y="0"/>
                  </a:lnTo>
                  <a:lnTo>
                    <a:pt x="156" y="9"/>
                  </a:lnTo>
                  <a:lnTo>
                    <a:pt x="156" y="29"/>
                  </a:lnTo>
                  <a:lnTo>
                    <a:pt x="146" y="19"/>
                  </a:lnTo>
                  <a:lnTo>
                    <a:pt x="136" y="9"/>
                  </a:lnTo>
                  <a:lnTo>
                    <a:pt x="126" y="19"/>
                  </a:lnTo>
                  <a:lnTo>
                    <a:pt x="126" y="39"/>
                  </a:lnTo>
                  <a:lnTo>
                    <a:pt x="117" y="4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354"/>
            <p:cNvSpPr>
              <a:spLocks/>
            </p:cNvSpPr>
            <p:nvPr/>
          </p:nvSpPr>
          <p:spPr bwMode="auto">
            <a:xfrm>
              <a:off x="1769" y="1072"/>
              <a:ext cx="455" cy="432"/>
            </a:xfrm>
            <a:custGeom>
              <a:avLst/>
              <a:gdLst>
                <a:gd name="T0" fmla="*/ 429 w 458"/>
                <a:gd name="T1" fmla="*/ 322 h 430"/>
                <a:gd name="T2" fmla="*/ 399 w 458"/>
                <a:gd name="T3" fmla="*/ 322 h 430"/>
                <a:gd name="T4" fmla="*/ 370 w 458"/>
                <a:gd name="T5" fmla="*/ 351 h 430"/>
                <a:gd name="T6" fmla="*/ 331 w 458"/>
                <a:gd name="T7" fmla="*/ 371 h 430"/>
                <a:gd name="T8" fmla="*/ 292 w 458"/>
                <a:gd name="T9" fmla="*/ 410 h 430"/>
                <a:gd name="T10" fmla="*/ 253 w 458"/>
                <a:gd name="T11" fmla="*/ 410 h 430"/>
                <a:gd name="T12" fmla="*/ 224 w 458"/>
                <a:gd name="T13" fmla="*/ 410 h 430"/>
                <a:gd name="T14" fmla="*/ 214 w 458"/>
                <a:gd name="T15" fmla="*/ 381 h 430"/>
                <a:gd name="T16" fmla="*/ 224 w 458"/>
                <a:gd name="T17" fmla="*/ 361 h 430"/>
                <a:gd name="T18" fmla="*/ 204 w 458"/>
                <a:gd name="T19" fmla="*/ 351 h 430"/>
                <a:gd name="T20" fmla="*/ 214 w 458"/>
                <a:gd name="T21" fmla="*/ 322 h 430"/>
                <a:gd name="T22" fmla="*/ 185 w 458"/>
                <a:gd name="T23" fmla="*/ 303 h 430"/>
                <a:gd name="T24" fmla="*/ 156 w 458"/>
                <a:gd name="T25" fmla="*/ 293 h 430"/>
                <a:gd name="T26" fmla="*/ 175 w 458"/>
                <a:gd name="T27" fmla="*/ 264 h 430"/>
                <a:gd name="T28" fmla="*/ 156 w 458"/>
                <a:gd name="T29" fmla="*/ 244 h 430"/>
                <a:gd name="T30" fmla="*/ 107 w 458"/>
                <a:gd name="T31" fmla="*/ 244 h 430"/>
                <a:gd name="T32" fmla="*/ 87 w 458"/>
                <a:gd name="T33" fmla="*/ 215 h 430"/>
                <a:gd name="T34" fmla="*/ 58 w 458"/>
                <a:gd name="T35" fmla="*/ 225 h 430"/>
                <a:gd name="T36" fmla="*/ 48 w 458"/>
                <a:gd name="T37" fmla="*/ 205 h 430"/>
                <a:gd name="T38" fmla="*/ 29 w 458"/>
                <a:gd name="T39" fmla="*/ 205 h 430"/>
                <a:gd name="T40" fmla="*/ 0 w 458"/>
                <a:gd name="T41" fmla="*/ 195 h 430"/>
                <a:gd name="T42" fmla="*/ 9 w 458"/>
                <a:gd name="T43" fmla="*/ 176 h 430"/>
                <a:gd name="T44" fmla="*/ 9 w 458"/>
                <a:gd name="T45" fmla="*/ 147 h 430"/>
                <a:gd name="T46" fmla="*/ 9 w 458"/>
                <a:gd name="T47" fmla="*/ 108 h 430"/>
                <a:gd name="T48" fmla="*/ 9 w 458"/>
                <a:gd name="T49" fmla="*/ 88 h 430"/>
                <a:gd name="T50" fmla="*/ 29 w 458"/>
                <a:gd name="T51" fmla="*/ 78 h 430"/>
                <a:gd name="T52" fmla="*/ 58 w 458"/>
                <a:gd name="T53" fmla="*/ 69 h 430"/>
                <a:gd name="T54" fmla="*/ 97 w 458"/>
                <a:gd name="T55" fmla="*/ 59 h 430"/>
                <a:gd name="T56" fmla="*/ 87 w 458"/>
                <a:gd name="T57" fmla="*/ 69 h 430"/>
                <a:gd name="T58" fmla="*/ 107 w 458"/>
                <a:gd name="T59" fmla="*/ 69 h 430"/>
                <a:gd name="T60" fmla="*/ 107 w 458"/>
                <a:gd name="T61" fmla="*/ 78 h 430"/>
                <a:gd name="T62" fmla="*/ 126 w 458"/>
                <a:gd name="T63" fmla="*/ 88 h 430"/>
                <a:gd name="T64" fmla="*/ 146 w 458"/>
                <a:gd name="T65" fmla="*/ 108 h 430"/>
                <a:gd name="T66" fmla="*/ 146 w 458"/>
                <a:gd name="T67" fmla="*/ 127 h 430"/>
                <a:gd name="T68" fmla="*/ 126 w 458"/>
                <a:gd name="T69" fmla="*/ 147 h 430"/>
                <a:gd name="T70" fmla="*/ 117 w 458"/>
                <a:gd name="T71" fmla="*/ 166 h 430"/>
                <a:gd name="T72" fmla="*/ 126 w 458"/>
                <a:gd name="T73" fmla="*/ 186 h 430"/>
                <a:gd name="T74" fmla="*/ 156 w 458"/>
                <a:gd name="T75" fmla="*/ 195 h 430"/>
                <a:gd name="T76" fmla="*/ 185 w 458"/>
                <a:gd name="T77" fmla="*/ 195 h 430"/>
                <a:gd name="T78" fmla="*/ 204 w 458"/>
                <a:gd name="T79" fmla="*/ 176 h 430"/>
                <a:gd name="T80" fmla="*/ 214 w 458"/>
                <a:gd name="T81" fmla="*/ 156 h 430"/>
                <a:gd name="T82" fmla="*/ 204 w 458"/>
                <a:gd name="T83" fmla="*/ 127 h 430"/>
                <a:gd name="T84" fmla="*/ 195 w 458"/>
                <a:gd name="T85" fmla="*/ 117 h 430"/>
                <a:gd name="T86" fmla="*/ 175 w 458"/>
                <a:gd name="T87" fmla="*/ 98 h 430"/>
                <a:gd name="T88" fmla="*/ 165 w 458"/>
                <a:gd name="T89" fmla="*/ 78 h 430"/>
                <a:gd name="T90" fmla="*/ 165 w 458"/>
                <a:gd name="T91" fmla="*/ 49 h 430"/>
                <a:gd name="T92" fmla="*/ 175 w 458"/>
                <a:gd name="T93" fmla="*/ 49 h 430"/>
                <a:gd name="T94" fmla="*/ 185 w 458"/>
                <a:gd name="T95" fmla="*/ 30 h 430"/>
                <a:gd name="T96" fmla="*/ 204 w 458"/>
                <a:gd name="T97" fmla="*/ 30 h 430"/>
                <a:gd name="T98" fmla="*/ 185 w 458"/>
                <a:gd name="T99" fmla="*/ 20 h 430"/>
                <a:gd name="T100" fmla="*/ 165 w 458"/>
                <a:gd name="T101" fmla="*/ 10 h 430"/>
                <a:gd name="T102" fmla="*/ 195 w 458"/>
                <a:gd name="T103" fmla="*/ 0 h 430"/>
                <a:gd name="T104" fmla="*/ 263 w 458"/>
                <a:gd name="T105" fmla="*/ 20 h 430"/>
                <a:gd name="T106" fmla="*/ 282 w 458"/>
                <a:gd name="T107" fmla="*/ 20 h 430"/>
                <a:gd name="T108" fmla="*/ 282 w 458"/>
                <a:gd name="T109" fmla="*/ 49 h 430"/>
                <a:gd name="T110" fmla="*/ 282 w 458"/>
                <a:gd name="T111" fmla="*/ 88 h 430"/>
                <a:gd name="T112" fmla="*/ 331 w 458"/>
                <a:gd name="T113" fmla="*/ 234 h 430"/>
                <a:gd name="T114" fmla="*/ 390 w 458"/>
                <a:gd name="T115" fmla="*/ 244 h 430"/>
                <a:gd name="T116" fmla="*/ 399 w 458"/>
                <a:gd name="T117" fmla="*/ 215 h 430"/>
                <a:gd name="T118" fmla="*/ 419 w 458"/>
                <a:gd name="T119" fmla="*/ 254 h 430"/>
                <a:gd name="T120" fmla="*/ 458 w 458"/>
                <a:gd name="T121" fmla="*/ 303 h 430"/>
                <a:gd name="T122" fmla="*/ 458 w 458"/>
                <a:gd name="T123" fmla="*/ 322 h 430"/>
                <a:gd name="T124" fmla="*/ 448 w 458"/>
                <a:gd name="T125" fmla="*/ 332 h 43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8"/>
                <a:gd name="T190" fmla="*/ 0 h 430"/>
                <a:gd name="T191" fmla="*/ 458 w 458"/>
                <a:gd name="T192" fmla="*/ 430 h 43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8" h="430">
                  <a:moveTo>
                    <a:pt x="448" y="332"/>
                  </a:moveTo>
                  <a:lnTo>
                    <a:pt x="429" y="322"/>
                  </a:lnTo>
                  <a:lnTo>
                    <a:pt x="409" y="322"/>
                  </a:lnTo>
                  <a:lnTo>
                    <a:pt x="399" y="322"/>
                  </a:lnTo>
                  <a:lnTo>
                    <a:pt x="390" y="332"/>
                  </a:lnTo>
                  <a:lnTo>
                    <a:pt x="370" y="351"/>
                  </a:lnTo>
                  <a:lnTo>
                    <a:pt x="331" y="361"/>
                  </a:lnTo>
                  <a:lnTo>
                    <a:pt x="331" y="371"/>
                  </a:lnTo>
                  <a:lnTo>
                    <a:pt x="312" y="391"/>
                  </a:lnTo>
                  <a:lnTo>
                    <a:pt x="292" y="410"/>
                  </a:lnTo>
                  <a:lnTo>
                    <a:pt x="273" y="430"/>
                  </a:lnTo>
                  <a:lnTo>
                    <a:pt x="253" y="410"/>
                  </a:lnTo>
                  <a:lnTo>
                    <a:pt x="234" y="410"/>
                  </a:lnTo>
                  <a:lnTo>
                    <a:pt x="224" y="410"/>
                  </a:lnTo>
                  <a:lnTo>
                    <a:pt x="224" y="381"/>
                  </a:lnTo>
                  <a:lnTo>
                    <a:pt x="214" y="381"/>
                  </a:lnTo>
                  <a:lnTo>
                    <a:pt x="214" y="371"/>
                  </a:lnTo>
                  <a:lnTo>
                    <a:pt x="224" y="361"/>
                  </a:lnTo>
                  <a:lnTo>
                    <a:pt x="224" y="351"/>
                  </a:lnTo>
                  <a:lnTo>
                    <a:pt x="204" y="351"/>
                  </a:lnTo>
                  <a:lnTo>
                    <a:pt x="214" y="332"/>
                  </a:lnTo>
                  <a:lnTo>
                    <a:pt x="214" y="322"/>
                  </a:lnTo>
                  <a:lnTo>
                    <a:pt x="204" y="303"/>
                  </a:lnTo>
                  <a:lnTo>
                    <a:pt x="185" y="303"/>
                  </a:lnTo>
                  <a:lnTo>
                    <a:pt x="165" y="303"/>
                  </a:lnTo>
                  <a:lnTo>
                    <a:pt x="156" y="293"/>
                  </a:lnTo>
                  <a:lnTo>
                    <a:pt x="165" y="273"/>
                  </a:lnTo>
                  <a:lnTo>
                    <a:pt x="175" y="264"/>
                  </a:lnTo>
                  <a:lnTo>
                    <a:pt x="165" y="244"/>
                  </a:lnTo>
                  <a:lnTo>
                    <a:pt x="156" y="244"/>
                  </a:lnTo>
                  <a:lnTo>
                    <a:pt x="126" y="244"/>
                  </a:lnTo>
                  <a:lnTo>
                    <a:pt x="107" y="244"/>
                  </a:lnTo>
                  <a:lnTo>
                    <a:pt x="97" y="225"/>
                  </a:lnTo>
                  <a:lnTo>
                    <a:pt x="87" y="215"/>
                  </a:lnTo>
                  <a:lnTo>
                    <a:pt x="68" y="225"/>
                  </a:lnTo>
                  <a:lnTo>
                    <a:pt x="58" y="225"/>
                  </a:lnTo>
                  <a:lnTo>
                    <a:pt x="48" y="215"/>
                  </a:lnTo>
                  <a:lnTo>
                    <a:pt x="48" y="205"/>
                  </a:lnTo>
                  <a:lnTo>
                    <a:pt x="39" y="195"/>
                  </a:lnTo>
                  <a:lnTo>
                    <a:pt x="29" y="205"/>
                  </a:lnTo>
                  <a:lnTo>
                    <a:pt x="9" y="20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9" y="176"/>
                  </a:lnTo>
                  <a:lnTo>
                    <a:pt x="0" y="16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9" y="108"/>
                  </a:lnTo>
                  <a:lnTo>
                    <a:pt x="9" y="88"/>
                  </a:lnTo>
                  <a:lnTo>
                    <a:pt x="9" y="78"/>
                  </a:lnTo>
                  <a:lnTo>
                    <a:pt x="29" y="78"/>
                  </a:lnTo>
                  <a:lnTo>
                    <a:pt x="48" y="69"/>
                  </a:lnTo>
                  <a:lnTo>
                    <a:pt x="58" y="69"/>
                  </a:lnTo>
                  <a:lnTo>
                    <a:pt x="87" y="59"/>
                  </a:lnTo>
                  <a:lnTo>
                    <a:pt x="97" y="59"/>
                  </a:lnTo>
                  <a:lnTo>
                    <a:pt x="87" y="59"/>
                  </a:lnTo>
                  <a:lnTo>
                    <a:pt x="87" y="69"/>
                  </a:lnTo>
                  <a:lnTo>
                    <a:pt x="97" y="69"/>
                  </a:lnTo>
                  <a:lnTo>
                    <a:pt x="107" y="69"/>
                  </a:lnTo>
                  <a:lnTo>
                    <a:pt x="107" y="78"/>
                  </a:lnTo>
                  <a:lnTo>
                    <a:pt x="107" y="88"/>
                  </a:lnTo>
                  <a:lnTo>
                    <a:pt x="126" y="88"/>
                  </a:lnTo>
                  <a:lnTo>
                    <a:pt x="136" y="88"/>
                  </a:lnTo>
                  <a:lnTo>
                    <a:pt x="146" y="108"/>
                  </a:lnTo>
                  <a:lnTo>
                    <a:pt x="156" y="127"/>
                  </a:lnTo>
                  <a:lnTo>
                    <a:pt x="146" y="127"/>
                  </a:lnTo>
                  <a:lnTo>
                    <a:pt x="136" y="137"/>
                  </a:lnTo>
                  <a:lnTo>
                    <a:pt x="126" y="147"/>
                  </a:lnTo>
                  <a:lnTo>
                    <a:pt x="117" y="147"/>
                  </a:lnTo>
                  <a:lnTo>
                    <a:pt x="117" y="166"/>
                  </a:lnTo>
                  <a:lnTo>
                    <a:pt x="126" y="176"/>
                  </a:lnTo>
                  <a:lnTo>
                    <a:pt x="126" y="186"/>
                  </a:lnTo>
                  <a:lnTo>
                    <a:pt x="136" y="186"/>
                  </a:lnTo>
                  <a:lnTo>
                    <a:pt x="156" y="195"/>
                  </a:lnTo>
                  <a:lnTo>
                    <a:pt x="165" y="195"/>
                  </a:lnTo>
                  <a:lnTo>
                    <a:pt x="185" y="195"/>
                  </a:lnTo>
                  <a:lnTo>
                    <a:pt x="195" y="186"/>
                  </a:lnTo>
                  <a:lnTo>
                    <a:pt x="204" y="176"/>
                  </a:lnTo>
                  <a:lnTo>
                    <a:pt x="214" y="166"/>
                  </a:lnTo>
                  <a:lnTo>
                    <a:pt x="214" y="156"/>
                  </a:lnTo>
                  <a:lnTo>
                    <a:pt x="214" y="137"/>
                  </a:lnTo>
                  <a:lnTo>
                    <a:pt x="204" y="127"/>
                  </a:lnTo>
                  <a:lnTo>
                    <a:pt x="195" y="117"/>
                  </a:lnTo>
                  <a:lnTo>
                    <a:pt x="175" y="117"/>
                  </a:lnTo>
                  <a:lnTo>
                    <a:pt x="175" y="98"/>
                  </a:lnTo>
                  <a:lnTo>
                    <a:pt x="165" y="88"/>
                  </a:lnTo>
                  <a:lnTo>
                    <a:pt x="165" y="78"/>
                  </a:lnTo>
                  <a:lnTo>
                    <a:pt x="165" y="59"/>
                  </a:lnTo>
                  <a:lnTo>
                    <a:pt x="165" y="49"/>
                  </a:lnTo>
                  <a:lnTo>
                    <a:pt x="175" y="30"/>
                  </a:lnTo>
                  <a:lnTo>
                    <a:pt x="175" y="49"/>
                  </a:lnTo>
                  <a:lnTo>
                    <a:pt x="185" y="39"/>
                  </a:lnTo>
                  <a:lnTo>
                    <a:pt x="185" y="30"/>
                  </a:lnTo>
                  <a:lnTo>
                    <a:pt x="195" y="30"/>
                  </a:lnTo>
                  <a:lnTo>
                    <a:pt x="204" y="30"/>
                  </a:lnTo>
                  <a:lnTo>
                    <a:pt x="195" y="20"/>
                  </a:lnTo>
                  <a:lnTo>
                    <a:pt x="185" y="20"/>
                  </a:lnTo>
                  <a:lnTo>
                    <a:pt x="175" y="20"/>
                  </a:lnTo>
                  <a:lnTo>
                    <a:pt x="165" y="10"/>
                  </a:lnTo>
                  <a:lnTo>
                    <a:pt x="165" y="0"/>
                  </a:lnTo>
                  <a:lnTo>
                    <a:pt x="195" y="0"/>
                  </a:lnTo>
                  <a:lnTo>
                    <a:pt x="224" y="10"/>
                  </a:lnTo>
                  <a:lnTo>
                    <a:pt x="263" y="20"/>
                  </a:lnTo>
                  <a:lnTo>
                    <a:pt x="273" y="20"/>
                  </a:lnTo>
                  <a:lnTo>
                    <a:pt x="282" y="20"/>
                  </a:lnTo>
                  <a:lnTo>
                    <a:pt x="273" y="30"/>
                  </a:lnTo>
                  <a:lnTo>
                    <a:pt x="282" y="49"/>
                  </a:lnTo>
                  <a:lnTo>
                    <a:pt x="282" y="69"/>
                  </a:lnTo>
                  <a:lnTo>
                    <a:pt x="282" y="88"/>
                  </a:lnTo>
                  <a:lnTo>
                    <a:pt x="263" y="108"/>
                  </a:lnTo>
                  <a:lnTo>
                    <a:pt x="331" y="234"/>
                  </a:lnTo>
                  <a:lnTo>
                    <a:pt x="370" y="244"/>
                  </a:lnTo>
                  <a:lnTo>
                    <a:pt x="390" y="244"/>
                  </a:lnTo>
                  <a:lnTo>
                    <a:pt x="380" y="215"/>
                  </a:lnTo>
                  <a:lnTo>
                    <a:pt x="399" y="215"/>
                  </a:lnTo>
                  <a:lnTo>
                    <a:pt x="409" y="244"/>
                  </a:lnTo>
                  <a:lnTo>
                    <a:pt x="419" y="254"/>
                  </a:lnTo>
                  <a:lnTo>
                    <a:pt x="448" y="283"/>
                  </a:lnTo>
                  <a:lnTo>
                    <a:pt x="458" y="303"/>
                  </a:lnTo>
                  <a:lnTo>
                    <a:pt x="448" y="312"/>
                  </a:lnTo>
                  <a:lnTo>
                    <a:pt x="458" y="322"/>
                  </a:lnTo>
                  <a:lnTo>
                    <a:pt x="458" y="332"/>
                  </a:lnTo>
                  <a:lnTo>
                    <a:pt x="448" y="332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353"/>
            <p:cNvSpPr>
              <a:spLocks/>
            </p:cNvSpPr>
            <p:nvPr/>
          </p:nvSpPr>
          <p:spPr bwMode="auto">
            <a:xfrm>
              <a:off x="1708" y="2226"/>
              <a:ext cx="273" cy="301"/>
            </a:xfrm>
            <a:custGeom>
              <a:avLst/>
              <a:gdLst>
                <a:gd name="T0" fmla="*/ 88 w 273"/>
                <a:gd name="T1" fmla="*/ 0 h 302"/>
                <a:gd name="T2" fmla="*/ 117 w 273"/>
                <a:gd name="T3" fmla="*/ 29 h 302"/>
                <a:gd name="T4" fmla="*/ 137 w 273"/>
                <a:gd name="T5" fmla="*/ 29 h 302"/>
                <a:gd name="T6" fmla="*/ 156 w 273"/>
                <a:gd name="T7" fmla="*/ 39 h 302"/>
                <a:gd name="T8" fmla="*/ 166 w 273"/>
                <a:gd name="T9" fmla="*/ 58 h 302"/>
                <a:gd name="T10" fmla="*/ 166 w 273"/>
                <a:gd name="T11" fmla="*/ 68 h 302"/>
                <a:gd name="T12" fmla="*/ 166 w 273"/>
                <a:gd name="T13" fmla="*/ 87 h 302"/>
                <a:gd name="T14" fmla="*/ 185 w 273"/>
                <a:gd name="T15" fmla="*/ 117 h 302"/>
                <a:gd name="T16" fmla="*/ 195 w 273"/>
                <a:gd name="T17" fmla="*/ 117 h 302"/>
                <a:gd name="T18" fmla="*/ 205 w 273"/>
                <a:gd name="T19" fmla="*/ 117 h 302"/>
                <a:gd name="T20" fmla="*/ 215 w 273"/>
                <a:gd name="T21" fmla="*/ 107 h 302"/>
                <a:gd name="T22" fmla="*/ 224 w 273"/>
                <a:gd name="T23" fmla="*/ 117 h 302"/>
                <a:gd name="T24" fmla="*/ 234 w 273"/>
                <a:gd name="T25" fmla="*/ 126 h 302"/>
                <a:gd name="T26" fmla="*/ 244 w 273"/>
                <a:gd name="T27" fmla="*/ 146 h 302"/>
                <a:gd name="T28" fmla="*/ 254 w 273"/>
                <a:gd name="T29" fmla="*/ 156 h 302"/>
                <a:gd name="T30" fmla="*/ 273 w 273"/>
                <a:gd name="T31" fmla="*/ 156 h 302"/>
                <a:gd name="T32" fmla="*/ 273 w 273"/>
                <a:gd name="T33" fmla="*/ 195 h 302"/>
                <a:gd name="T34" fmla="*/ 263 w 273"/>
                <a:gd name="T35" fmla="*/ 195 h 302"/>
                <a:gd name="T36" fmla="*/ 263 w 273"/>
                <a:gd name="T37" fmla="*/ 214 h 302"/>
                <a:gd name="T38" fmla="*/ 254 w 273"/>
                <a:gd name="T39" fmla="*/ 234 h 302"/>
                <a:gd name="T40" fmla="*/ 263 w 273"/>
                <a:gd name="T41" fmla="*/ 234 h 302"/>
                <a:gd name="T42" fmla="*/ 263 w 273"/>
                <a:gd name="T43" fmla="*/ 263 h 302"/>
                <a:gd name="T44" fmla="*/ 254 w 273"/>
                <a:gd name="T45" fmla="*/ 263 h 302"/>
                <a:gd name="T46" fmla="*/ 254 w 273"/>
                <a:gd name="T47" fmla="*/ 282 h 302"/>
                <a:gd name="T48" fmla="*/ 224 w 273"/>
                <a:gd name="T49" fmla="*/ 273 h 302"/>
                <a:gd name="T50" fmla="*/ 224 w 273"/>
                <a:gd name="T51" fmla="*/ 302 h 302"/>
                <a:gd name="T52" fmla="*/ 195 w 273"/>
                <a:gd name="T53" fmla="*/ 302 h 302"/>
                <a:gd name="T54" fmla="*/ 185 w 273"/>
                <a:gd name="T55" fmla="*/ 282 h 302"/>
                <a:gd name="T56" fmla="*/ 156 w 273"/>
                <a:gd name="T57" fmla="*/ 273 h 302"/>
                <a:gd name="T58" fmla="*/ 146 w 273"/>
                <a:gd name="T59" fmla="*/ 282 h 302"/>
                <a:gd name="T60" fmla="*/ 137 w 273"/>
                <a:gd name="T61" fmla="*/ 282 h 302"/>
                <a:gd name="T62" fmla="*/ 127 w 273"/>
                <a:gd name="T63" fmla="*/ 263 h 302"/>
                <a:gd name="T64" fmla="*/ 107 w 273"/>
                <a:gd name="T65" fmla="*/ 253 h 302"/>
                <a:gd name="T66" fmla="*/ 98 w 273"/>
                <a:gd name="T67" fmla="*/ 243 h 302"/>
                <a:gd name="T68" fmla="*/ 78 w 273"/>
                <a:gd name="T69" fmla="*/ 243 h 302"/>
                <a:gd name="T70" fmla="*/ 78 w 273"/>
                <a:gd name="T71" fmla="*/ 224 h 302"/>
                <a:gd name="T72" fmla="*/ 88 w 273"/>
                <a:gd name="T73" fmla="*/ 224 h 302"/>
                <a:gd name="T74" fmla="*/ 78 w 273"/>
                <a:gd name="T75" fmla="*/ 204 h 302"/>
                <a:gd name="T76" fmla="*/ 49 w 273"/>
                <a:gd name="T77" fmla="*/ 204 h 302"/>
                <a:gd name="T78" fmla="*/ 29 w 273"/>
                <a:gd name="T79" fmla="*/ 175 h 302"/>
                <a:gd name="T80" fmla="*/ 0 w 273"/>
                <a:gd name="T81" fmla="*/ 175 h 302"/>
                <a:gd name="T82" fmla="*/ 0 w 273"/>
                <a:gd name="T83" fmla="*/ 136 h 302"/>
                <a:gd name="T84" fmla="*/ 29 w 273"/>
                <a:gd name="T85" fmla="*/ 136 h 302"/>
                <a:gd name="T86" fmla="*/ 29 w 273"/>
                <a:gd name="T87" fmla="*/ 117 h 302"/>
                <a:gd name="T88" fmla="*/ 29 w 273"/>
                <a:gd name="T89" fmla="*/ 87 h 302"/>
                <a:gd name="T90" fmla="*/ 29 w 273"/>
                <a:gd name="T91" fmla="*/ 78 h 302"/>
                <a:gd name="T92" fmla="*/ 49 w 273"/>
                <a:gd name="T93" fmla="*/ 68 h 302"/>
                <a:gd name="T94" fmla="*/ 59 w 273"/>
                <a:gd name="T95" fmla="*/ 48 h 302"/>
                <a:gd name="T96" fmla="*/ 59 w 273"/>
                <a:gd name="T97" fmla="*/ 0 h 302"/>
                <a:gd name="T98" fmla="*/ 88 w 273"/>
                <a:gd name="T99" fmla="*/ 0 h 3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3"/>
                <a:gd name="T151" fmla="*/ 0 h 302"/>
                <a:gd name="T152" fmla="*/ 273 w 273"/>
                <a:gd name="T153" fmla="*/ 302 h 3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3" h="302">
                  <a:moveTo>
                    <a:pt x="88" y="0"/>
                  </a:moveTo>
                  <a:lnTo>
                    <a:pt x="117" y="29"/>
                  </a:lnTo>
                  <a:lnTo>
                    <a:pt x="137" y="2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66" y="87"/>
                  </a:lnTo>
                  <a:lnTo>
                    <a:pt x="185" y="117"/>
                  </a:lnTo>
                  <a:lnTo>
                    <a:pt x="195" y="117"/>
                  </a:lnTo>
                  <a:lnTo>
                    <a:pt x="205" y="117"/>
                  </a:lnTo>
                  <a:lnTo>
                    <a:pt x="215" y="107"/>
                  </a:lnTo>
                  <a:lnTo>
                    <a:pt x="224" y="117"/>
                  </a:lnTo>
                  <a:lnTo>
                    <a:pt x="234" y="126"/>
                  </a:lnTo>
                  <a:lnTo>
                    <a:pt x="244" y="146"/>
                  </a:lnTo>
                  <a:lnTo>
                    <a:pt x="254" y="156"/>
                  </a:lnTo>
                  <a:lnTo>
                    <a:pt x="273" y="156"/>
                  </a:lnTo>
                  <a:lnTo>
                    <a:pt x="273" y="195"/>
                  </a:lnTo>
                  <a:lnTo>
                    <a:pt x="263" y="195"/>
                  </a:lnTo>
                  <a:lnTo>
                    <a:pt x="263" y="214"/>
                  </a:lnTo>
                  <a:lnTo>
                    <a:pt x="254" y="234"/>
                  </a:lnTo>
                  <a:lnTo>
                    <a:pt x="263" y="234"/>
                  </a:lnTo>
                  <a:lnTo>
                    <a:pt x="263" y="263"/>
                  </a:lnTo>
                  <a:lnTo>
                    <a:pt x="254" y="263"/>
                  </a:lnTo>
                  <a:lnTo>
                    <a:pt x="254" y="282"/>
                  </a:lnTo>
                  <a:lnTo>
                    <a:pt x="224" y="273"/>
                  </a:lnTo>
                  <a:lnTo>
                    <a:pt x="224" y="302"/>
                  </a:lnTo>
                  <a:lnTo>
                    <a:pt x="195" y="302"/>
                  </a:lnTo>
                  <a:lnTo>
                    <a:pt x="185" y="282"/>
                  </a:lnTo>
                  <a:lnTo>
                    <a:pt x="156" y="273"/>
                  </a:lnTo>
                  <a:lnTo>
                    <a:pt x="146" y="282"/>
                  </a:lnTo>
                  <a:lnTo>
                    <a:pt x="137" y="282"/>
                  </a:lnTo>
                  <a:lnTo>
                    <a:pt x="127" y="263"/>
                  </a:lnTo>
                  <a:lnTo>
                    <a:pt x="107" y="253"/>
                  </a:lnTo>
                  <a:lnTo>
                    <a:pt x="98" y="243"/>
                  </a:lnTo>
                  <a:lnTo>
                    <a:pt x="78" y="243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78" y="204"/>
                  </a:lnTo>
                  <a:lnTo>
                    <a:pt x="49" y="204"/>
                  </a:lnTo>
                  <a:lnTo>
                    <a:pt x="29" y="175"/>
                  </a:lnTo>
                  <a:lnTo>
                    <a:pt x="0" y="175"/>
                  </a:lnTo>
                  <a:lnTo>
                    <a:pt x="0" y="13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87"/>
                  </a:lnTo>
                  <a:lnTo>
                    <a:pt x="29" y="78"/>
                  </a:lnTo>
                  <a:lnTo>
                    <a:pt x="49" y="68"/>
                  </a:lnTo>
                  <a:lnTo>
                    <a:pt x="59" y="48"/>
                  </a:lnTo>
                  <a:lnTo>
                    <a:pt x="59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352"/>
            <p:cNvSpPr>
              <a:spLocks/>
            </p:cNvSpPr>
            <p:nvPr/>
          </p:nvSpPr>
          <p:spPr bwMode="auto">
            <a:xfrm>
              <a:off x="1902" y="2353"/>
              <a:ext cx="322" cy="230"/>
            </a:xfrm>
            <a:custGeom>
              <a:avLst/>
              <a:gdLst>
                <a:gd name="T0" fmla="*/ 78 w 322"/>
                <a:gd name="T1" fmla="*/ 69 h 235"/>
                <a:gd name="T2" fmla="*/ 68 w 322"/>
                <a:gd name="T3" fmla="*/ 88 h 235"/>
                <a:gd name="T4" fmla="*/ 68 w 322"/>
                <a:gd name="T5" fmla="*/ 108 h 235"/>
                <a:gd name="T6" fmla="*/ 59 w 322"/>
                <a:gd name="T7" fmla="*/ 137 h 235"/>
                <a:gd name="T8" fmla="*/ 39 w 322"/>
                <a:gd name="T9" fmla="*/ 147 h 235"/>
                <a:gd name="T10" fmla="*/ 0 w 322"/>
                <a:gd name="T11" fmla="*/ 176 h 235"/>
                <a:gd name="T12" fmla="*/ 20 w 322"/>
                <a:gd name="T13" fmla="*/ 186 h 235"/>
                <a:gd name="T14" fmla="*/ 49 w 322"/>
                <a:gd name="T15" fmla="*/ 215 h 235"/>
                <a:gd name="T16" fmla="*/ 68 w 322"/>
                <a:gd name="T17" fmla="*/ 235 h 235"/>
                <a:gd name="T18" fmla="*/ 107 w 322"/>
                <a:gd name="T19" fmla="*/ 235 h 235"/>
                <a:gd name="T20" fmla="*/ 107 w 322"/>
                <a:gd name="T21" fmla="*/ 215 h 235"/>
                <a:gd name="T22" fmla="*/ 98 w 322"/>
                <a:gd name="T23" fmla="*/ 205 h 235"/>
                <a:gd name="T24" fmla="*/ 117 w 322"/>
                <a:gd name="T25" fmla="*/ 186 h 235"/>
                <a:gd name="T26" fmla="*/ 156 w 322"/>
                <a:gd name="T27" fmla="*/ 186 h 235"/>
                <a:gd name="T28" fmla="*/ 176 w 322"/>
                <a:gd name="T29" fmla="*/ 186 h 235"/>
                <a:gd name="T30" fmla="*/ 195 w 322"/>
                <a:gd name="T31" fmla="*/ 186 h 235"/>
                <a:gd name="T32" fmla="*/ 234 w 322"/>
                <a:gd name="T33" fmla="*/ 205 h 235"/>
                <a:gd name="T34" fmla="*/ 273 w 322"/>
                <a:gd name="T35" fmla="*/ 235 h 235"/>
                <a:gd name="T36" fmla="*/ 293 w 322"/>
                <a:gd name="T37" fmla="*/ 215 h 235"/>
                <a:gd name="T38" fmla="*/ 322 w 322"/>
                <a:gd name="T39" fmla="*/ 205 h 235"/>
                <a:gd name="T40" fmla="*/ 322 w 322"/>
                <a:gd name="T41" fmla="*/ 186 h 235"/>
                <a:gd name="T42" fmla="*/ 322 w 322"/>
                <a:gd name="T43" fmla="*/ 137 h 235"/>
                <a:gd name="T44" fmla="*/ 302 w 322"/>
                <a:gd name="T45" fmla="*/ 117 h 235"/>
                <a:gd name="T46" fmla="*/ 273 w 322"/>
                <a:gd name="T47" fmla="*/ 127 h 235"/>
                <a:gd name="T48" fmla="*/ 254 w 322"/>
                <a:gd name="T49" fmla="*/ 108 h 235"/>
                <a:gd name="T50" fmla="*/ 224 w 322"/>
                <a:gd name="T51" fmla="*/ 88 h 235"/>
                <a:gd name="T52" fmla="*/ 205 w 322"/>
                <a:gd name="T53" fmla="*/ 69 h 235"/>
                <a:gd name="T54" fmla="*/ 195 w 322"/>
                <a:gd name="T55" fmla="*/ 39 h 235"/>
                <a:gd name="T56" fmla="*/ 185 w 322"/>
                <a:gd name="T57" fmla="*/ 20 h 235"/>
                <a:gd name="T58" fmla="*/ 166 w 322"/>
                <a:gd name="T59" fmla="*/ 0 h 235"/>
                <a:gd name="T60" fmla="*/ 146 w 322"/>
                <a:gd name="T61" fmla="*/ 39 h 235"/>
                <a:gd name="T62" fmla="*/ 117 w 322"/>
                <a:gd name="T63" fmla="*/ 39 h 23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2"/>
                <a:gd name="T97" fmla="*/ 0 h 235"/>
                <a:gd name="T98" fmla="*/ 322 w 322"/>
                <a:gd name="T99" fmla="*/ 235 h 23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2" h="235">
                  <a:moveTo>
                    <a:pt x="88" y="30"/>
                  </a:moveTo>
                  <a:lnTo>
                    <a:pt x="78" y="69"/>
                  </a:lnTo>
                  <a:lnTo>
                    <a:pt x="68" y="69"/>
                  </a:lnTo>
                  <a:lnTo>
                    <a:pt x="68" y="88"/>
                  </a:lnTo>
                  <a:lnTo>
                    <a:pt x="59" y="108"/>
                  </a:lnTo>
                  <a:lnTo>
                    <a:pt x="68" y="108"/>
                  </a:lnTo>
                  <a:lnTo>
                    <a:pt x="68" y="137"/>
                  </a:lnTo>
                  <a:lnTo>
                    <a:pt x="59" y="137"/>
                  </a:lnTo>
                  <a:lnTo>
                    <a:pt x="59" y="156"/>
                  </a:lnTo>
                  <a:lnTo>
                    <a:pt x="39" y="147"/>
                  </a:lnTo>
                  <a:lnTo>
                    <a:pt x="29" y="17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20" y="18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68" y="215"/>
                  </a:lnTo>
                  <a:lnTo>
                    <a:pt x="68" y="235"/>
                  </a:lnTo>
                  <a:lnTo>
                    <a:pt x="98" y="235"/>
                  </a:lnTo>
                  <a:lnTo>
                    <a:pt x="107" y="235"/>
                  </a:lnTo>
                  <a:lnTo>
                    <a:pt x="107" y="215"/>
                  </a:lnTo>
                  <a:lnTo>
                    <a:pt x="98" y="215"/>
                  </a:lnTo>
                  <a:lnTo>
                    <a:pt x="98" y="205"/>
                  </a:lnTo>
                  <a:lnTo>
                    <a:pt x="117" y="205"/>
                  </a:lnTo>
                  <a:lnTo>
                    <a:pt x="117" y="186"/>
                  </a:lnTo>
                  <a:lnTo>
                    <a:pt x="127" y="186"/>
                  </a:lnTo>
                  <a:lnTo>
                    <a:pt x="156" y="186"/>
                  </a:lnTo>
                  <a:lnTo>
                    <a:pt x="176" y="186"/>
                  </a:lnTo>
                  <a:lnTo>
                    <a:pt x="176" y="176"/>
                  </a:lnTo>
                  <a:lnTo>
                    <a:pt x="195" y="186"/>
                  </a:lnTo>
                  <a:lnTo>
                    <a:pt x="215" y="196"/>
                  </a:lnTo>
                  <a:lnTo>
                    <a:pt x="234" y="205"/>
                  </a:lnTo>
                  <a:lnTo>
                    <a:pt x="254" y="235"/>
                  </a:lnTo>
                  <a:lnTo>
                    <a:pt x="273" y="235"/>
                  </a:lnTo>
                  <a:lnTo>
                    <a:pt x="273" y="215"/>
                  </a:lnTo>
                  <a:lnTo>
                    <a:pt x="293" y="215"/>
                  </a:lnTo>
                  <a:lnTo>
                    <a:pt x="312" y="215"/>
                  </a:lnTo>
                  <a:lnTo>
                    <a:pt x="322" y="205"/>
                  </a:lnTo>
                  <a:lnTo>
                    <a:pt x="322" y="196"/>
                  </a:lnTo>
                  <a:lnTo>
                    <a:pt x="322" y="186"/>
                  </a:lnTo>
                  <a:lnTo>
                    <a:pt x="322" y="156"/>
                  </a:lnTo>
                  <a:lnTo>
                    <a:pt x="322" y="137"/>
                  </a:lnTo>
                  <a:lnTo>
                    <a:pt x="322" y="127"/>
                  </a:lnTo>
                  <a:lnTo>
                    <a:pt x="302" y="117"/>
                  </a:lnTo>
                  <a:lnTo>
                    <a:pt x="283" y="117"/>
                  </a:lnTo>
                  <a:lnTo>
                    <a:pt x="273" y="127"/>
                  </a:lnTo>
                  <a:lnTo>
                    <a:pt x="263" y="117"/>
                  </a:lnTo>
                  <a:lnTo>
                    <a:pt x="254" y="108"/>
                  </a:lnTo>
                  <a:lnTo>
                    <a:pt x="244" y="88"/>
                  </a:lnTo>
                  <a:lnTo>
                    <a:pt x="224" y="88"/>
                  </a:lnTo>
                  <a:lnTo>
                    <a:pt x="224" y="69"/>
                  </a:lnTo>
                  <a:lnTo>
                    <a:pt x="205" y="69"/>
                  </a:lnTo>
                  <a:lnTo>
                    <a:pt x="185" y="69"/>
                  </a:lnTo>
                  <a:lnTo>
                    <a:pt x="195" y="39"/>
                  </a:lnTo>
                  <a:lnTo>
                    <a:pt x="195" y="30"/>
                  </a:lnTo>
                  <a:lnTo>
                    <a:pt x="185" y="20"/>
                  </a:lnTo>
                  <a:lnTo>
                    <a:pt x="185" y="10"/>
                  </a:lnTo>
                  <a:lnTo>
                    <a:pt x="166" y="0"/>
                  </a:lnTo>
                  <a:lnTo>
                    <a:pt x="166" y="20"/>
                  </a:lnTo>
                  <a:lnTo>
                    <a:pt x="146" y="3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88" y="3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351"/>
            <p:cNvSpPr>
              <a:spLocks/>
            </p:cNvSpPr>
            <p:nvPr/>
          </p:nvSpPr>
          <p:spPr bwMode="auto">
            <a:xfrm>
              <a:off x="1989" y="2527"/>
              <a:ext cx="353" cy="284"/>
            </a:xfrm>
            <a:custGeom>
              <a:avLst/>
              <a:gdLst>
                <a:gd name="T0" fmla="*/ 19 w 351"/>
                <a:gd name="T1" fmla="*/ 59 h 283"/>
                <a:gd name="T2" fmla="*/ 19 w 351"/>
                <a:gd name="T3" fmla="*/ 39 h 283"/>
                <a:gd name="T4" fmla="*/ 10 w 351"/>
                <a:gd name="T5" fmla="*/ 29 h 283"/>
                <a:gd name="T6" fmla="*/ 29 w 351"/>
                <a:gd name="T7" fmla="*/ 10 h 283"/>
                <a:gd name="T8" fmla="*/ 68 w 351"/>
                <a:gd name="T9" fmla="*/ 0 h 283"/>
                <a:gd name="T10" fmla="*/ 88 w 351"/>
                <a:gd name="T11" fmla="*/ 10 h 283"/>
                <a:gd name="T12" fmla="*/ 107 w 351"/>
                <a:gd name="T13" fmla="*/ 0 h 283"/>
                <a:gd name="T14" fmla="*/ 146 w 351"/>
                <a:gd name="T15" fmla="*/ 29 h 283"/>
                <a:gd name="T16" fmla="*/ 185 w 351"/>
                <a:gd name="T17" fmla="*/ 59 h 283"/>
                <a:gd name="T18" fmla="*/ 205 w 351"/>
                <a:gd name="T19" fmla="*/ 39 h 283"/>
                <a:gd name="T20" fmla="*/ 234 w 351"/>
                <a:gd name="T21" fmla="*/ 29 h 283"/>
                <a:gd name="T22" fmla="*/ 244 w 351"/>
                <a:gd name="T23" fmla="*/ 0 h 283"/>
                <a:gd name="T24" fmla="*/ 253 w 351"/>
                <a:gd name="T25" fmla="*/ 39 h 283"/>
                <a:gd name="T26" fmla="*/ 273 w 351"/>
                <a:gd name="T27" fmla="*/ 59 h 283"/>
                <a:gd name="T28" fmla="*/ 292 w 351"/>
                <a:gd name="T29" fmla="*/ 39 h 283"/>
                <a:gd name="T30" fmla="*/ 322 w 351"/>
                <a:gd name="T31" fmla="*/ 59 h 283"/>
                <a:gd name="T32" fmla="*/ 322 w 351"/>
                <a:gd name="T33" fmla="*/ 117 h 283"/>
                <a:gd name="T34" fmla="*/ 351 w 351"/>
                <a:gd name="T35" fmla="*/ 117 h 283"/>
                <a:gd name="T36" fmla="*/ 341 w 351"/>
                <a:gd name="T37" fmla="*/ 127 h 283"/>
                <a:gd name="T38" fmla="*/ 322 w 351"/>
                <a:gd name="T39" fmla="*/ 166 h 283"/>
                <a:gd name="T40" fmla="*/ 273 w 351"/>
                <a:gd name="T41" fmla="*/ 185 h 283"/>
                <a:gd name="T42" fmla="*/ 263 w 351"/>
                <a:gd name="T43" fmla="*/ 224 h 283"/>
                <a:gd name="T44" fmla="*/ 224 w 351"/>
                <a:gd name="T45" fmla="*/ 234 h 283"/>
                <a:gd name="T46" fmla="*/ 175 w 351"/>
                <a:gd name="T47" fmla="*/ 254 h 283"/>
                <a:gd name="T48" fmla="*/ 156 w 351"/>
                <a:gd name="T49" fmla="*/ 254 h 283"/>
                <a:gd name="T50" fmla="*/ 136 w 351"/>
                <a:gd name="T51" fmla="*/ 283 h 283"/>
                <a:gd name="T52" fmla="*/ 78 w 351"/>
                <a:gd name="T53" fmla="*/ 283 h 283"/>
                <a:gd name="T54" fmla="*/ 49 w 351"/>
                <a:gd name="T55" fmla="*/ 234 h 283"/>
                <a:gd name="T56" fmla="*/ 39 w 351"/>
                <a:gd name="T57" fmla="*/ 195 h 283"/>
                <a:gd name="T58" fmla="*/ 29 w 351"/>
                <a:gd name="T59" fmla="*/ 156 h 283"/>
                <a:gd name="T60" fmla="*/ 39 w 351"/>
                <a:gd name="T61" fmla="*/ 146 h 283"/>
                <a:gd name="T62" fmla="*/ 19 w 351"/>
                <a:gd name="T63" fmla="*/ 127 h 283"/>
                <a:gd name="T64" fmla="*/ 29 w 351"/>
                <a:gd name="T65" fmla="*/ 107 h 283"/>
                <a:gd name="T66" fmla="*/ 29 w 351"/>
                <a:gd name="T67" fmla="*/ 98 h 283"/>
                <a:gd name="T68" fmla="*/ 0 w 351"/>
                <a:gd name="T69" fmla="*/ 59 h 2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1"/>
                <a:gd name="T106" fmla="*/ 0 h 283"/>
                <a:gd name="T107" fmla="*/ 351 w 351"/>
                <a:gd name="T108" fmla="*/ 283 h 28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1" h="283">
                  <a:moveTo>
                    <a:pt x="0" y="59"/>
                  </a:moveTo>
                  <a:lnTo>
                    <a:pt x="19" y="59"/>
                  </a:lnTo>
                  <a:lnTo>
                    <a:pt x="19" y="39"/>
                  </a:lnTo>
                  <a:lnTo>
                    <a:pt x="10" y="39"/>
                  </a:lnTo>
                  <a:lnTo>
                    <a:pt x="10" y="29"/>
                  </a:lnTo>
                  <a:lnTo>
                    <a:pt x="29" y="20"/>
                  </a:lnTo>
                  <a:lnTo>
                    <a:pt x="29" y="10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68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27" y="20"/>
                  </a:lnTo>
                  <a:lnTo>
                    <a:pt x="146" y="29"/>
                  </a:lnTo>
                  <a:lnTo>
                    <a:pt x="166" y="5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205" y="39"/>
                  </a:lnTo>
                  <a:lnTo>
                    <a:pt x="224" y="39"/>
                  </a:lnTo>
                  <a:lnTo>
                    <a:pt x="234" y="29"/>
                  </a:lnTo>
                  <a:lnTo>
                    <a:pt x="244" y="20"/>
                  </a:lnTo>
                  <a:lnTo>
                    <a:pt x="244" y="0"/>
                  </a:lnTo>
                  <a:lnTo>
                    <a:pt x="244" y="20"/>
                  </a:lnTo>
                  <a:lnTo>
                    <a:pt x="253" y="39"/>
                  </a:lnTo>
                  <a:lnTo>
                    <a:pt x="273" y="39"/>
                  </a:lnTo>
                  <a:lnTo>
                    <a:pt x="273" y="59"/>
                  </a:lnTo>
                  <a:lnTo>
                    <a:pt x="292" y="59"/>
                  </a:lnTo>
                  <a:lnTo>
                    <a:pt x="292" y="39"/>
                  </a:lnTo>
                  <a:lnTo>
                    <a:pt x="312" y="49"/>
                  </a:lnTo>
                  <a:lnTo>
                    <a:pt x="322" y="59"/>
                  </a:lnTo>
                  <a:lnTo>
                    <a:pt x="322" y="88"/>
                  </a:lnTo>
                  <a:lnTo>
                    <a:pt x="322" y="117"/>
                  </a:lnTo>
                  <a:lnTo>
                    <a:pt x="341" y="107"/>
                  </a:lnTo>
                  <a:lnTo>
                    <a:pt x="351" y="117"/>
                  </a:lnTo>
                  <a:lnTo>
                    <a:pt x="351" y="127"/>
                  </a:lnTo>
                  <a:lnTo>
                    <a:pt x="341" y="127"/>
                  </a:lnTo>
                  <a:lnTo>
                    <a:pt x="331" y="137"/>
                  </a:lnTo>
                  <a:lnTo>
                    <a:pt x="322" y="166"/>
                  </a:lnTo>
                  <a:lnTo>
                    <a:pt x="302" y="176"/>
                  </a:lnTo>
                  <a:lnTo>
                    <a:pt x="273" y="185"/>
                  </a:lnTo>
                  <a:lnTo>
                    <a:pt x="273" y="195"/>
                  </a:lnTo>
                  <a:lnTo>
                    <a:pt x="263" y="224"/>
                  </a:lnTo>
                  <a:lnTo>
                    <a:pt x="253" y="234"/>
                  </a:lnTo>
                  <a:lnTo>
                    <a:pt x="224" y="234"/>
                  </a:lnTo>
                  <a:lnTo>
                    <a:pt x="195" y="234"/>
                  </a:lnTo>
                  <a:lnTo>
                    <a:pt x="175" y="254"/>
                  </a:lnTo>
                  <a:lnTo>
                    <a:pt x="166" y="244"/>
                  </a:lnTo>
                  <a:lnTo>
                    <a:pt x="156" y="254"/>
                  </a:lnTo>
                  <a:lnTo>
                    <a:pt x="156" y="263"/>
                  </a:lnTo>
                  <a:lnTo>
                    <a:pt x="136" y="283"/>
                  </a:lnTo>
                  <a:lnTo>
                    <a:pt x="107" y="283"/>
                  </a:lnTo>
                  <a:lnTo>
                    <a:pt x="78" y="283"/>
                  </a:lnTo>
                  <a:lnTo>
                    <a:pt x="58" y="283"/>
                  </a:lnTo>
                  <a:lnTo>
                    <a:pt x="49" y="234"/>
                  </a:lnTo>
                  <a:lnTo>
                    <a:pt x="39" y="205"/>
                  </a:lnTo>
                  <a:lnTo>
                    <a:pt x="39" y="195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46"/>
                  </a:lnTo>
                  <a:lnTo>
                    <a:pt x="39" y="146"/>
                  </a:lnTo>
                  <a:lnTo>
                    <a:pt x="39" y="137"/>
                  </a:lnTo>
                  <a:lnTo>
                    <a:pt x="19" y="127"/>
                  </a:lnTo>
                  <a:lnTo>
                    <a:pt x="29" y="10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10" y="78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350"/>
            <p:cNvSpPr>
              <a:spLocks/>
            </p:cNvSpPr>
            <p:nvPr/>
          </p:nvSpPr>
          <p:spPr bwMode="auto">
            <a:xfrm>
              <a:off x="1590" y="2369"/>
              <a:ext cx="459" cy="501"/>
            </a:xfrm>
            <a:custGeom>
              <a:avLst/>
              <a:gdLst>
                <a:gd name="T0" fmla="*/ 322 w 458"/>
                <a:gd name="T1" fmla="*/ 166 h 497"/>
                <a:gd name="T2" fmla="*/ 332 w 458"/>
                <a:gd name="T3" fmla="*/ 185 h 497"/>
                <a:gd name="T4" fmla="*/ 380 w 458"/>
                <a:gd name="T5" fmla="*/ 195 h 497"/>
                <a:gd name="T6" fmla="*/ 400 w 458"/>
                <a:gd name="T7" fmla="*/ 224 h 497"/>
                <a:gd name="T8" fmla="*/ 429 w 458"/>
                <a:gd name="T9" fmla="*/ 254 h 497"/>
                <a:gd name="T10" fmla="*/ 429 w 458"/>
                <a:gd name="T11" fmla="*/ 273 h 497"/>
                <a:gd name="T12" fmla="*/ 419 w 458"/>
                <a:gd name="T13" fmla="*/ 283 h 497"/>
                <a:gd name="T14" fmla="*/ 429 w 458"/>
                <a:gd name="T15" fmla="*/ 302 h 497"/>
                <a:gd name="T16" fmla="*/ 429 w 458"/>
                <a:gd name="T17" fmla="*/ 322 h 497"/>
                <a:gd name="T18" fmla="*/ 439 w 458"/>
                <a:gd name="T19" fmla="*/ 351 h 497"/>
                <a:gd name="T20" fmla="*/ 449 w 458"/>
                <a:gd name="T21" fmla="*/ 400 h 497"/>
                <a:gd name="T22" fmla="*/ 439 w 458"/>
                <a:gd name="T23" fmla="*/ 449 h 497"/>
                <a:gd name="T24" fmla="*/ 429 w 458"/>
                <a:gd name="T25" fmla="*/ 439 h 497"/>
                <a:gd name="T26" fmla="*/ 390 w 458"/>
                <a:gd name="T27" fmla="*/ 449 h 497"/>
                <a:gd name="T28" fmla="*/ 351 w 458"/>
                <a:gd name="T29" fmla="*/ 439 h 497"/>
                <a:gd name="T30" fmla="*/ 341 w 458"/>
                <a:gd name="T31" fmla="*/ 429 h 497"/>
                <a:gd name="T32" fmla="*/ 322 w 458"/>
                <a:gd name="T33" fmla="*/ 439 h 497"/>
                <a:gd name="T34" fmla="*/ 283 w 458"/>
                <a:gd name="T35" fmla="*/ 439 h 497"/>
                <a:gd name="T36" fmla="*/ 273 w 458"/>
                <a:gd name="T37" fmla="*/ 439 h 497"/>
                <a:gd name="T38" fmla="*/ 254 w 458"/>
                <a:gd name="T39" fmla="*/ 419 h 497"/>
                <a:gd name="T40" fmla="*/ 234 w 458"/>
                <a:gd name="T41" fmla="*/ 429 h 497"/>
                <a:gd name="T42" fmla="*/ 215 w 458"/>
                <a:gd name="T43" fmla="*/ 468 h 497"/>
                <a:gd name="T44" fmla="*/ 215 w 458"/>
                <a:gd name="T45" fmla="*/ 497 h 497"/>
                <a:gd name="T46" fmla="*/ 166 w 458"/>
                <a:gd name="T47" fmla="*/ 468 h 497"/>
                <a:gd name="T48" fmla="*/ 176 w 458"/>
                <a:gd name="T49" fmla="*/ 439 h 497"/>
                <a:gd name="T50" fmla="*/ 176 w 458"/>
                <a:gd name="T51" fmla="*/ 390 h 497"/>
                <a:gd name="T52" fmla="*/ 156 w 458"/>
                <a:gd name="T53" fmla="*/ 380 h 497"/>
                <a:gd name="T54" fmla="*/ 146 w 458"/>
                <a:gd name="T55" fmla="*/ 361 h 497"/>
                <a:gd name="T56" fmla="*/ 136 w 458"/>
                <a:gd name="T57" fmla="*/ 351 h 497"/>
                <a:gd name="T58" fmla="*/ 136 w 458"/>
                <a:gd name="T59" fmla="*/ 312 h 497"/>
                <a:gd name="T60" fmla="*/ 107 w 458"/>
                <a:gd name="T61" fmla="*/ 322 h 497"/>
                <a:gd name="T62" fmla="*/ 107 w 458"/>
                <a:gd name="T63" fmla="*/ 293 h 497"/>
                <a:gd name="T64" fmla="*/ 97 w 458"/>
                <a:gd name="T65" fmla="*/ 273 h 497"/>
                <a:gd name="T66" fmla="*/ 58 w 458"/>
                <a:gd name="T67" fmla="*/ 263 h 497"/>
                <a:gd name="T68" fmla="*/ 78 w 458"/>
                <a:gd name="T69" fmla="*/ 234 h 497"/>
                <a:gd name="T70" fmla="*/ 97 w 458"/>
                <a:gd name="T71" fmla="*/ 176 h 497"/>
                <a:gd name="T72" fmla="*/ 58 w 458"/>
                <a:gd name="T73" fmla="*/ 156 h 497"/>
                <a:gd name="T74" fmla="*/ 49 w 458"/>
                <a:gd name="T75" fmla="*/ 136 h 497"/>
                <a:gd name="T76" fmla="*/ 29 w 458"/>
                <a:gd name="T77" fmla="*/ 127 h 497"/>
                <a:gd name="T78" fmla="*/ 10 w 458"/>
                <a:gd name="T79" fmla="*/ 117 h 497"/>
                <a:gd name="T80" fmla="*/ 0 w 458"/>
                <a:gd name="T81" fmla="*/ 78 h 497"/>
                <a:gd name="T82" fmla="*/ 19 w 458"/>
                <a:gd name="T83" fmla="*/ 49 h 497"/>
                <a:gd name="T84" fmla="*/ 39 w 458"/>
                <a:gd name="T85" fmla="*/ 29 h 497"/>
                <a:gd name="T86" fmla="*/ 68 w 458"/>
                <a:gd name="T87" fmla="*/ 19 h 497"/>
                <a:gd name="T88" fmla="*/ 88 w 458"/>
                <a:gd name="T89" fmla="*/ 0 h 497"/>
                <a:gd name="T90" fmla="*/ 117 w 458"/>
                <a:gd name="T91" fmla="*/ 0 h 497"/>
                <a:gd name="T92" fmla="*/ 146 w 458"/>
                <a:gd name="T93" fmla="*/ 39 h 497"/>
                <a:gd name="T94" fmla="*/ 195 w 458"/>
                <a:gd name="T95" fmla="*/ 58 h 497"/>
                <a:gd name="T96" fmla="*/ 195 w 458"/>
                <a:gd name="T97" fmla="*/ 88 h 497"/>
                <a:gd name="T98" fmla="*/ 215 w 458"/>
                <a:gd name="T99" fmla="*/ 97 h 497"/>
                <a:gd name="T100" fmla="*/ 244 w 458"/>
                <a:gd name="T101" fmla="*/ 117 h 497"/>
                <a:gd name="T102" fmla="*/ 263 w 458"/>
                <a:gd name="T103" fmla="*/ 146 h 497"/>
                <a:gd name="T104" fmla="*/ 302 w 458"/>
                <a:gd name="T105" fmla="*/ 146 h 49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58"/>
                <a:gd name="T160" fmla="*/ 0 h 497"/>
                <a:gd name="T161" fmla="*/ 458 w 458"/>
                <a:gd name="T162" fmla="*/ 497 h 49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58" h="497">
                  <a:moveTo>
                    <a:pt x="312" y="156"/>
                  </a:moveTo>
                  <a:lnTo>
                    <a:pt x="322" y="166"/>
                  </a:lnTo>
                  <a:lnTo>
                    <a:pt x="332" y="176"/>
                  </a:lnTo>
                  <a:lnTo>
                    <a:pt x="332" y="185"/>
                  </a:lnTo>
                  <a:lnTo>
                    <a:pt x="361" y="205"/>
                  </a:lnTo>
                  <a:lnTo>
                    <a:pt x="380" y="195"/>
                  </a:lnTo>
                  <a:lnTo>
                    <a:pt x="380" y="215"/>
                  </a:lnTo>
                  <a:lnTo>
                    <a:pt x="400" y="224"/>
                  </a:lnTo>
                  <a:lnTo>
                    <a:pt x="410" y="234"/>
                  </a:lnTo>
                  <a:lnTo>
                    <a:pt x="429" y="254"/>
                  </a:lnTo>
                  <a:lnTo>
                    <a:pt x="419" y="263"/>
                  </a:lnTo>
                  <a:lnTo>
                    <a:pt x="429" y="273"/>
                  </a:lnTo>
                  <a:lnTo>
                    <a:pt x="419" y="283"/>
                  </a:lnTo>
                  <a:lnTo>
                    <a:pt x="429" y="293"/>
                  </a:lnTo>
                  <a:lnTo>
                    <a:pt x="429" y="302"/>
                  </a:lnTo>
                  <a:lnTo>
                    <a:pt x="429" y="322"/>
                  </a:lnTo>
                  <a:lnTo>
                    <a:pt x="439" y="322"/>
                  </a:lnTo>
                  <a:lnTo>
                    <a:pt x="439" y="351"/>
                  </a:lnTo>
                  <a:lnTo>
                    <a:pt x="439" y="361"/>
                  </a:lnTo>
                  <a:lnTo>
                    <a:pt x="449" y="400"/>
                  </a:lnTo>
                  <a:lnTo>
                    <a:pt x="458" y="439"/>
                  </a:lnTo>
                  <a:lnTo>
                    <a:pt x="439" y="449"/>
                  </a:lnTo>
                  <a:lnTo>
                    <a:pt x="439" y="439"/>
                  </a:lnTo>
                  <a:lnTo>
                    <a:pt x="429" y="439"/>
                  </a:lnTo>
                  <a:lnTo>
                    <a:pt x="419" y="449"/>
                  </a:lnTo>
                  <a:lnTo>
                    <a:pt x="390" y="449"/>
                  </a:lnTo>
                  <a:lnTo>
                    <a:pt x="380" y="439"/>
                  </a:lnTo>
                  <a:lnTo>
                    <a:pt x="351" y="439"/>
                  </a:lnTo>
                  <a:lnTo>
                    <a:pt x="341" y="439"/>
                  </a:lnTo>
                  <a:lnTo>
                    <a:pt x="341" y="429"/>
                  </a:lnTo>
                  <a:lnTo>
                    <a:pt x="332" y="429"/>
                  </a:lnTo>
                  <a:lnTo>
                    <a:pt x="322" y="439"/>
                  </a:lnTo>
                  <a:lnTo>
                    <a:pt x="312" y="439"/>
                  </a:lnTo>
                  <a:lnTo>
                    <a:pt x="283" y="439"/>
                  </a:lnTo>
                  <a:lnTo>
                    <a:pt x="273" y="439"/>
                  </a:lnTo>
                  <a:lnTo>
                    <a:pt x="254" y="439"/>
                  </a:lnTo>
                  <a:lnTo>
                    <a:pt x="254" y="419"/>
                  </a:lnTo>
                  <a:lnTo>
                    <a:pt x="234" y="429"/>
                  </a:lnTo>
                  <a:lnTo>
                    <a:pt x="224" y="439"/>
                  </a:lnTo>
                  <a:lnTo>
                    <a:pt x="215" y="468"/>
                  </a:lnTo>
                  <a:lnTo>
                    <a:pt x="205" y="468"/>
                  </a:lnTo>
                  <a:lnTo>
                    <a:pt x="215" y="497"/>
                  </a:lnTo>
                  <a:lnTo>
                    <a:pt x="166" y="478"/>
                  </a:lnTo>
                  <a:lnTo>
                    <a:pt x="166" y="468"/>
                  </a:lnTo>
                  <a:lnTo>
                    <a:pt x="176" y="458"/>
                  </a:lnTo>
                  <a:lnTo>
                    <a:pt x="176" y="439"/>
                  </a:lnTo>
                  <a:lnTo>
                    <a:pt x="176" y="410"/>
                  </a:lnTo>
                  <a:lnTo>
                    <a:pt x="176" y="390"/>
                  </a:lnTo>
                  <a:lnTo>
                    <a:pt x="166" y="380"/>
                  </a:lnTo>
                  <a:lnTo>
                    <a:pt x="156" y="380"/>
                  </a:lnTo>
                  <a:lnTo>
                    <a:pt x="146" y="371"/>
                  </a:lnTo>
                  <a:lnTo>
                    <a:pt x="146" y="361"/>
                  </a:lnTo>
                  <a:lnTo>
                    <a:pt x="146" y="351"/>
                  </a:lnTo>
                  <a:lnTo>
                    <a:pt x="136" y="351"/>
                  </a:lnTo>
                  <a:lnTo>
                    <a:pt x="146" y="332"/>
                  </a:lnTo>
                  <a:lnTo>
                    <a:pt x="136" y="312"/>
                  </a:lnTo>
                  <a:lnTo>
                    <a:pt x="117" y="322"/>
                  </a:lnTo>
                  <a:lnTo>
                    <a:pt x="107" y="322"/>
                  </a:lnTo>
                  <a:lnTo>
                    <a:pt x="97" y="302"/>
                  </a:lnTo>
                  <a:lnTo>
                    <a:pt x="107" y="293"/>
                  </a:lnTo>
                  <a:lnTo>
                    <a:pt x="107" y="283"/>
                  </a:lnTo>
                  <a:lnTo>
                    <a:pt x="97" y="273"/>
                  </a:lnTo>
                  <a:lnTo>
                    <a:pt x="78" y="283"/>
                  </a:lnTo>
                  <a:lnTo>
                    <a:pt x="58" y="263"/>
                  </a:lnTo>
                  <a:lnTo>
                    <a:pt x="58" y="254"/>
                  </a:lnTo>
                  <a:lnTo>
                    <a:pt x="78" y="234"/>
                  </a:lnTo>
                  <a:lnTo>
                    <a:pt x="107" y="195"/>
                  </a:lnTo>
                  <a:lnTo>
                    <a:pt x="97" y="176"/>
                  </a:lnTo>
                  <a:lnTo>
                    <a:pt x="68" y="146"/>
                  </a:lnTo>
                  <a:lnTo>
                    <a:pt x="58" y="156"/>
                  </a:lnTo>
                  <a:lnTo>
                    <a:pt x="39" y="146"/>
                  </a:lnTo>
                  <a:lnTo>
                    <a:pt x="49" y="136"/>
                  </a:lnTo>
                  <a:lnTo>
                    <a:pt x="58" y="136"/>
                  </a:lnTo>
                  <a:lnTo>
                    <a:pt x="29" y="127"/>
                  </a:lnTo>
                  <a:lnTo>
                    <a:pt x="19" y="127"/>
                  </a:lnTo>
                  <a:lnTo>
                    <a:pt x="10" y="117"/>
                  </a:lnTo>
                  <a:lnTo>
                    <a:pt x="10" y="97"/>
                  </a:lnTo>
                  <a:lnTo>
                    <a:pt x="0" y="78"/>
                  </a:lnTo>
                  <a:lnTo>
                    <a:pt x="19" y="58"/>
                  </a:lnTo>
                  <a:lnTo>
                    <a:pt x="19" y="49"/>
                  </a:lnTo>
                  <a:lnTo>
                    <a:pt x="29" y="29"/>
                  </a:lnTo>
                  <a:lnTo>
                    <a:pt x="39" y="29"/>
                  </a:lnTo>
                  <a:lnTo>
                    <a:pt x="58" y="29"/>
                  </a:lnTo>
                  <a:lnTo>
                    <a:pt x="68" y="19"/>
                  </a:lnTo>
                  <a:lnTo>
                    <a:pt x="78" y="19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17" y="0"/>
                  </a:lnTo>
                  <a:lnTo>
                    <a:pt x="117" y="29"/>
                  </a:lnTo>
                  <a:lnTo>
                    <a:pt x="146" y="39"/>
                  </a:lnTo>
                  <a:lnTo>
                    <a:pt x="166" y="68"/>
                  </a:lnTo>
                  <a:lnTo>
                    <a:pt x="195" y="58"/>
                  </a:lnTo>
                  <a:lnTo>
                    <a:pt x="205" y="78"/>
                  </a:lnTo>
                  <a:lnTo>
                    <a:pt x="195" y="88"/>
                  </a:lnTo>
                  <a:lnTo>
                    <a:pt x="195" y="107"/>
                  </a:lnTo>
                  <a:lnTo>
                    <a:pt x="215" y="97"/>
                  </a:lnTo>
                  <a:lnTo>
                    <a:pt x="224" y="117"/>
                  </a:lnTo>
                  <a:lnTo>
                    <a:pt x="244" y="117"/>
                  </a:lnTo>
                  <a:lnTo>
                    <a:pt x="254" y="146"/>
                  </a:lnTo>
                  <a:lnTo>
                    <a:pt x="263" y="146"/>
                  </a:lnTo>
                  <a:lnTo>
                    <a:pt x="273" y="127"/>
                  </a:lnTo>
                  <a:lnTo>
                    <a:pt x="302" y="146"/>
                  </a:lnTo>
                  <a:lnTo>
                    <a:pt x="312" y="156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349"/>
            <p:cNvSpPr>
              <a:spLocks/>
            </p:cNvSpPr>
            <p:nvPr/>
          </p:nvSpPr>
          <p:spPr bwMode="auto">
            <a:xfrm>
              <a:off x="712" y="2478"/>
              <a:ext cx="334" cy="430"/>
            </a:xfrm>
            <a:custGeom>
              <a:avLst/>
              <a:gdLst>
                <a:gd name="T0" fmla="*/ 215 w 332"/>
                <a:gd name="T1" fmla="*/ 361 h 430"/>
                <a:gd name="T2" fmla="*/ 234 w 332"/>
                <a:gd name="T3" fmla="*/ 351 h 430"/>
                <a:gd name="T4" fmla="*/ 244 w 332"/>
                <a:gd name="T5" fmla="*/ 303 h 430"/>
                <a:gd name="T6" fmla="*/ 263 w 332"/>
                <a:gd name="T7" fmla="*/ 283 h 430"/>
                <a:gd name="T8" fmla="*/ 283 w 332"/>
                <a:gd name="T9" fmla="*/ 273 h 430"/>
                <a:gd name="T10" fmla="*/ 312 w 332"/>
                <a:gd name="T11" fmla="*/ 244 h 430"/>
                <a:gd name="T12" fmla="*/ 322 w 332"/>
                <a:gd name="T13" fmla="*/ 215 h 430"/>
                <a:gd name="T14" fmla="*/ 302 w 332"/>
                <a:gd name="T15" fmla="*/ 176 h 430"/>
                <a:gd name="T16" fmla="*/ 322 w 332"/>
                <a:gd name="T17" fmla="*/ 117 h 430"/>
                <a:gd name="T18" fmla="*/ 273 w 332"/>
                <a:gd name="T19" fmla="*/ 108 h 430"/>
                <a:gd name="T20" fmla="*/ 273 w 332"/>
                <a:gd name="T21" fmla="*/ 69 h 430"/>
                <a:gd name="T22" fmla="*/ 263 w 332"/>
                <a:gd name="T23" fmla="*/ 29 h 430"/>
                <a:gd name="T24" fmla="*/ 234 w 332"/>
                <a:gd name="T25" fmla="*/ 39 h 430"/>
                <a:gd name="T26" fmla="*/ 215 w 332"/>
                <a:gd name="T27" fmla="*/ 20 h 430"/>
                <a:gd name="T28" fmla="*/ 195 w 332"/>
                <a:gd name="T29" fmla="*/ 10 h 430"/>
                <a:gd name="T30" fmla="*/ 176 w 332"/>
                <a:gd name="T31" fmla="*/ 39 h 430"/>
                <a:gd name="T32" fmla="*/ 185 w 332"/>
                <a:gd name="T33" fmla="*/ 88 h 430"/>
                <a:gd name="T34" fmla="*/ 176 w 332"/>
                <a:gd name="T35" fmla="*/ 69 h 430"/>
                <a:gd name="T36" fmla="*/ 156 w 332"/>
                <a:gd name="T37" fmla="*/ 59 h 430"/>
                <a:gd name="T38" fmla="*/ 117 w 332"/>
                <a:gd name="T39" fmla="*/ 69 h 430"/>
                <a:gd name="T40" fmla="*/ 98 w 332"/>
                <a:gd name="T41" fmla="*/ 69 h 430"/>
                <a:gd name="T42" fmla="*/ 68 w 332"/>
                <a:gd name="T43" fmla="*/ 88 h 430"/>
                <a:gd name="T44" fmla="*/ 59 w 332"/>
                <a:gd name="T45" fmla="*/ 59 h 430"/>
                <a:gd name="T46" fmla="*/ 49 w 332"/>
                <a:gd name="T47" fmla="*/ 49 h 430"/>
                <a:gd name="T48" fmla="*/ 29 w 332"/>
                <a:gd name="T49" fmla="*/ 29 h 430"/>
                <a:gd name="T50" fmla="*/ 10 w 332"/>
                <a:gd name="T51" fmla="*/ 29 h 430"/>
                <a:gd name="T52" fmla="*/ 10 w 332"/>
                <a:gd name="T53" fmla="*/ 49 h 430"/>
                <a:gd name="T54" fmla="*/ 10 w 332"/>
                <a:gd name="T55" fmla="*/ 88 h 430"/>
                <a:gd name="T56" fmla="*/ 0 w 332"/>
                <a:gd name="T57" fmla="*/ 127 h 430"/>
                <a:gd name="T58" fmla="*/ 10 w 332"/>
                <a:gd name="T59" fmla="*/ 166 h 430"/>
                <a:gd name="T60" fmla="*/ 20 w 332"/>
                <a:gd name="T61" fmla="*/ 205 h 430"/>
                <a:gd name="T62" fmla="*/ 20 w 332"/>
                <a:gd name="T63" fmla="*/ 254 h 430"/>
                <a:gd name="T64" fmla="*/ 20 w 332"/>
                <a:gd name="T65" fmla="*/ 322 h 430"/>
                <a:gd name="T66" fmla="*/ 10 w 332"/>
                <a:gd name="T67" fmla="*/ 361 h 430"/>
                <a:gd name="T68" fmla="*/ 39 w 332"/>
                <a:gd name="T69" fmla="*/ 361 h 430"/>
                <a:gd name="T70" fmla="*/ 59 w 332"/>
                <a:gd name="T71" fmla="*/ 390 h 430"/>
                <a:gd name="T72" fmla="*/ 88 w 332"/>
                <a:gd name="T73" fmla="*/ 390 h 430"/>
                <a:gd name="T74" fmla="*/ 127 w 332"/>
                <a:gd name="T75" fmla="*/ 381 h 430"/>
                <a:gd name="T76" fmla="*/ 137 w 332"/>
                <a:gd name="T77" fmla="*/ 332 h 430"/>
                <a:gd name="T78" fmla="*/ 146 w 332"/>
                <a:gd name="T79" fmla="*/ 303 h 430"/>
                <a:gd name="T80" fmla="*/ 107 w 332"/>
                <a:gd name="T81" fmla="*/ 332 h 430"/>
                <a:gd name="T82" fmla="*/ 68 w 332"/>
                <a:gd name="T83" fmla="*/ 361 h 430"/>
                <a:gd name="T84" fmla="*/ 59 w 332"/>
                <a:gd name="T85" fmla="*/ 342 h 430"/>
                <a:gd name="T86" fmla="*/ 68 w 332"/>
                <a:gd name="T87" fmla="*/ 312 h 430"/>
                <a:gd name="T88" fmla="*/ 88 w 332"/>
                <a:gd name="T89" fmla="*/ 322 h 430"/>
                <a:gd name="T90" fmla="*/ 107 w 332"/>
                <a:gd name="T91" fmla="*/ 303 h 430"/>
                <a:gd name="T92" fmla="*/ 146 w 332"/>
                <a:gd name="T93" fmla="*/ 273 h 430"/>
                <a:gd name="T94" fmla="*/ 127 w 332"/>
                <a:gd name="T95" fmla="*/ 225 h 430"/>
                <a:gd name="T96" fmla="*/ 98 w 332"/>
                <a:gd name="T97" fmla="*/ 195 h 430"/>
                <a:gd name="T98" fmla="*/ 98 w 332"/>
                <a:gd name="T99" fmla="*/ 186 h 430"/>
                <a:gd name="T100" fmla="*/ 137 w 332"/>
                <a:gd name="T101" fmla="*/ 225 h 430"/>
                <a:gd name="T102" fmla="*/ 166 w 332"/>
                <a:gd name="T103" fmla="*/ 244 h 430"/>
                <a:gd name="T104" fmla="*/ 176 w 332"/>
                <a:gd name="T105" fmla="*/ 303 h 430"/>
                <a:gd name="T106" fmla="*/ 146 w 332"/>
                <a:gd name="T107" fmla="*/ 351 h 430"/>
                <a:gd name="T108" fmla="*/ 146 w 332"/>
                <a:gd name="T109" fmla="*/ 400 h 430"/>
                <a:gd name="T110" fmla="*/ 166 w 332"/>
                <a:gd name="T111" fmla="*/ 420 h 430"/>
                <a:gd name="T112" fmla="*/ 215 w 332"/>
                <a:gd name="T113" fmla="*/ 400 h 43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32"/>
                <a:gd name="T172" fmla="*/ 0 h 430"/>
                <a:gd name="T173" fmla="*/ 332 w 332"/>
                <a:gd name="T174" fmla="*/ 430 h 43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32" h="430">
                  <a:moveTo>
                    <a:pt x="215" y="400"/>
                  </a:moveTo>
                  <a:lnTo>
                    <a:pt x="205" y="381"/>
                  </a:lnTo>
                  <a:lnTo>
                    <a:pt x="215" y="361"/>
                  </a:lnTo>
                  <a:lnTo>
                    <a:pt x="224" y="371"/>
                  </a:lnTo>
                  <a:lnTo>
                    <a:pt x="244" y="361"/>
                  </a:lnTo>
                  <a:lnTo>
                    <a:pt x="234" y="351"/>
                  </a:lnTo>
                  <a:lnTo>
                    <a:pt x="244" y="322"/>
                  </a:lnTo>
                  <a:lnTo>
                    <a:pt x="254" y="312"/>
                  </a:lnTo>
                  <a:lnTo>
                    <a:pt x="244" y="303"/>
                  </a:lnTo>
                  <a:lnTo>
                    <a:pt x="254" y="303"/>
                  </a:lnTo>
                  <a:lnTo>
                    <a:pt x="254" y="283"/>
                  </a:lnTo>
                  <a:lnTo>
                    <a:pt x="263" y="283"/>
                  </a:lnTo>
                  <a:lnTo>
                    <a:pt x="263" y="264"/>
                  </a:lnTo>
                  <a:lnTo>
                    <a:pt x="283" y="264"/>
                  </a:lnTo>
                  <a:lnTo>
                    <a:pt x="283" y="273"/>
                  </a:lnTo>
                  <a:lnTo>
                    <a:pt x="302" y="273"/>
                  </a:lnTo>
                  <a:lnTo>
                    <a:pt x="312" y="264"/>
                  </a:lnTo>
                  <a:lnTo>
                    <a:pt x="312" y="244"/>
                  </a:lnTo>
                  <a:lnTo>
                    <a:pt x="322" y="244"/>
                  </a:lnTo>
                  <a:lnTo>
                    <a:pt x="332" y="234"/>
                  </a:lnTo>
                  <a:lnTo>
                    <a:pt x="322" y="215"/>
                  </a:lnTo>
                  <a:lnTo>
                    <a:pt x="302" y="195"/>
                  </a:lnTo>
                  <a:lnTo>
                    <a:pt x="302" y="176"/>
                  </a:lnTo>
                  <a:lnTo>
                    <a:pt x="312" y="156"/>
                  </a:lnTo>
                  <a:lnTo>
                    <a:pt x="322" y="147"/>
                  </a:lnTo>
                  <a:lnTo>
                    <a:pt x="322" y="117"/>
                  </a:lnTo>
                  <a:lnTo>
                    <a:pt x="302" y="88"/>
                  </a:lnTo>
                  <a:lnTo>
                    <a:pt x="293" y="98"/>
                  </a:lnTo>
                  <a:lnTo>
                    <a:pt x="273" y="108"/>
                  </a:lnTo>
                  <a:lnTo>
                    <a:pt x="263" y="98"/>
                  </a:lnTo>
                  <a:lnTo>
                    <a:pt x="263" y="78"/>
                  </a:lnTo>
                  <a:lnTo>
                    <a:pt x="273" y="69"/>
                  </a:lnTo>
                  <a:lnTo>
                    <a:pt x="273" y="49"/>
                  </a:lnTo>
                  <a:lnTo>
                    <a:pt x="263" y="39"/>
                  </a:lnTo>
                  <a:lnTo>
                    <a:pt x="263" y="29"/>
                  </a:lnTo>
                  <a:lnTo>
                    <a:pt x="244" y="29"/>
                  </a:lnTo>
                  <a:lnTo>
                    <a:pt x="244" y="49"/>
                  </a:lnTo>
                  <a:lnTo>
                    <a:pt x="234" y="3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15" y="20"/>
                  </a:lnTo>
                  <a:lnTo>
                    <a:pt x="205" y="10"/>
                  </a:lnTo>
                  <a:lnTo>
                    <a:pt x="205" y="0"/>
                  </a:lnTo>
                  <a:lnTo>
                    <a:pt x="195" y="10"/>
                  </a:lnTo>
                  <a:lnTo>
                    <a:pt x="185" y="20"/>
                  </a:lnTo>
                  <a:lnTo>
                    <a:pt x="176" y="29"/>
                  </a:lnTo>
                  <a:lnTo>
                    <a:pt x="176" y="39"/>
                  </a:lnTo>
                  <a:lnTo>
                    <a:pt x="185" y="59"/>
                  </a:lnTo>
                  <a:lnTo>
                    <a:pt x="185" y="78"/>
                  </a:lnTo>
                  <a:lnTo>
                    <a:pt x="185" y="88"/>
                  </a:lnTo>
                  <a:lnTo>
                    <a:pt x="176" y="88"/>
                  </a:lnTo>
                  <a:lnTo>
                    <a:pt x="176" y="78"/>
                  </a:lnTo>
                  <a:lnTo>
                    <a:pt x="176" y="69"/>
                  </a:lnTo>
                  <a:lnTo>
                    <a:pt x="166" y="69"/>
                  </a:lnTo>
                  <a:lnTo>
                    <a:pt x="156" y="69"/>
                  </a:lnTo>
                  <a:lnTo>
                    <a:pt x="156" y="59"/>
                  </a:lnTo>
                  <a:lnTo>
                    <a:pt x="146" y="59"/>
                  </a:lnTo>
                  <a:lnTo>
                    <a:pt x="137" y="59"/>
                  </a:lnTo>
                  <a:lnTo>
                    <a:pt x="117" y="69"/>
                  </a:lnTo>
                  <a:lnTo>
                    <a:pt x="107" y="59"/>
                  </a:lnTo>
                  <a:lnTo>
                    <a:pt x="98" y="59"/>
                  </a:lnTo>
                  <a:lnTo>
                    <a:pt x="98" y="69"/>
                  </a:lnTo>
                  <a:lnTo>
                    <a:pt x="88" y="88"/>
                  </a:lnTo>
                  <a:lnTo>
                    <a:pt x="78" y="88"/>
                  </a:lnTo>
                  <a:lnTo>
                    <a:pt x="68" y="88"/>
                  </a:lnTo>
                  <a:lnTo>
                    <a:pt x="68" y="78"/>
                  </a:lnTo>
                  <a:lnTo>
                    <a:pt x="59" y="69"/>
                  </a:lnTo>
                  <a:lnTo>
                    <a:pt x="59" y="59"/>
                  </a:lnTo>
                  <a:lnTo>
                    <a:pt x="39" y="59"/>
                  </a:lnTo>
                  <a:lnTo>
                    <a:pt x="49" y="49"/>
                  </a:lnTo>
                  <a:lnTo>
                    <a:pt x="39" y="39"/>
                  </a:lnTo>
                  <a:lnTo>
                    <a:pt x="39" y="29"/>
                  </a:lnTo>
                  <a:lnTo>
                    <a:pt x="29" y="29"/>
                  </a:lnTo>
                  <a:lnTo>
                    <a:pt x="29" y="39"/>
                  </a:lnTo>
                  <a:lnTo>
                    <a:pt x="20" y="3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10" y="49"/>
                  </a:lnTo>
                  <a:lnTo>
                    <a:pt x="10" y="69"/>
                  </a:lnTo>
                  <a:lnTo>
                    <a:pt x="10" y="88"/>
                  </a:lnTo>
                  <a:lnTo>
                    <a:pt x="10" y="98"/>
                  </a:lnTo>
                  <a:lnTo>
                    <a:pt x="0" y="108"/>
                  </a:lnTo>
                  <a:lnTo>
                    <a:pt x="0" y="127"/>
                  </a:lnTo>
                  <a:lnTo>
                    <a:pt x="10" y="137"/>
                  </a:lnTo>
                  <a:lnTo>
                    <a:pt x="10" y="166"/>
                  </a:lnTo>
                  <a:lnTo>
                    <a:pt x="10" y="176"/>
                  </a:lnTo>
                  <a:lnTo>
                    <a:pt x="10" y="195"/>
                  </a:lnTo>
                  <a:lnTo>
                    <a:pt x="20" y="205"/>
                  </a:lnTo>
                  <a:lnTo>
                    <a:pt x="29" y="225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10" y="371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49" y="371"/>
                  </a:lnTo>
                  <a:lnTo>
                    <a:pt x="49" y="381"/>
                  </a:lnTo>
                  <a:lnTo>
                    <a:pt x="59" y="390"/>
                  </a:lnTo>
                  <a:lnTo>
                    <a:pt x="59" y="400"/>
                  </a:lnTo>
                  <a:lnTo>
                    <a:pt x="68" y="410"/>
                  </a:lnTo>
                  <a:lnTo>
                    <a:pt x="88" y="390"/>
                  </a:lnTo>
                  <a:lnTo>
                    <a:pt x="107" y="390"/>
                  </a:lnTo>
                  <a:lnTo>
                    <a:pt x="127" y="381"/>
                  </a:lnTo>
                  <a:lnTo>
                    <a:pt x="137" y="351"/>
                  </a:lnTo>
                  <a:lnTo>
                    <a:pt x="137" y="342"/>
                  </a:lnTo>
                  <a:lnTo>
                    <a:pt x="137" y="332"/>
                  </a:lnTo>
                  <a:lnTo>
                    <a:pt x="146" y="322"/>
                  </a:lnTo>
                  <a:lnTo>
                    <a:pt x="156" y="303"/>
                  </a:lnTo>
                  <a:lnTo>
                    <a:pt x="146" y="303"/>
                  </a:lnTo>
                  <a:lnTo>
                    <a:pt x="137" y="312"/>
                  </a:lnTo>
                  <a:lnTo>
                    <a:pt x="127" y="322"/>
                  </a:lnTo>
                  <a:lnTo>
                    <a:pt x="107" y="332"/>
                  </a:lnTo>
                  <a:lnTo>
                    <a:pt x="98" y="351"/>
                  </a:lnTo>
                  <a:lnTo>
                    <a:pt x="78" y="361"/>
                  </a:lnTo>
                  <a:lnTo>
                    <a:pt x="68" y="361"/>
                  </a:lnTo>
                  <a:lnTo>
                    <a:pt x="68" y="351"/>
                  </a:lnTo>
                  <a:lnTo>
                    <a:pt x="68" y="342"/>
                  </a:lnTo>
                  <a:lnTo>
                    <a:pt x="59" y="342"/>
                  </a:lnTo>
                  <a:lnTo>
                    <a:pt x="49" y="332"/>
                  </a:lnTo>
                  <a:lnTo>
                    <a:pt x="49" y="322"/>
                  </a:lnTo>
                  <a:lnTo>
                    <a:pt x="68" y="312"/>
                  </a:lnTo>
                  <a:lnTo>
                    <a:pt x="78" y="303"/>
                  </a:lnTo>
                  <a:lnTo>
                    <a:pt x="78" y="312"/>
                  </a:lnTo>
                  <a:lnTo>
                    <a:pt x="88" y="322"/>
                  </a:lnTo>
                  <a:lnTo>
                    <a:pt x="98" y="322"/>
                  </a:lnTo>
                  <a:lnTo>
                    <a:pt x="98" y="303"/>
                  </a:lnTo>
                  <a:lnTo>
                    <a:pt x="107" y="303"/>
                  </a:lnTo>
                  <a:lnTo>
                    <a:pt x="117" y="293"/>
                  </a:lnTo>
                  <a:lnTo>
                    <a:pt x="127" y="283"/>
                  </a:lnTo>
                  <a:lnTo>
                    <a:pt x="146" y="273"/>
                  </a:lnTo>
                  <a:lnTo>
                    <a:pt x="146" y="264"/>
                  </a:lnTo>
                  <a:lnTo>
                    <a:pt x="146" y="254"/>
                  </a:lnTo>
                  <a:lnTo>
                    <a:pt x="127" y="225"/>
                  </a:lnTo>
                  <a:lnTo>
                    <a:pt x="117" y="225"/>
                  </a:lnTo>
                  <a:lnTo>
                    <a:pt x="98" y="205"/>
                  </a:lnTo>
                  <a:lnTo>
                    <a:pt x="98" y="195"/>
                  </a:lnTo>
                  <a:lnTo>
                    <a:pt x="88" y="186"/>
                  </a:lnTo>
                  <a:lnTo>
                    <a:pt x="98" y="176"/>
                  </a:lnTo>
                  <a:lnTo>
                    <a:pt x="98" y="186"/>
                  </a:lnTo>
                  <a:lnTo>
                    <a:pt x="117" y="205"/>
                  </a:lnTo>
                  <a:lnTo>
                    <a:pt x="127" y="215"/>
                  </a:lnTo>
                  <a:lnTo>
                    <a:pt x="137" y="225"/>
                  </a:lnTo>
                  <a:lnTo>
                    <a:pt x="156" y="225"/>
                  </a:lnTo>
                  <a:lnTo>
                    <a:pt x="166" y="234"/>
                  </a:lnTo>
                  <a:lnTo>
                    <a:pt x="166" y="244"/>
                  </a:lnTo>
                  <a:lnTo>
                    <a:pt x="185" y="273"/>
                  </a:lnTo>
                  <a:lnTo>
                    <a:pt x="176" y="293"/>
                  </a:lnTo>
                  <a:lnTo>
                    <a:pt x="176" y="303"/>
                  </a:lnTo>
                  <a:lnTo>
                    <a:pt x="176" y="322"/>
                  </a:lnTo>
                  <a:lnTo>
                    <a:pt x="156" y="342"/>
                  </a:lnTo>
                  <a:lnTo>
                    <a:pt x="146" y="351"/>
                  </a:lnTo>
                  <a:lnTo>
                    <a:pt x="137" y="351"/>
                  </a:lnTo>
                  <a:lnTo>
                    <a:pt x="127" y="381"/>
                  </a:lnTo>
                  <a:lnTo>
                    <a:pt x="146" y="400"/>
                  </a:lnTo>
                  <a:lnTo>
                    <a:pt x="137" y="420"/>
                  </a:lnTo>
                  <a:lnTo>
                    <a:pt x="146" y="430"/>
                  </a:lnTo>
                  <a:lnTo>
                    <a:pt x="166" y="420"/>
                  </a:lnTo>
                  <a:lnTo>
                    <a:pt x="185" y="420"/>
                  </a:lnTo>
                  <a:lnTo>
                    <a:pt x="185" y="400"/>
                  </a:lnTo>
                  <a:lnTo>
                    <a:pt x="215" y="400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348"/>
            <p:cNvSpPr>
              <a:spLocks/>
            </p:cNvSpPr>
            <p:nvPr/>
          </p:nvSpPr>
          <p:spPr bwMode="auto">
            <a:xfrm>
              <a:off x="898" y="2734"/>
              <a:ext cx="312" cy="425"/>
            </a:xfrm>
            <a:custGeom>
              <a:avLst/>
              <a:gdLst>
                <a:gd name="T0" fmla="*/ 39 w 313"/>
                <a:gd name="T1" fmla="*/ 273 h 429"/>
                <a:gd name="T2" fmla="*/ 39 w 313"/>
                <a:gd name="T3" fmla="*/ 293 h 429"/>
                <a:gd name="T4" fmla="*/ 69 w 313"/>
                <a:gd name="T5" fmla="*/ 312 h 429"/>
                <a:gd name="T6" fmla="*/ 98 w 313"/>
                <a:gd name="T7" fmla="*/ 322 h 429"/>
                <a:gd name="T8" fmla="*/ 117 w 313"/>
                <a:gd name="T9" fmla="*/ 341 h 429"/>
                <a:gd name="T10" fmla="*/ 117 w 313"/>
                <a:gd name="T11" fmla="*/ 361 h 429"/>
                <a:gd name="T12" fmla="*/ 127 w 313"/>
                <a:gd name="T13" fmla="*/ 390 h 429"/>
                <a:gd name="T14" fmla="*/ 166 w 313"/>
                <a:gd name="T15" fmla="*/ 390 h 429"/>
                <a:gd name="T16" fmla="*/ 166 w 313"/>
                <a:gd name="T17" fmla="*/ 419 h 429"/>
                <a:gd name="T18" fmla="*/ 195 w 313"/>
                <a:gd name="T19" fmla="*/ 419 h 429"/>
                <a:gd name="T20" fmla="*/ 215 w 313"/>
                <a:gd name="T21" fmla="*/ 410 h 429"/>
                <a:gd name="T22" fmla="*/ 186 w 313"/>
                <a:gd name="T23" fmla="*/ 380 h 429"/>
                <a:gd name="T24" fmla="*/ 215 w 313"/>
                <a:gd name="T25" fmla="*/ 390 h 429"/>
                <a:gd name="T26" fmla="*/ 225 w 313"/>
                <a:gd name="T27" fmla="*/ 371 h 429"/>
                <a:gd name="T28" fmla="*/ 234 w 313"/>
                <a:gd name="T29" fmla="*/ 351 h 429"/>
                <a:gd name="T30" fmla="*/ 273 w 313"/>
                <a:gd name="T31" fmla="*/ 371 h 429"/>
                <a:gd name="T32" fmla="*/ 293 w 313"/>
                <a:gd name="T33" fmla="*/ 351 h 429"/>
                <a:gd name="T34" fmla="*/ 313 w 313"/>
                <a:gd name="T35" fmla="*/ 322 h 429"/>
                <a:gd name="T36" fmla="*/ 264 w 313"/>
                <a:gd name="T37" fmla="*/ 234 h 429"/>
                <a:gd name="T38" fmla="*/ 273 w 313"/>
                <a:gd name="T39" fmla="*/ 195 h 429"/>
                <a:gd name="T40" fmla="*/ 264 w 313"/>
                <a:gd name="T41" fmla="*/ 156 h 429"/>
                <a:gd name="T42" fmla="*/ 254 w 313"/>
                <a:gd name="T43" fmla="*/ 127 h 429"/>
                <a:gd name="T44" fmla="*/ 244 w 313"/>
                <a:gd name="T45" fmla="*/ 97 h 429"/>
                <a:gd name="T46" fmla="*/ 205 w 313"/>
                <a:gd name="T47" fmla="*/ 88 h 429"/>
                <a:gd name="T48" fmla="*/ 205 w 313"/>
                <a:gd name="T49" fmla="*/ 78 h 429"/>
                <a:gd name="T50" fmla="*/ 186 w 313"/>
                <a:gd name="T51" fmla="*/ 68 h 429"/>
                <a:gd name="T52" fmla="*/ 166 w 313"/>
                <a:gd name="T53" fmla="*/ 58 h 429"/>
                <a:gd name="T54" fmla="*/ 127 w 313"/>
                <a:gd name="T55" fmla="*/ 0 h 429"/>
                <a:gd name="T56" fmla="*/ 98 w 313"/>
                <a:gd name="T57" fmla="*/ 19 h 429"/>
                <a:gd name="T58" fmla="*/ 78 w 313"/>
                <a:gd name="T59" fmla="*/ 10 h 429"/>
                <a:gd name="T60" fmla="*/ 59 w 313"/>
                <a:gd name="T61" fmla="*/ 29 h 429"/>
                <a:gd name="T62" fmla="*/ 59 w 313"/>
                <a:gd name="T63" fmla="*/ 49 h 429"/>
                <a:gd name="T64" fmla="*/ 59 w 313"/>
                <a:gd name="T65" fmla="*/ 68 h 429"/>
                <a:gd name="T66" fmla="*/ 59 w 313"/>
                <a:gd name="T67" fmla="*/ 107 h 429"/>
                <a:gd name="T68" fmla="*/ 30 w 313"/>
                <a:gd name="T69" fmla="*/ 107 h 429"/>
                <a:gd name="T70" fmla="*/ 20 w 313"/>
                <a:gd name="T71" fmla="*/ 146 h 429"/>
                <a:gd name="T72" fmla="*/ 30 w 313"/>
                <a:gd name="T73" fmla="*/ 185 h 429"/>
                <a:gd name="T74" fmla="*/ 49 w 313"/>
                <a:gd name="T75" fmla="*/ 195 h 429"/>
                <a:gd name="T76" fmla="*/ 30 w 313"/>
                <a:gd name="T77" fmla="*/ 215 h 429"/>
                <a:gd name="T78" fmla="*/ 0 w 313"/>
                <a:gd name="T79" fmla="*/ 215 h 429"/>
                <a:gd name="T80" fmla="*/ 20 w 313"/>
                <a:gd name="T81" fmla="*/ 234 h 429"/>
                <a:gd name="T82" fmla="*/ 20 w 313"/>
                <a:gd name="T83" fmla="*/ 263 h 4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13"/>
                <a:gd name="T127" fmla="*/ 0 h 429"/>
                <a:gd name="T128" fmla="*/ 313 w 313"/>
                <a:gd name="T129" fmla="*/ 429 h 4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13" h="429">
                  <a:moveTo>
                    <a:pt x="20" y="263"/>
                  </a:moveTo>
                  <a:lnTo>
                    <a:pt x="39" y="273"/>
                  </a:lnTo>
                  <a:lnTo>
                    <a:pt x="49" y="283"/>
                  </a:lnTo>
                  <a:lnTo>
                    <a:pt x="39" y="293"/>
                  </a:lnTo>
                  <a:lnTo>
                    <a:pt x="59" y="302"/>
                  </a:lnTo>
                  <a:lnTo>
                    <a:pt x="69" y="312"/>
                  </a:lnTo>
                  <a:lnTo>
                    <a:pt x="69" y="322"/>
                  </a:lnTo>
                  <a:lnTo>
                    <a:pt x="98" y="322"/>
                  </a:lnTo>
                  <a:lnTo>
                    <a:pt x="98" y="332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37" y="371"/>
                  </a:lnTo>
                  <a:lnTo>
                    <a:pt x="127" y="390"/>
                  </a:lnTo>
                  <a:lnTo>
                    <a:pt x="137" y="410"/>
                  </a:lnTo>
                  <a:lnTo>
                    <a:pt x="166" y="390"/>
                  </a:lnTo>
                  <a:lnTo>
                    <a:pt x="176" y="410"/>
                  </a:lnTo>
                  <a:lnTo>
                    <a:pt x="166" y="419"/>
                  </a:lnTo>
                  <a:lnTo>
                    <a:pt x="176" y="429"/>
                  </a:lnTo>
                  <a:lnTo>
                    <a:pt x="195" y="419"/>
                  </a:lnTo>
                  <a:lnTo>
                    <a:pt x="205" y="429"/>
                  </a:lnTo>
                  <a:lnTo>
                    <a:pt x="215" y="410"/>
                  </a:lnTo>
                  <a:lnTo>
                    <a:pt x="195" y="400"/>
                  </a:lnTo>
                  <a:lnTo>
                    <a:pt x="186" y="380"/>
                  </a:lnTo>
                  <a:lnTo>
                    <a:pt x="205" y="380"/>
                  </a:lnTo>
                  <a:lnTo>
                    <a:pt x="215" y="390"/>
                  </a:lnTo>
                  <a:lnTo>
                    <a:pt x="225" y="371"/>
                  </a:lnTo>
                  <a:lnTo>
                    <a:pt x="225" y="351"/>
                  </a:lnTo>
                  <a:lnTo>
                    <a:pt x="234" y="351"/>
                  </a:lnTo>
                  <a:lnTo>
                    <a:pt x="254" y="371"/>
                  </a:lnTo>
                  <a:lnTo>
                    <a:pt x="273" y="371"/>
                  </a:lnTo>
                  <a:lnTo>
                    <a:pt x="283" y="361"/>
                  </a:lnTo>
                  <a:lnTo>
                    <a:pt x="293" y="351"/>
                  </a:lnTo>
                  <a:lnTo>
                    <a:pt x="313" y="332"/>
                  </a:lnTo>
                  <a:lnTo>
                    <a:pt x="313" y="322"/>
                  </a:lnTo>
                  <a:lnTo>
                    <a:pt x="293" y="293"/>
                  </a:lnTo>
                  <a:lnTo>
                    <a:pt x="264" y="234"/>
                  </a:lnTo>
                  <a:lnTo>
                    <a:pt x="264" y="215"/>
                  </a:lnTo>
                  <a:lnTo>
                    <a:pt x="273" y="195"/>
                  </a:lnTo>
                  <a:lnTo>
                    <a:pt x="273" y="176"/>
                  </a:lnTo>
                  <a:lnTo>
                    <a:pt x="264" y="156"/>
                  </a:lnTo>
                  <a:lnTo>
                    <a:pt x="254" y="146"/>
                  </a:lnTo>
                  <a:lnTo>
                    <a:pt x="254" y="127"/>
                  </a:lnTo>
                  <a:lnTo>
                    <a:pt x="254" y="117"/>
                  </a:lnTo>
                  <a:lnTo>
                    <a:pt x="244" y="97"/>
                  </a:lnTo>
                  <a:lnTo>
                    <a:pt x="225" y="97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205" y="78"/>
                  </a:lnTo>
                  <a:lnTo>
                    <a:pt x="195" y="68"/>
                  </a:lnTo>
                  <a:lnTo>
                    <a:pt x="186" y="68"/>
                  </a:lnTo>
                  <a:lnTo>
                    <a:pt x="176" y="78"/>
                  </a:lnTo>
                  <a:lnTo>
                    <a:pt x="166" y="58"/>
                  </a:lnTo>
                  <a:lnTo>
                    <a:pt x="156" y="39"/>
                  </a:lnTo>
                  <a:lnTo>
                    <a:pt x="127" y="0"/>
                  </a:lnTo>
                  <a:lnTo>
                    <a:pt x="117" y="10"/>
                  </a:lnTo>
                  <a:lnTo>
                    <a:pt x="98" y="19"/>
                  </a:lnTo>
                  <a:lnTo>
                    <a:pt x="98" y="0"/>
                  </a:lnTo>
                  <a:lnTo>
                    <a:pt x="78" y="10"/>
                  </a:lnTo>
                  <a:lnTo>
                    <a:pt x="69" y="29"/>
                  </a:lnTo>
                  <a:lnTo>
                    <a:pt x="59" y="29"/>
                  </a:lnTo>
                  <a:lnTo>
                    <a:pt x="59" y="49"/>
                  </a:lnTo>
                  <a:lnTo>
                    <a:pt x="69" y="58"/>
                  </a:lnTo>
                  <a:lnTo>
                    <a:pt x="59" y="68"/>
                  </a:lnTo>
                  <a:lnTo>
                    <a:pt x="49" y="97"/>
                  </a:lnTo>
                  <a:lnTo>
                    <a:pt x="59" y="107"/>
                  </a:lnTo>
                  <a:lnTo>
                    <a:pt x="39" y="12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20" y="146"/>
                  </a:lnTo>
                  <a:lnTo>
                    <a:pt x="20" y="166"/>
                  </a:lnTo>
                  <a:lnTo>
                    <a:pt x="30" y="18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10" y="215"/>
                  </a:lnTo>
                  <a:lnTo>
                    <a:pt x="0" y="215"/>
                  </a:lnTo>
                  <a:lnTo>
                    <a:pt x="10" y="224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63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347"/>
            <p:cNvSpPr>
              <a:spLocks/>
            </p:cNvSpPr>
            <p:nvPr/>
          </p:nvSpPr>
          <p:spPr bwMode="auto">
            <a:xfrm>
              <a:off x="1053" y="2750"/>
              <a:ext cx="430" cy="430"/>
            </a:xfrm>
            <a:custGeom>
              <a:avLst/>
              <a:gdLst>
                <a:gd name="T0" fmla="*/ 157 w 430"/>
                <a:gd name="T1" fmla="*/ 313 h 430"/>
                <a:gd name="T2" fmla="*/ 137 w 430"/>
                <a:gd name="T3" fmla="*/ 274 h 430"/>
                <a:gd name="T4" fmla="*/ 108 w 430"/>
                <a:gd name="T5" fmla="*/ 196 h 430"/>
                <a:gd name="T6" fmla="*/ 117 w 430"/>
                <a:gd name="T7" fmla="*/ 157 h 430"/>
                <a:gd name="T8" fmla="*/ 98 w 430"/>
                <a:gd name="T9" fmla="*/ 137 h 430"/>
                <a:gd name="T10" fmla="*/ 98 w 430"/>
                <a:gd name="T11" fmla="*/ 98 h 430"/>
                <a:gd name="T12" fmla="*/ 69 w 430"/>
                <a:gd name="T13" fmla="*/ 78 h 430"/>
                <a:gd name="T14" fmla="*/ 39 w 430"/>
                <a:gd name="T15" fmla="*/ 69 h 430"/>
                <a:gd name="T16" fmla="*/ 39 w 430"/>
                <a:gd name="T17" fmla="*/ 49 h 430"/>
                <a:gd name="T18" fmla="*/ 20 w 430"/>
                <a:gd name="T19" fmla="*/ 59 h 430"/>
                <a:gd name="T20" fmla="*/ 0 w 430"/>
                <a:gd name="T21" fmla="*/ 30 h 430"/>
                <a:gd name="T22" fmla="*/ 30 w 430"/>
                <a:gd name="T23" fmla="*/ 10 h 430"/>
                <a:gd name="T24" fmla="*/ 69 w 430"/>
                <a:gd name="T25" fmla="*/ 30 h 430"/>
                <a:gd name="T26" fmla="*/ 78 w 430"/>
                <a:gd name="T27" fmla="*/ 0 h 430"/>
                <a:gd name="T28" fmla="*/ 88 w 430"/>
                <a:gd name="T29" fmla="*/ 39 h 430"/>
                <a:gd name="T30" fmla="*/ 108 w 430"/>
                <a:gd name="T31" fmla="*/ 69 h 430"/>
                <a:gd name="T32" fmla="*/ 117 w 430"/>
                <a:gd name="T33" fmla="*/ 117 h 430"/>
                <a:gd name="T34" fmla="*/ 157 w 430"/>
                <a:gd name="T35" fmla="*/ 137 h 430"/>
                <a:gd name="T36" fmla="*/ 186 w 430"/>
                <a:gd name="T37" fmla="*/ 117 h 430"/>
                <a:gd name="T38" fmla="*/ 196 w 430"/>
                <a:gd name="T39" fmla="*/ 98 h 430"/>
                <a:gd name="T40" fmla="*/ 235 w 430"/>
                <a:gd name="T41" fmla="*/ 98 h 430"/>
                <a:gd name="T42" fmla="*/ 283 w 430"/>
                <a:gd name="T43" fmla="*/ 69 h 430"/>
                <a:gd name="T44" fmla="*/ 264 w 430"/>
                <a:gd name="T45" fmla="*/ 49 h 430"/>
                <a:gd name="T46" fmla="*/ 235 w 430"/>
                <a:gd name="T47" fmla="*/ 49 h 430"/>
                <a:gd name="T48" fmla="*/ 264 w 430"/>
                <a:gd name="T49" fmla="*/ 30 h 430"/>
                <a:gd name="T50" fmla="*/ 283 w 430"/>
                <a:gd name="T51" fmla="*/ 20 h 430"/>
                <a:gd name="T52" fmla="*/ 313 w 430"/>
                <a:gd name="T53" fmla="*/ 39 h 430"/>
                <a:gd name="T54" fmla="*/ 322 w 430"/>
                <a:gd name="T55" fmla="*/ 10 h 430"/>
                <a:gd name="T56" fmla="*/ 342 w 430"/>
                <a:gd name="T57" fmla="*/ 30 h 430"/>
                <a:gd name="T58" fmla="*/ 371 w 430"/>
                <a:gd name="T59" fmla="*/ 39 h 430"/>
                <a:gd name="T60" fmla="*/ 391 w 430"/>
                <a:gd name="T61" fmla="*/ 78 h 430"/>
                <a:gd name="T62" fmla="*/ 391 w 430"/>
                <a:gd name="T63" fmla="*/ 98 h 430"/>
                <a:gd name="T64" fmla="*/ 381 w 430"/>
                <a:gd name="T65" fmla="*/ 147 h 430"/>
                <a:gd name="T66" fmla="*/ 391 w 430"/>
                <a:gd name="T67" fmla="*/ 176 h 430"/>
                <a:gd name="T68" fmla="*/ 430 w 430"/>
                <a:gd name="T69" fmla="*/ 196 h 430"/>
                <a:gd name="T70" fmla="*/ 430 w 430"/>
                <a:gd name="T71" fmla="*/ 205 h 430"/>
                <a:gd name="T72" fmla="*/ 391 w 430"/>
                <a:gd name="T73" fmla="*/ 196 h 430"/>
                <a:gd name="T74" fmla="*/ 371 w 430"/>
                <a:gd name="T75" fmla="*/ 244 h 430"/>
                <a:gd name="T76" fmla="*/ 381 w 430"/>
                <a:gd name="T77" fmla="*/ 283 h 430"/>
                <a:gd name="T78" fmla="*/ 342 w 430"/>
                <a:gd name="T79" fmla="*/ 283 h 430"/>
                <a:gd name="T80" fmla="*/ 322 w 430"/>
                <a:gd name="T81" fmla="*/ 283 h 430"/>
                <a:gd name="T82" fmla="*/ 313 w 430"/>
                <a:gd name="T83" fmla="*/ 293 h 430"/>
                <a:gd name="T84" fmla="*/ 313 w 430"/>
                <a:gd name="T85" fmla="*/ 332 h 430"/>
                <a:gd name="T86" fmla="*/ 274 w 430"/>
                <a:gd name="T87" fmla="*/ 352 h 430"/>
                <a:gd name="T88" fmla="*/ 293 w 430"/>
                <a:gd name="T89" fmla="*/ 381 h 430"/>
                <a:gd name="T90" fmla="*/ 283 w 430"/>
                <a:gd name="T91" fmla="*/ 410 h 430"/>
                <a:gd name="T92" fmla="*/ 254 w 430"/>
                <a:gd name="T93" fmla="*/ 420 h 430"/>
                <a:gd name="T94" fmla="*/ 215 w 430"/>
                <a:gd name="T95" fmla="*/ 430 h 430"/>
                <a:gd name="T96" fmla="*/ 196 w 430"/>
                <a:gd name="T97" fmla="*/ 420 h 430"/>
                <a:gd name="T98" fmla="*/ 205 w 430"/>
                <a:gd name="T99" fmla="*/ 410 h 430"/>
                <a:gd name="T100" fmla="*/ 186 w 430"/>
                <a:gd name="T101" fmla="*/ 400 h 430"/>
                <a:gd name="T102" fmla="*/ 137 w 430"/>
                <a:gd name="T103" fmla="*/ 332 h 43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30"/>
                <a:gd name="T157" fmla="*/ 0 h 430"/>
                <a:gd name="T158" fmla="*/ 430 w 430"/>
                <a:gd name="T159" fmla="*/ 430 h 43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30" h="430">
                  <a:moveTo>
                    <a:pt x="137" y="332"/>
                  </a:moveTo>
                  <a:lnTo>
                    <a:pt x="157" y="313"/>
                  </a:lnTo>
                  <a:lnTo>
                    <a:pt x="157" y="303"/>
                  </a:lnTo>
                  <a:lnTo>
                    <a:pt x="137" y="274"/>
                  </a:lnTo>
                  <a:lnTo>
                    <a:pt x="117" y="225"/>
                  </a:lnTo>
                  <a:lnTo>
                    <a:pt x="108" y="196"/>
                  </a:lnTo>
                  <a:lnTo>
                    <a:pt x="117" y="176"/>
                  </a:lnTo>
                  <a:lnTo>
                    <a:pt x="117" y="157"/>
                  </a:lnTo>
                  <a:lnTo>
                    <a:pt x="117" y="147"/>
                  </a:lnTo>
                  <a:lnTo>
                    <a:pt x="98" y="137"/>
                  </a:lnTo>
                  <a:lnTo>
                    <a:pt x="98" y="117"/>
                  </a:lnTo>
                  <a:lnTo>
                    <a:pt x="98" y="98"/>
                  </a:lnTo>
                  <a:lnTo>
                    <a:pt x="88" y="78"/>
                  </a:lnTo>
                  <a:lnTo>
                    <a:pt x="69" y="78"/>
                  </a:lnTo>
                  <a:lnTo>
                    <a:pt x="49" y="78"/>
                  </a:lnTo>
                  <a:lnTo>
                    <a:pt x="39" y="69"/>
                  </a:lnTo>
                  <a:lnTo>
                    <a:pt x="49" y="59"/>
                  </a:lnTo>
                  <a:lnTo>
                    <a:pt x="39" y="49"/>
                  </a:lnTo>
                  <a:lnTo>
                    <a:pt x="30" y="59"/>
                  </a:lnTo>
                  <a:lnTo>
                    <a:pt x="20" y="59"/>
                  </a:lnTo>
                  <a:lnTo>
                    <a:pt x="10" y="39"/>
                  </a:lnTo>
                  <a:lnTo>
                    <a:pt x="0" y="30"/>
                  </a:lnTo>
                  <a:lnTo>
                    <a:pt x="20" y="10"/>
                  </a:lnTo>
                  <a:lnTo>
                    <a:pt x="30" y="10"/>
                  </a:lnTo>
                  <a:lnTo>
                    <a:pt x="59" y="20"/>
                  </a:lnTo>
                  <a:lnTo>
                    <a:pt x="69" y="3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88" y="30"/>
                  </a:lnTo>
                  <a:lnTo>
                    <a:pt x="88" y="39"/>
                  </a:lnTo>
                  <a:lnTo>
                    <a:pt x="108" y="49"/>
                  </a:lnTo>
                  <a:lnTo>
                    <a:pt x="108" y="69"/>
                  </a:lnTo>
                  <a:lnTo>
                    <a:pt x="117" y="98"/>
                  </a:lnTo>
                  <a:lnTo>
                    <a:pt x="117" y="117"/>
                  </a:lnTo>
                  <a:lnTo>
                    <a:pt x="157" y="117"/>
                  </a:lnTo>
                  <a:lnTo>
                    <a:pt x="157" y="137"/>
                  </a:lnTo>
                  <a:lnTo>
                    <a:pt x="166" y="137"/>
                  </a:lnTo>
                  <a:lnTo>
                    <a:pt x="186" y="117"/>
                  </a:lnTo>
                  <a:lnTo>
                    <a:pt x="176" y="108"/>
                  </a:lnTo>
                  <a:lnTo>
                    <a:pt x="196" y="98"/>
                  </a:lnTo>
                  <a:lnTo>
                    <a:pt x="215" y="108"/>
                  </a:lnTo>
                  <a:lnTo>
                    <a:pt x="235" y="98"/>
                  </a:lnTo>
                  <a:lnTo>
                    <a:pt x="264" y="88"/>
                  </a:lnTo>
                  <a:lnTo>
                    <a:pt x="283" y="69"/>
                  </a:lnTo>
                  <a:lnTo>
                    <a:pt x="274" y="59"/>
                  </a:lnTo>
                  <a:lnTo>
                    <a:pt x="264" y="49"/>
                  </a:lnTo>
                  <a:lnTo>
                    <a:pt x="244" y="59"/>
                  </a:lnTo>
                  <a:lnTo>
                    <a:pt x="235" y="49"/>
                  </a:lnTo>
                  <a:lnTo>
                    <a:pt x="244" y="39"/>
                  </a:lnTo>
                  <a:lnTo>
                    <a:pt x="264" y="30"/>
                  </a:lnTo>
                  <a:lnTo>
                    <a:pt x="264" y="10"/>
                  </a:lnTo>
                  <a:lnTo>
                    <a:pt x="283" y="20"/>
                  </a:lnTo>
                  <a:lnTo>
                    <a:pt x="303" y="30"/>
                  </a:lnTo>
                  <a:lnTo>
                    <a:pt x="313" y="39"/>
                  </a:lnTo>
                  <a:lnTo>
                    <a:pt x="322" y="30"/>
                  </a:lnTo>
                  <a:lnTo>
                    <a:pt x="322" y="10"/>
                  </a:lnTo>
                  <a:lnTo>
                    <a:pt x="342" y="10"/>
                  </a:lnTo>
                  <a:lnTo>
                    <a:pt x="342" y="30"/>
                  </a:lnTo>
                  <a:lnTo>
                    <a:pt x="352" y="39"/>
                  </a:lnTo>
                  <a:lnTo>
                    <a:pt x="371" y="39"/>
                  </a:lnTo>
                  <a:lnTo>
                    <a:pt x="371" y="59"/>
                  </a:lnTo>
                  <a:lnTo>
                    <a:pt x="391" y="78"/>
                  </a:lnTo>
                  <a:lnTo>
                    <a:pt x="381" y="88"/>
                  </a:lnTo>
                  <a:lnTo>
                    <a:pt x="391" y="98"/>
                  </a:lnTo>
                  <a:lnTo>
                    <a:pt x="381" y="117"/>
                  </a:lnTo>
                  <a:lnTo>
                    <a:pt x="381" y="147"/>
                  </a:lnTo>
                  <a:lnTo>
                    <a:pt x="381" y="166"/>
                  </a:lnTo>
                  <a:lnTo>
                    <a:pt x="391" y="176"/>
                  </a:lnTo>
                  <a:lnTo>
                    <a:pt x="410" y="176"/>
                  </a:lnTo>
                  <a:lnTo>
                    <a:pt x="430" y="196"/>
                  </a:lnTo>
                  <a:lnTo>
                    <a:pt x="430" y="205"/>
                  </a:lnTo>
                  <a:lnTo>
                    <a:pt x="410" y="196"/>
                  </a:lnTo>
                  <a:lnTo>
                    <a:pt x="391" y="196"/>
                  </a:lnTo>
                  <a:lnTo>
                    <a:pt x="381" y="225"/>
                  </a:lnTo>
                  <a:lnTo>
                    <a:pt x="371" y="244"/>
                  </a:lnTo>
                  <a:lnTo>
                    <a:pt x="371" y="264"/>
                  </a:lnTo>
                  <a:lnTo>
                    <a:pt x="381" y="283"/>
                  </a:lnTo>
                  <a:lnTo>
                    <a:pt x="361" y="283"/>
                  </a:lnTo>
                  <a:lnTo>
                    <a:pt x="342" y="283"/>
                  </a:lnTo>
                  <a:lnTo>
                    <a:pt x="332" y="293"/>
                  </a:lnTo>
                  <a:lnTo>
                    <a:pt x="322" y="283"/>
                  </a:lnTo>
                  <a:lnTo>
                    <a:pt x="303" y="283"/>
                  </a:lnTo>
                  <a:lnTo>
                    <a:pt x="313" y="293"/>
                  </a:lnTo>
                  <a:lnTo>
                    <a:pt x="303" y="313"/>
                  </a:lnTo>
                  <a:lnTo>
                    <a:pt x="313" y="332"/>
                  </a:lnTo>
                  <a:lnTo>
                    <a:pt x="293" y="342"/>
                  </a:lnTo>
                  <a:lnTo>
                    <a:pt x="274" y="352"/>
                  </a:lnTo>
                  <a:lnTo>
                    <a:pt x="274" y="371"/>
                  </a:lnTo>
                  <a:lnTo>
                    <a:pt x="293" y="381"/>
                  </a:lnTo>
                  <a:lnTo>
                    <a:pt x="293" y="400"/>
                  </a:lnTo>
                  <a:lnTo>
                    <a:pt x="283" y="410"/>
                  </a:lnTo>
                  <a:lnTo>
                    <a:pt x="274" y="420"/>
                  </a:lnTo>
                  <a:lnTo>
                    <a:pt x="254" y="420"/>
                  </a:lnTo>
                  <a:lnTo>
                    <a:pt x="235" y="430"/>
                  </a:lnTo>
                  <a:lnTo>
                    <a:pt x="215" y="430"/>
                  </a:lnTo>
                  <a:lnTo>
                    <a:pt x="215" y="420"/>
                  </a:lnTo>
                  <a:lnTo>
                    <a:pt x="196" y="420"/>
                  </a:lnTo>
                  <a:lnTo>
                    <a:pt x="205" y="410"/>
                  </a:lnTo>
                  <a:lnTo>
                    <a:pt x="196" y="391"/>
                  </a:lnTo>
                  <a:lnTo>
                    <a:pt x="186" y="400"/>
                  </a:lnTo>
                  <a:lnTo>
                    <a:pt x="166" y="352"/>
                  </a:lnTo>
                  <a:lnTo>
                    <a:pt x="137" y="332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346"/>
            <p:cNvSpPr>
              <a:spLocks/>
            </p:cNvSpPr>
            <p:nvPr/>
          </p:nvSpPr>
          <p:spPr bwMode="auto">
            <a:xfrm>
              <a:off x="1329" y="2783"/>
              <a:ext cx="242" cy="407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7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34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5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7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39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292"/>
                  </a:lnTo>
                  <a:lnTo>
                    <a:pt x="234" y="253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34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39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5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29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41" name="Group 343"/>
            <p:cNvGrpSpPr>
              <a:grpSpLocks/>
            </p:cNvGrpSpPr>
            <p:nvPr/>
          </p:nvGrpSpPr>
          <p:grpSpPr bwMode="auto">
            <a:xfrm>
              <a:off x="1327" y="2781"/>
              <a:ext cx="243" cy="409"/>
              <a:chOff x="1327" y="2781"/>
              <a:chExt cx="243" cy="409"/>
            </a:xfrm>
          </p:grpSpPr>
          <p:sp>
            <p:nvSpPr>
              <p:cNvPr id="762" name="Freeform 345"/>
              <p:cNvSpPr>
                <a:spLocks/>
              </p:cNvSpPr>
              <p:nvPr/>
            </p:nvSpPr>
            <p:spPr bwMode="auto">
              <a:xfrm>
                <a:off x="1329" y="2781"/>
                <a:ext cx="242" cy="409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3" name="Freeform 344"/>
              <p:cNvSpPr>
                <a:spLocks/>
              </p:cNvSpPr>
              <p:nvPr/>
            </p:nvSpPr>
            <p:spPr bwMode="auto">
              <a:xfrm>
                <a:off x="1329" y="2781"/>
                <a:ext cx="242" cy="409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2" name="Freeform 342"/>
            <p:cNvSpPr>
              <a:spLocks/>
            </p:cNvSpPr>
            <p:nvPr/>
          </p:nvSpPr>
          <p:spPr bwMode="auto">
            <a:xfrm>
              <a:off x="1483" y="1150"/>
              <a:ext cx="293" cy="383"/>
            </a:xfrm>
            <a:custGeom>
              <a:avLst/>
              <a:gdLst>
                <a:gd name="T0" fmla="*/ 107 w 292"/>
                <a:gd name="T1" fmla="*/ 352 h 381"/>
                <a:gd name="T2" fmla="*/ 78 w 292"/>
                <a:gd name="T3" fmla="*/ 371 h 381"/>
                <a:gd name="T4" fmla="*/ 48 w 292"/>
                <a:gd name="T5" fmla="*/ 361 h 381"/>
                <a:gd name="T6" fmla="*/ 29 w 292"/>
                <a:gd name="T7" fmla="*/ 352 h 381"/>
                <a:gd name="T8" fmla="*/ 39 w 292"/>
                <a:gd name="T9" fmla="*/ 322 h 381"/>
                <a:gd name="T10" fmla="*/ 19 w 292"/>
                <a:gd name="T11" fmla="*/ 293 h 381"/>
                <a:gd name="T12" fmla="*/ 0 w 292"/>
                <a:gd name="T13" fmla="*/ 273 h 381"/>
                <a:gd name="T14" fmla="*/ 19 w 292"/>
                <a:gd name="T15" fmla="*/ 254 h 381"/>
                <a:gd name="T16" fmla="*/ 9 w 292"/>
                <a:gd name="T17" fmla="*/ 234 h 381"/>
                <a:gd name="T18" fmla="*/ 0 w 292"/>
                <a:gd name="T19" fmla="*/ 215 h 381"/>
                <a:gd name="T20" fmla="*/ 0 w 292"/>
                <a:gd name="T21" fmla="*/ 195 h 381"/>
                <a:gd name="T22" fmla="*/ 0 w 292"/>
                <a:gd name="T23" fmla="*/ 176 h 381"/>
                <a:gd name="T24" fmla="*/ 29 w 292"/>
                <a:gd name="T25" fmla="*/ 166 h 381"/>
                <a:gd name="T26" fmla="*/ 39 w 292"/>
                <a:gd name="T27" fmla="*/ 147 h 381"/>
                <a:gd name="T28" fmla="*/ 58 w 292"/>
                <a:gd name="T29" fmla="*/ 127 h 381"/>
                <a:gd name="T30" fmla="*/ 58 w 292"/>
                <a:gd name="T31" fmla="*/ 108 h 381"/>
                <a:gd name="T32" fmla="*/ 78 w 292"/>
                <a:gd name="T33" fmla="*/ 98 h 381"/>
                <a:gd name="T34" fmla="*/ 107 w 292"/>
                <a:gd name="T35" fmla="*/ 88 h 381"/>
                <a:gd name="T36" fmla="*/ 126 w 292"/>
                <a:gd name="T37" fmla="*/ 59 h 381"/>
                <a:gd name="T38" fmla="*/ 146 w 292"/>
                <a:gd name="T39" fmla="*/ 49 h 381"/>
                <a:gd name="T40" fmla="*/ 185 w 292"/>
                <a:gd name="T41" fmla="*/ 49 h 381"/>
                <a:gd name="T42" fmla="*/ 195 w 292"/>
                <a:gd name="T43" fmla="*/ 39 h 381"/>
                <a:gd name="T44" fmla="*/ 224 w 292"/>
                <a:gd name="T45" fmla="*/ 30 h 381"/>
                <a:gd name="T46" fmla="*/ 253 w 292"/>
                <a:gd name="T47" fmla="*/ 10 h 381"/>
                <a:gd name="T48" fmla="*/ 283 w 292"/>
                <a:gd name="T49" fmla="*/ 0 h 381"/>
                <a:gd name="T50" fmla="*/ 292 w 292"/>
                <a:gd name="T51" fmla="*/ 10 h 381"/>
                <a:gd name="T52" fmla="*/ 292 w 292"/>
                <a:gd name="T53" fmla="*/ 30 h 381"/>
                <a:gd name="T54" fmla="*/ 292 w 292"/>
                <a:gd name="T55" fmla="*/ 69 h 381"/>
                <a:gd name="T56" fmla="*/ 283 w 292"/>
                <a:gd name="T57" fmla="*/ 98 h 381"/>
                <a:gd name="T58" fmla="*/ 283 w 292"/>
                <a:gd name="T59" fmla="*/ 117 h 381"/>
                <a:gd name="T60" fmla="*/ 263 w 292"/>
                <a:gd name="T61" fmla="*/ 127 h 381"/>
                <a:gd name="T62" fmla="*/ 243 w 292"/>
                <a:gd name="T63" fmla="*/ 127 h 381"/>
                <a:gd name="T64" fmla="*/ 253 w 292"/>
                <a:gd name="T65" fmla="*/ 176 h 381"/>
                <a:gd name="T66" fmla="*/ 224 w 292"/>
                <a:gd name="T67" fmla="*/ 215 h 381"/>
                <a:gd name="T68" fmla="*/ 195 w 292"/>
                <a:gd name="T69" fmla="*/ 215 h 381"/>
                <a:gd name="T70" fmla="*/ 185 w 292"/>
                <a:gd name="T71" fmla="*/ 244 h 381"/>
                <a:gd name="T72" fmla="*/ 165 w 292"/>
                <a:gd name="T73" fmla="*/ 264 h 381"/>
                <a:gd name="T74" fmla="*/ 156 w 292"/>
                <a:gd name="T75" fmla="*/ 283 h 381"/>
                <a:gd name="T76" fmla="*/ 136 w 292"/>
                <a:gd name="T77" fmla="*/ 293 h 381"/>
                <a:gd name="T78" fmla="*/ 136 w 292"/>
                <a:gd name="T79" fmla="*/ 313 h 381"/>
                <a:gd name="T80" fmla="*/ 117 w 292"/>
                <a:gd name="T81" fmla="*/ 332 h 38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92"/>
                <a:gd name="T124" fmla="*/ 0 h 381"/>
                <a:gd name="T125" fmla="*/ 292 w 292"/>
                <a:gd name="T126" fmla="*/ 381 h 38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92" h="381">
                  <a:moveTo>
                    <a:pt x="117" y="332"/>
                  </a:moveTo>
                  <a:lnTo>
                    <a:pt x="107" y="352"/>
                  </a:lnTo>
                  <a:lnTo>
                    <a:pt x="97" y="361"/>
                  </a:lnTo>
                  <a:lnTo>
                    <a:pt x="78" y="371"/>
                  </a:lnTo>
                  <a:lnTo>
                    <a:pt x="48" y="381"/>
                  </a:lnTo>
                  <a:lnTo>
                    <a:pt x="48" y="361"/>
                  </a:lnTo>
                  <a:lnTo>
                    <a:pt x="39" y="352"/>
                  </a:lnTo>
                  <a:lnTo>
                    <a:pt x="29" y="352"/>
                  </a:lnTo>
                  <a:lnTo>
                    <a:pt x="29" y="342"/>
                  </a:lnTo>
                  <a:lnTo>
                    <a:pt x="39" y="322"/>
                  </a:lnTo>
                  <a:lnTo>
                    <a:pt x="39" y="303"/>
                  </a:lnTo>
                  <a:lnTo>
                    <a:pt x="19" y="293"/>
                  </a:lnTo>
                  <a:lnTo>
                    <a:pt x="9" y="283"/>
                  </a:lnTo>
                  <a:lnTo>
                    <a:pt x="0" y="273"/>
                  </a:lnTo>
                  <a:lnTo>
                    <a:pt x="9" y="264"/>
                  </a:lnTo>
                  <a:lnTo>
                    <a:pt x="19" y="254"/>
                  </a:lnTo>
                  <a:lnTo>
                    <a:pt x="19" y="244"/>
                  </a:lnTo>
                  <a:lnTo>
                    <a:pt x="9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9" y="19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0" y="176"/>
                  </a:lnTo>
                  <a:lnTo>
                    <a:pt x="9" y="166"/>
                  </a:lnTo>
                  <a:lnTo>
                    <a:pt x="29" y="166"/>
                  </a:lnTo>
                  <a:lnTo>
                    <a:pt x="39" y="156"/>
                  </a:lnTo>
                  <a:lnTo>
                    <a:pt x="39" y="14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58" y="117"/>
                  </a:lnTo>
                  <a:lnTo>
                    <a:pt x="58" y="108"/>
                  </a:lnTo>
                  <a:lnTo>
                    <a:pt x="68" y="98"/>
                  </a:lnTo>
                  <a:lnTo>
                    <a:pt x="78" y="98"/>
                  </a:lnTo>
                  <a:lnTo>
                    <a:pt x="97" y="98"/>
                  </a:lnTo>
                  <a:lnTo>
                    <a:pt x="107" y="88"/>
                  </a:lnTo>
                  <a:lnTo>
                    <a:pt x="117" y="69"/>
                  </a:lnTo>
                  <a:lnTo>
                    <a:pt x="126" y="59"/>
                  </a:lnTo>
                  <a:lnTo>
                    <a:pt x="136" y="49"/>
                  </a:lnTo>
                  <a:lnTo>
                    <a:pt x="146" y="49"/>
                  </a:lnTo>
                  <a:lnTo>
                    <a:pt x="165" y="59"/>
                  </a:lnTo>
                  <a:lnTo>
                    <a:pt x="185" y="49"/>
                  </a:lnTo>
                  <a:lnTo>
                    <a:pt x="195" y="39"/>
                  </a:lnTo>
                  <a:lnTo>
                    <a:pt x="204" y="30"/>
                  </a:lnTo>
                  <a:lnTo>
                    <a:pt x="224" y="30"/>
                  </a:lnTo>
                  <a:lnTo>
                    <a:pt x="234" y="20"/>
                  </a:lnTo>
                  <a:lnTo>
                    <a:pt x="253" y="10"/>
                  </a:lnTo>
                  <a:lnTo>
                    <a:pt x="273" y="10"/>
                  </a:lnTo>
                  <a:lnTo>
                    <a:pt x="283" y="0"/>
                  </a:lnTo>
                  <a:lnTo>
                    <a:pt x="292" y="10"/>
                  </a:lnTo>
                  <a:lnTo>
                    <a:pt x="283" y="30"/>
                  </a:lnTo>
                  <a:lnTo>
                    <a:pt x="292" y="30"/>
                  </a:lnTo>
                  <a:lnTo>
                    <a:pt x="292" y="49"/>
                  </a:lnTo>
                  <a:lnTo>
                    <a:pt x="292" y="69"/>
                  </a:lnTo>
                  <a:lnTo>
                    <a:pt x="283" y="78"/>
                  </a:lnTo>
                  <a:lnTo>
                    <a:pt x="283" y="98"/>
                  </a:lnTo>
                  <a:lnTo>
                    <a:pt x="283" y="108"/>
                  </a:lnTo>
                  <a:lnTo>
                    <a:pt x="283" y="117"/>
                  </a:lnTo>
                  <a:lnTo>
                    <a:pt x="283" y="127"/>
                  </a:lnTo>
                  <a:lnTo>
                    <a:pt x="263" y="127"/>
                  </a:lnTo>
                  <a:lnTo>
                    <a:pt x="263" y="117"/>
                  </a:lnTo>
                  <a:lnTo>
                    <a:pt x="243" y="127"/>
                  </a:lnTo>
                  <a:lnTo>
                    <a:pt x="243" y="166"/>
                  </a:lnTo>
                  <a:lnTo>
                    <a:pt x="253" y="176"/>
                  </a:lnTo>
                  <a:lnTo>
                    <a:pt x="224" y="195"/>
                  </a:lnTo>
                  <a:lnTo>
                    <a:pt x="224" y="215"/>
                  </a:lnTo>
                  <a:lnTo>
                    <a:pt x="195" y="215"/>
                  </a:lnTo>
                  <a:lnTo>
                    <a:pt x="204" y="234"/>
                  </a:lnTo>
                  <a:lnTo>
                    <a:pt x="185" y="244"/>
                  </a:lnTo>
                  <a:lnTo>
                    <a:pt x="165" y="254"/>
                  </a:lnTo>
                  <a:lnTo>
                    <a:pt x="165" y="264"/>
                  </a:lnTo>
                  <a:lnTo>
                    <a:pt x="175" y="283"/>
                  </a:lnTo>
                  <a:lnTo>
                    <a:pt x="156" y="283"/>
                  </a:lnTo>
                  <a:lnTo>
                    <a:pt x="146" y="283"/>
                  </a:lnTo>
                  <a:lnTo>
                    <a:pt x="136" y="293"/>
                  </a:lnTo>
                  <a:lnTo>
                    <a:pt x="136" y="303"/>
                  </a:lnTo>
                  <a:lnTo>
                    <a:pt x="136" y="313"/>
                  </a:lnTo>
                  <a:lnTo>
                    <a:pt x="126" y="322"/>
                  </a:lnTo>
                  <a:lnTo>
                    <a:pt x="117" y="332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341"/>
            <p:cNvSpPr>
              <a:spLocks/>
            </p:cNvSpPr>
            <p:nvPr/>
          </p:nvSpPr>
          <p:spPr bwMode="auto">
            <a:xfrm>
              <a:off x="840" y="2995"/>
              <a:ext cx="174" cy="127"/>
            </a:xfrm>
            <a:custGeom>
              <a:avLst/>
              <a:gdLst>
                <a:gd name="T0" fmla="*/ 39 w 175"/>
                <a:gd name="T1" fmla="*/ 98 h 127"/>
                <a:gd name="T2" fmla="*/ 39 w 175"/>
                <a:gd name="T3" fmla="*/ 69 h 127"/>
                <a:gd name="T4" fmla="*/ 29 w 175"/>
                <a:gd name="T5" fmla="*/ 49 h 127"/>
                <a:gd name="T6" fmla="*/ 10 w 175"/>
                <a:gd name="T7" fmla="*/ 39 h 127"/>
                <a:gd name="T8" fmla="*/ 10 w 175"/>
                <a:gd name="T9" fmla="*/ 20 h 127"/>
                <a:gd name="T10" fmla="*/ 0 w 175"/>
                <a:gd name="T11" fmla="*/ 10 h 127"/>
                <a:gd name="T12" fmla="*/ 29 w 175"/>
                <a:gd name="T13" fmla="*/ 0 h 127"/>
                <a:gd name="T14" fmla="*/ 49 w 175"/>
                <a:gd name="T15" fmla="*/ 0 h 127"/>
                <a:gd name="T16" fmla="*/ 78 w 175"/>
                <a:gd name="T17" fmla="*/ 0 h 127"/>
                <a:gd name="T18" fmla="*/ 97 w 175"/>
                <a:gd name="T19" fmla="*/ 10 h 127"/>
                <a:gd name="T20" fmla="*/ 107 w 175"/>
                <a:gd name="T21" fmla="*/ 20 h 127"/>
                <a:gd name="T22" fmla="*/ 97 w 175"/>
                <a:gd name="T23" fmla="*/ 30 h 127"/>
                <a:gd name="T24" fmla="*/ 127 w 175"/>
                <a:gd name="T25" fmla="*/ 39 h 127"/>
                <a:gd name="T26" fmla="*/ 127 w 175"/>
                <a:gd name="T27" fmla="*/ 49 h 127"/>
                <a:gd name="T28" fmla="*/ 127 w 175"/>
                <a:gd name="T29" fmla="*/ 59 h 127"/>
                <a:gd name="T30" fmla="*/ 156 w 175"/>
                <a:gd name="T31" fmla="*/ 49 h 127"/>
                <a:gd name="T32" fmla="*/ 156 w 175"/>
                <a:gd name="T33" fmla="*/ 69 h 127"/>
                <a:gd name="T34" fmla="*/ 175 w 175"/>
                <a:gd name="T35" fmla="*/ 69 h 127"/>
                <a:gd name="T36" fmla="*/ 175 w 175"/>
                <a:gd name="T37" fmla="*/ 88 h 127"/>
                <a:gd name="T38" fmla="*/ 175 w 175"/>
                <a:gd name="T39" fmla="*/ 98 h 127"/>
                <a:gd name="T40" fmla="*/ 156 w 175"/>
                <a:gd name="T41" fmla="*/ 117 h 127"/>
                <a:gd name="T42" fmla="*/ 146 w 175"/>
                <a:gd name="T43" fmla="*/ 117 h 127"/>
                <a:gd name="T44" fmla="*/ 127 w 175"/>
                <a:gd name="T45" fmla="*/ 127 h 127"/>
                <a:gd name="T46" fmla="*/ 107 w 175"/>
                <a:gd name="T47" fmla="*/ 117 h 127"/>
                <a:gd name="T48" fmla="*/ 97 w 175"/>
                <a:gd name="T49" fmla="*/ 117 h 127"/>
                <a:gd name="T50" fmla="*/ 78 w 175"/>
                <a:gd name="T51" fmla="*/ 117 h 127"/>
                <a:gd name="T52" fmla="*/ 49 w 175"/>
                <a:gd name="T53" fmla="*/ 117 h 127"/>
                <a:gd name="T54" fmla="*/ 39 w 175"/>
                <a:gd name="T55" fmla="*/ 117 h 127"/>
                <a:gd name="T56" fmla="*/ 39 w 175"/>
                <a:gd name="T57" fmla="*/ 98 h 1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5"/>
                <a:gd name="T88" fmla="*/ 0 h 127"/>
                <a:gd name="T89" fmla="*/ 175 w 175"/>
                <a:gd name="T90" fmla="*/ 127 h 1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4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1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49"/>
                  </a:lnTo>
                  <a:lnTo>
                    <a:pt x="156" y="69"/>
                  </a:lnTo>
                  <a:lnTo>
                    <a:pt x="175" y="69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17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17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44" name="Group 338"/>
            <p:cNvGrpSpPr>
              <a:grpSpLocks/>
            </p:cNvGrpSpPr>
            <p:nvPr/>
          </p:nvGrpSpPr>
          <p:grpSpPr bwMode="auto">
            <a:xfrm>
              <a:off x="839" y="2995"/>
              <a:ext cx="175" cy="127"/>
              <a:chOff x="839" y="2995"/>
              <a:chExt cx="175" cy="127"/>
            </a:xfrm>
          </p:grpSpPr>
          <p:sp>
            <p:nvSpPr>
              <p:cNvPr id="760" name="Freeform 340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1" name="Freeform 339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5" name="Freeform 337"/>
            <p:cNvSpPr>
              <a:spLocks/>
            </p:cNvSpPr>
            <p:nvPr/>
          </p:nvSpPr>
          <p:spPr bwMode="auto">
            <a:xfrm>
              <a:off x="879" y="3093"/>
              <a:ext cx="155" cy="106"/>
            </a:xfrm>
            <a:custGeom>
              <a:avLst/>
              <a:gdLst>
                <a:gd name="T0" fmla="*/ 146 w 156"/>
                <a:gd name="T1" fmla="*/ 29 h 107"/>
                <a:gd name="T2" fmla="*/ 14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2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2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29"/>
                  </a:moveTo>
                  <a:lnTo>
                    <a:pt x="146" y="39"/>
                  </a:ln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2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46" name="Group 334"/>
            <p:cNvGrpSpPr>
              <a:grpSpLocks/>
            </p:cNvGrpSpPr>
            <p:nvPr/>
          </p:nvGrpSpPr>
          <p:grpSpPr bwMode="auto">
            <a:xfrm>
              <a:off x="878" y="3093"/>
              <a:ext cx="156" cy="107"/>
              <a:chOff x="878" y="3093"/>
              <a:chExt cx="156" cy="107"/>
            </a:xfrm>
          </p:grpSpPr>
          <p:sp>
            <p:nvSpPr>
              <p:cNvPr id="758" name="Freeform 336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146 w 156"/>
                  <a:gd name="T65" fmla="*/ 39 h 1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6"/>
                  <a:gd name="T100" fmla="*/ 0 h 107"/>
                  <a:gd name="T101" fmla="*/ 156 w 156"/>
                  <a:gd name="T102" fmla="*/ 107 h 10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  <a:lnTo>
                      <a:pt x="146" y="39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9" name="Freeform 335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56"/>
                  <a:gd name="T97" fmla="*/ 0 h 107"/>
                  <a:gd name="T98" fmla="*/ 156 w 156"/>
                  <a:gd name="T99" fmla="*/ 107 h 10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7" name="Freeform 333"/>
            <p:cNvSpPr>
              <a:spLocks/>
            </p:cNvSpPr>
            <p:nvPr/>
          </p:nvSpPr>
          <p:spPr bwMode="auto">
            <a:xfrm>
              <a:off x="937" y="3122"/>
              <a:ext cx="97" cy="118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3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107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3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107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48" name="Group 330"/>
            <p:cNvGrpSpPr>
              <a:grpSpLocks/>
            </p:cNvGrpSpPr>
            <p:nvPr/>
          </p:nvGrpSpPr>
          <p:grpSpPr bwMode="auto">
            <a:xfrm>
              <a:off x="936" y="3122"/>
              <a:ext cx="98" cy="117"/>
              <a:chOff x="936" y="3122"/>
              <a:chExt cx="98" cy="117"/>
            </a:xfrm>
          </p:grpSpPr>
          <p:sp>
            <p:nvSpPr>
              <p:cNvPr id="756" name="Freeform 332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7" name="Freeform 331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9" name="Freeform 329"/>
            <p:cNvSpPr>
              <a:spLocks/>
            </p:cNvSpPr>
            <p:nvPr/>
          </p:nvSpPr>
          <p:spPr bwMode="auto">
            <a:xfrm>
              <a:off x="966" y="3122"/>
              <a:ext cx="174" cy="179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6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6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2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88 h 176"/>
                <a:gd name="T48" fmla="*/ 146 w 175"/>
                <a:gd name="T49" fmla="*/ 88 h 176"/>
                <a:gd name="T50" fmla="*/ 136 w 175"/>
                <a:gd name="T51" fmla="*/ 78 h 176"/>
                <a:gd name="T52" fmla="*/ 146 w 175"/>
                <a:gd name="T53" fmla="*/ 59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97 w 175"/>
                <a:gd name="T65" fmla="*/ 29 h 176"/>
                <a:gd name="T66" fmla="*/ 97 w 175"/>
                <a:gd name="T67" fmla="*/ 10 h 176"/>
                <a:gd name="T68" fmla="*/ 9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6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6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2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88"/>
                  </a:lnTo>
                  <a:lnTo>
                    <a:pt x="146" y="88"/>
                  </a:lnTo>
                  <a:lnTo>
                    <a:pt x="136" y="78"/>
                  </a:lnTo>
                  <a:lnTo>
                    <a:pt x="146" y="59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97" y="29"/>
                  </a:lnTo>
                  <a:lnTo>
                    <a:pt x="97" y="10"/>
                  </a:lnTo>
                  <a:lnTo>
                    <a:pt x="9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50" name="Group 326"/>
            <p:cNvGrpSpPr>
              <a:grpSpLocks/>
            </p:cNvGrpSpPr>
            <p:nvPr/>
          </p:nvGrpSpPr>
          <p:grpSpPr bwMode="auto">
            <a:xfrm>
              <a:off x="966" y="3122"/>
              <a:ext cx="175" cy="176"/>
              <a:chOff x="966" y="3122"/>
              <a:chExt cx="175" cy="176"/>
            </a:xfrm>
          </p:grpSpPr>
          <p:sp>
            <p:nvSpPr>
              <p:cNvPr id="754" name="Freeform 328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68 w 175"/>
                  <a:gd name="T71" fmla="*/ 20 h 17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75"/>
                  <a:gd name="T109" fmla="*/ 0 h 176"/>
                  <a:gd name="T110" fmla="*/ 175 w 175"/>
                  <a:gd name="T111" fmla="*/ 176 h 17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  <a:lnTo>
                      <a:pt x="68" y="20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5" name="Freeform 327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5"/>
                  <a:gd name="T106" fmla="*/ 0 h 176"/>
                  <a:gd name="T107" fmla="*/ 175 w 175"/>
                  <a:gd name="T108" fmla="*/ 176 h 17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1" name="Freeform 325"/>
            <p:cNvSpPr>
              <a:spLocks/>
            </p:cNvSpPr>
            <p:nvPr/>
          </p:nvSpPr>
          <p:spPr bwMode="auto">
            <a:xfrm>
              <a:off x="959" y="3072"/>
              <a:ext cx="300" cy="440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1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52" name="Group 322"/>
            <p:cNvGrpSpPr>
              <a:grpSpLocks/>
            </p:cNvGrpSpPr>
            <p:nvPr/>
          </p:nvGrpSpPr>
          <p:grpSpPr bwMode="auto">
            <a:xfrm>
              <a:off x="956" y="3073"/>
              <a:ext cx="302" cy="439"/>
              <a:chOff x="956" y="3073"/>
              <a:chExt cx="302" cy="439"/>
            </a:xfrm>
          </p:grpSpPr>
          <p:sp>
            <p:nvSpPr>
              <p:cNvPr id="752" name="Freeform 324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88 w 302"/>
                  <a:gd name="T101" fmla="*/ 225 h 43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2"/>
                  <a:gd name="T154" fmla="*/ 0 h 439"/>
                  <a:gd name="T155" fmla="*/ 302 w 302"/>
                  <a:gd name="T156" fmla="*/ 439 h 43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  <a:lnTo>
                      <a:pt x="88" y="225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3" name="Freeform 323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02"/>
                  <a:gd name="T151" fmla="*/ 0 h 439"/>
                  <a:gd name="T152" fmla="*/ 302 w 302"/>
                  <a:gd name="T153" fmla="*/ 439 h 43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3" name="Freeform 321"/>
            <p:cNvSpPr>
              <a:spLocks/>
            </p:cNvSpPr>
            <p:nvPr/>
          </p:nvSpPr>
          <p:spPr bwMode="auto">
            <a:xfrm>
              <a:off x="3171" y="2691"/>
              <a:ext cx="692" cy="529"/>
            </a:xfrm>
            <a:custGeom>
              <a:avLst/>
              <a:gdLst>
                <a:gd name="T0" fmla="*/ 263 w 693"/>
                <a:gd name="T1" fmla="*/ 517 h 527"/>
                <a:gd name="T2" fmla="*/ 283 w 693"/>
                <a:gd name="T3" fmla="*/ 497 h 527"/>
                <a:gd name="T4" fmla="*/ 293 w 693"/>
                <a:gd name="T5" fmla="*/ 468 h 527"/>
                <a:gd name="T6" fmla="*/ 312 w 693"/>
                <a:gd name="T7" fmla="*/ 449 h 527"/>
                <a:gd name="T8" fmla="*/ 322 w 693"/>
                <a:gd name="T9" fmla="*/ 449 h 527"/>
                <a:gd name="T10" fmla="*/ 332 w 693"/>
                <a:gd name="T11" fmla="*/ 429 h 527"/>
                <a:gd name="T12" fmla="*/ 342 w 693"/>
                <a:gd name="T13" fmla="*/ 429 h 527"/>
                <a:gd name="T14" fmla="*/ 342 w 693"/>
                <a:gd name="T15" fmla="*/ 410 h 527"/>
                <a:gd name="T16" fmla="*/ 361 w 693"/>
                <a:gd name="T17" fmla="*/ 400 h 527"/>
                <a:gd name="T18" fmla="*/ 361 w 693"/>
                <a:gd name="T19" fmla="*/ 390 h 527"/>
                <a:gd name="T20" fmla="*/ 400 w 693"/>
                <a:gd name="T21" fmla="*/ 390 h 527"/>
                <a:gd name="T22" fmla="*/ 410 w 693"/>
                <a:gd name="T23" fmla="*/ 371 h 527"/>
                <a:gd name="T24" fmla="*/ 390 w 693"/>
                <a:gd name="T25" fmla="*/ 312 h 527"/>
                <a:gd name="T26" fmla="*/ 351 w 693"/>
                <a:gd name="T27" fmla="*/ 293 h 527"/>
                <a:gd name="T28" fmla="*/ 381 w 693"/>
                <a:gd name="T29" fmla="*/ 293 h 527"/>
                <a:gd name="T30" fmla="*/ 390 w 693"/>
                <a:gd name="T31" fmla="*/ 283 h 527"/>
                <a:gd name="T32" fmla="*/ 390 w 693"/>
                <a:gd name="T33" fmla="*/ 234 h 527"/>
                <a:gd name="T34" fmla="*/ 439 w 693"/>
                <a:gd name="T35" fmla="*/ 185 h 527"/>
                <a:gd name="T36" fmla="*/ 449 w 693"/>
                <a:gd name="T37" fmla="*/ 215 h 527"/>
                <a:gd name="T38" fmla="*/ 449 w 693"/>
                <a:gd name="T39" fmla="*/ 244 h 527"/>
                <a:gd name="T40" fmla="*/ 468 w 693"/>
                <a:gd name="T41" fmla="*/ 254 h 527"/>
                <a:gd name="T42" fmla="*/ 507 w 693"/>
                <a:gd name="T43" fmla="*/ 293 h 527"/>
                <a:gd name="T44" fmla="*/ 546 w 693"/>
                <a:gd name="T45" fmla="*/ 293 h 527"/>
                <a:gd name="T46" fmla="*/ 595 w 693"/>
                <a:gd name="T47" fmla="*/ 302 h 527"/>
                <a:gd name="T48" fmla="*/ 624 w 693"/>
                <a:gd name="T49" fmla="*/ 312 h 527"/>
                <a:gd name="T50" fmla="*/ 654 w 693"/>
                <a:gd name="T51" fmla="*/ 293 h 527"/>
                <a:gd name="T52" fmla="*/ 683 w 693"/>
                <a:gd name="T53" fmla="*/ 283 h 527"/>
                <a:gd name="T54" fmla="*/ 663 w 693"/>
                <a:gd name="T55" fmla="*/ 263 h 527"/>
                <a:gd name="T56" fmla="*/ 624 w 693"/>
                <a:gd name="T57" fmla="*/ 234 h 527"/>
                <a:gd name="T58" fmla="*/ 585 w 693"/>
                <a:gd name="T59" fmla="*/ 205 h 527"/>
                <a:gd name="T60" fmla="*/ 585 w 693"/>
                <a:gd name="T61" fmla="*/ 175 h 527"/>
                <a:gd name="T62" fmla="*/ 566 w 693"/>
                <a:gd name="T63" fmla="*/ 166 h 527"/>
                <a:gd name="T64" fmla="*/ 566 w 693"/>
                <a:gd name="T65" fmla="*/ 136 h 527"/>
                <a:gd name="T66" fmla="*/ 537 w 693"/>
                <a:gd name="T67" fmla="*/ 68 h 527"/>
                <a:gd name="T68" fmla="*/ 498 w 693"/>
                <a:gd name="T69" fmla="*/ 39 h 527"/>
                <a:gd name="T70" fmla="*/ 468 w 693"/>
                <a:gd name="T71" fmla="*/ 19 h 527"/>
                <a:gd name="T72" fmla="*/ 449 w 693"/>
                <a:gd name="T73" fmla="*/ 0 h 527"/>
                <a:gd name="T74" fmla="*/ 420 w 693"/>
                <a:gd name="T75" fmla="*/ 0 h 527"/>
                <a:gd name="T76" fmla="*/ 410 w 693"/>
                <a:gd name="T77" fmla="*/ 19 h 527"/>
                <a:gd name="T78" fmla="*/ 361 w 693"/>
                <a:gd name="T79" fmla="*/ 29 h 527"/>
                <a:gd name="T80" fmla="*/ 332 w 693"/>
                <a:gd name="T81" fmla="*/ 49 h 527"/>
                <a:gd name="T82" fmla="*/ 303 w 693"/>
                <a:gd name="T83" fmla="*/ 49 h 527"/>
                <a:gd name="T84" fmla="*/ 263 w 693"/>
                <a:gd name="T85" fmla="*/ 39 h 527"/>
                <a:gd name="T86" fmla="*/ 234 w 693"/>
                <a:gd name="T87" fmla="*/ 39 h 527"/>
                <a:gd name="T88" fmla="*/ 215 w 693"/>
                <a:gd name="T89" fmla="*/ 68 h 527"/>
                <a:gd name="T90" fmla="*/ 176 w 693"/>
                <a:gd name="T91" fmla="*/ 58 h 527"/>
                <a:gd name="T92" fmla="*/ 166 w 693"/>
                <a:gd name="T93" fmla="*/ 117 h 527"/>
                <a:gd name="T94" fmla="*/ 107 w 693"/>
                <a:gd name="T95" fmla="*/ 117 h 527"/>
                <a:gd name="T96" fmla="*/ 49 w 693"/>
                <a:gd name="T97" fmla="*/ 146 h 527"/>
                <a:gd name="T98" fmla="*/ 49 w 693"/>
                <a:gd name="T99" fmla="*/ 185 h 527"/>
                <a:gd name="T100" fmla="*/ 0 w 693"/>
                <a:gd name="T101" fmla="*/ 224 h 527"/>
                <a:gd name="T102" fmla="*/ 10 w 693"/>
                <a:gd name="T103" fmla="*/ 263 h 527"/>
                <a:gd name="T104" fmla="*/ 29 w 693"/>
                <a:gd name="T105" fmla="*/ 312 h 527"/>
                <a:gd name="T106" fmla="*/ 78 w 693"/>
                <a:gd name="T107" fmla="*/ 341 h 527"/>
                <a:gd name="T108" fmla="*/ 88 w 693"/>
                <a:gd name="T109" fmla="*/ 380 h 527"/>
                <a:gd name="T110" fmla="*/ 127 w 693"/>
                <a:gd name="T111" fmla="*/ 410 h 527"/>
                <a:gd name="T112" fmla="*/ 146 w 693"/>
                <a:gd name="T113" fmla="*/ 419 h 527"/>
                <a:gd name="T114" fmla="*/ 166 w 693"/>
                <a:gd name="T115" fmla="*/ 468 h 527"/>
                <a:gd name="T116" fmla="*/ 195 w 693"/>
                <a:gd name="T117" fmla="*/ 468 h 527"/>
                <a:gd name="T118" fmla="*/ 205 w 693"/>
                <a:gd name="T119" fmla="*/ 478 h 527"/>
                <a:gd name="T120" fmla="*/ 234 w 693"/>
                <a:gd name="T121" fmla="*/ 517 h 527"/>
                <a:gd name="T122" fmla="*/ 254 w 693"/>
                <a:gd name="T123" fmla="*/ 517 h 52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93"/>
                <a:gd name="T187" fmla="*/ 0 h 527"/>
                <a:gd name="T188" fmla="*/ 693 w 693"/>
                <a:gd name="T189" fmla="*/ 527 h 52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93" h="527">
                  <a:moveTo>
                    <a:pt x="263" y="517"/>
                  </a:moveTo>
                  <a:lnTo>
                    <a:pt x="263" y="517"/>
                  </a:lnTo>
                  <a:lnTo>
                    <a:pt x="263" y="497"/>
                  </a:lnTo>
                  <a:lnTo>
                    <a:pt x="283" y="497"/>
                  </a:lnTo>
                  <a:lnTo>
                    <a:pt x="293" y="488"/>
                  </a:lnTo>
                  <a:lnTo>
                    <a:pt x="293" y="468"/>
                  </a:lnTo>
                  <a:lnTo>
                    <a:pt x="293" y="458"/>
                  </a:lnTo>
                  <a:lnTo>
                    <a:pt x="312" y="449"/>
                  </a:lnTo>
                  <a:lnTo>
                    <a:pt x="322" y="449"/>
                  </a:lnTo>
                  <a:lnTo>
                    <a:pt x="322" y="429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32" y="419"/>
                  </a:lnTo>
                  <a:lnTo>
                    <a:pt x="342" y="410"/>
                  </a:lnTo>
                  <a:lnTo>
                    <a:pt x="361" y="410"/>
                  </a:lnTo>
                  <a:lnTo>
                    <a:pt x="361" y="400"/>
                  </a:lnTo>
                  <a:lnTo>
                    <a:pt x="361" y="390"/>
                  </a:lnTo>
                  <a:lnTo>
                    <a:pt x="381" y="410"/>
                  </a:lnTo>
                  <a:lnTo>
                    <a:pt x="400" y="390"/>
                  </a:lnTo>
                  <a:lnTo>
                    <a:pt x="410" y="380"/>
                  </a:lnTo>
                  <a:lnTo>
                    <a:pt x="410" y="371"/>
                  </a:lnTo>
                  <a:lnTo>
                    <a:pt x="400" y="332"/>
                  </a:lnTo>
                  <a:lnTo>
                    <a:pt x="390" y="312"/>
                  </a:lnTo>
                  <a:lnTo>
                    <a:pt x="361" y="312"/>
                  </a:lnTo>
                  <a:lnTo>
                    <a:pt x="351" y="293"/>
                  </a:lnTo>
                  <a:lnTo>
                    <a:pt x="361" y="293"/>
                  </a:lnTo>
                  <a:lnTo>
                    <a:pt x="381" y="293"/>
                  </a:lnTo>
                  <a:lnTo>
                    <a:pt x="390" y="293"/>
                  </a:lnTo>
                  <a:lnTo>
                    <a:pt x="390" y="283"/>
                  </a:lnTo>
                  <a:lnTo>
                    <a:pt x="390" y="254"/>
                  </a:lnTo>
                  <a:lnTo>
                    <a:pt x="390" y="234"/>
                  </a:lnTo>
                  <a:lnTo>
                    <a:pt x="420" y="205"/>
                  </a:lnTo>
                  <a:lnTo>
                    <a:pt x="439" y="185"/>
                  </a:lnTo>
                  <a:lnTo>
                    <a:pt x="449" y="195"/>
                  </a:lnTo>
                  <a:lnTo>
                    <a:pt x="449" y="215"/>
                  </a:lnTo>
                  <a:lnTo>
                    <a:pt x="449" y="234"/>
                  </a:lnTo>
                  <a:lnTo>
                    <a:pt x="449" y="244"/>
                  </a:lnTo>
                  <a:lnTo>
                    <a:pt x="449" y="254"/>
                  </a:lnTo>
                  <a:lnTo>
                    <a:pt x="468" y="254"/>
                  </a:lnTo>
                  <a:lnTo>
                    <a:pt x="488" y="263"/>
                  </a:lnTo>
                  <a:lnTo>
                    <a:pt x="507" y="293"/>
                  </a:lnTo>
                  <a:lnTo>
                    <a:pt x="527" y="293"/>
                  </a:lnTo>
                  <a:lnTo>
                    <a:pt x="546" y="293"/>
                  </a:lnTo>
                  <a:lnTo>
                    <a:pt x="566" y="283"/>
                  </a:lnTo>
                  <a:lnTo>
                    <a:pt x="595" y="302"/>
                  </a:lnTo>
                  <a:lnTo>
                    <a:pt x="605" y="312"/>
                  </a:lnTo>
                  <a:lnTo>
                    <a:pt x="624" y="312"/>
                  </a:lnTo>
                  <a:lnTo>
                    <a:pt x="644" y="302"/>
                  </a:lnTo>
                  <a:lnTo>
                    <a:pt x="654" y="293"/>
                  </a:lnTo>
                  <a:lnTo>
                    <a:pt x="663" y="283"/>
                  </a:lnTo>
                  <a:lnTo>
                    <a:pt x="683" y="283"/>
                  </a:lnTo>
                  <a:lnTo>
                    <a:pt x="693" y="273"/>
                  </a:lnTo>
                  <a:lnTo>
                    <a:pt x="663" y="263"/>
                  </a:lnTo>
                  <a:lnTo>
                    <a:pt x="654" y="254"/>
                  </a:lnTo>
                  <a:lnTo>
                    <a:pt x="624" y="234"/>
                  </a:lnTo>
                  <a:lnTo>
                    <a:pt x="605" y="224"/>
                  </a:lnTo>
                  <a:lnTo>
                    <a:pt x="585" y="205"/>
                  </a:lnTo>
                  <a:lnTo>
                    <a:pt x="576" y="185"/>
                  </a:lnTo>
                  <a:lnTo>
                    <a:pt x="585" y="175"/>
                  </a:lnTo>
                  <a:lnTo>
                    <a:pt x="585" y="166"/>
                  </a:lnTo>
                  <a:lnTo>
                    <a:pt x="566" y="166"/>
                  </a:lnTo>
                  <a:lnTo>
                    <a:pt x="566" y="156"/>
                  </a:lnTo>
                  <a:lnTo>
                    <a:pt x="566" y="136"/>
                  </a:lnTo>
                  <a:lnTo>
                    <a:pt x="566" y="107"/>
                  </a:lnTo>
                  <a:lnTo>
                    <a:pt x="537" y="68"/>
                  </a:lnTo>
                  <a:lnTo>
                    <a:pt x="517" y="49"/>
                  </a:lnTo>
                  <a:lnTo>
                    <a:pt x="498" y="39"/>
                  </a:lnTo>
                  <a:lnTo>
                    <a:pt x="478" y="29"/>
                  </a:lnTo>
                  <a:lnTo>
                    <a:pt x="468" y="19"/>
                  </a:lnTo>
                  <a:lnTo>
                    <a:pt x="449" y="19"/>
                  </a:lnTo>
                  <a:lnTo>
                    <a:pt x="449" y="0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20" y="10"/>
                  </a:lnTo>
                  <a:lnTo>
                    <a:pt x="410" y="19"/>
                  </a:lnTo>
                  <a:lnTo>
                    <a:pt x="381" y="29"/>
                  </a:lnTo>
                  <a:lnTo>
                    <a:pt x="361" y="29"/>
                  </a:lnTo>
                  <a:lnTo>
                    <a:pt x="361" y="49"/>
                  </a:lnTo>
                  <a:lnTo>
                    <a:pt x="332" y="49"/>
                  </a:lnTo>
                  <a:lnTo>
                    <a:pt x="322" y="39"/>
                  </a:lnTo>
                  <a:lnTo>
                    <a:pt x="303" y="49"/>
                  </a:lnTo>
                  <a:lnTo>
                    <a:pt x="283" y="49"/>
                  </a:lnTo>
                  <a:lnTo>
                    <a:pt x="263" y="39"/>
                  </a:lnTo>
                  <a:lnTo>
                    <a:pt x="254" y="39"/>
                  </a:lnTo>
                  <a:lnTo>
                    <a:pt x="234" y="39"/>
                  </a:lnTo>
                  <a:lnTo>
                    <a:pt x="234" y="68"/>
                  </a:lnTo>
                  <a:lnTo>
                    <a:pt x="215" y="68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66" y="88"/>
                  </a:lnTo>
                  <a:lnTo>
                    <a:pt x="166" y="117"/>
                  </a:lnTo>
                  <a:lnTo>
                    <a:pt x="127" y="117"/>
                  </a:lnTo>
                  <a:lnTo>
                    <a:pt x="107" y="117"/>
                  </a:lnTo>
                  <a:lnTo>
                    <a:pt x="59" y="117"/>
                  </a:lnTo>
                  <a:lnTo>
                    <a:pt x="49" y="146"/>
                  </a:lnTo>
                  <a:lnTo>
                    <a:pt x="49" y="166"/>
                  </a:lnTo>
                  <a:lnTo>
                    <a:pt x="49" y="185"/>
                  </a:lnTo>
                  <a:lnTo>
                    <a:pt x="20" y="205"/>
                  </a:lnTo>
                  <a:lnTo>
                    <a:pt x="0" y="224"/>
                  </a:lnTo>
                  <a:lnTo>
                    <a:pt x="0" y="244"/>
                  </a:lnTo>
                  <a:lnTo>
                    <a:pt x="10" y="263"/>
                  </a:lnTo>
                  <a:lnTo>
                    <a:pt x="20" y="283"/>
                  </a:lnTo>
                  <a:lnTo>
                    <a:pt x="29" y="312"/>
                  </a:lnTo>
                  <a:lnTo>
                    <a:pt x="49" y="332"/>
                  </a:lnTo>
                  <a:lnTo>
                    <a:pt x="78" y="341"/>
                  </a:lnTo>
                  <a:lnTo>
                    <a:pt x="88" y="361"/>
                  </a:lnTo>
                  <a:lnTo>
                    <a:pt x="88" y="380"/>
                  </a:lnTo>
                  <a:lnTo>
                    <a:pt x="107" y="390"/>
                  </a:lnTo>
                  <a:lnTo>
                    <a:pt x="127" y="410"/>
                  </a:lnTo>
                  <a:lnTo>
                    <a:pt x="146" y="400"/>
                  </a:lnTo>
                  <a:lnTo>
                    <a:pt x="146" y="419"/>
                  </a:lnTo>
                  <a:lnTo>
                    <a:pt x="156" y="429"/>
                  </a:lnTo>
                  <a:lnTo>
                    <a:pt x="166" y="468"/>
                  </a:lnTo>
                  <a:lnTo>
                    <a:pt x="185" y="468"/>
                  </a:lnTo>
                  <a:lnTo>
                    <a:pt x="195" y="468"/>
                  </a:lnTo>
                  <a:lnTo>
                    <a:pt x="195" y="478"/>
                  </a:lnTo>
                  <a:lnTo>
                    <a:pt x="205" y="478"/>
                  </a:lnTo>
                  <a:lnTo>
                    <a:pt x="215" y="497"/>
                  </a:lnTo>
                  <a:lnTo>
                    <a:pt x="234" y="517"/>
                  </a:lnTo>
                  <a:lnTo>
                    <a:pt x="244" y="527"/>
                  </a:lnTo>
                  <a:lnTo>
                    <a:pt x="254" y="517"/>
                  </a:lnTo>
                  <a:lnTo>
                    <a:pt x="263" y="517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320"/>
            <p:cNvSpPr>
              <a:spLocks/>
            </p:cNvSpPr>
            <p:nvPr/>
          </p:nvSpPr>
          <p:spPr bwMode="auto">
            <a:xfrm>
              <a:off x="3413" y="2877"/>
              <a:ext cx="450" cy="618"/>
            </a:xfrm>
            <a:custGeom>
              <a:avLst/>
              <a:gdLst>
                <a:gd name="T0" fmla="*/ 166 w 449"/>
                <a:gd name="T1" fmla="*/ 195 h 615"/>
                <a:gd name="T2" fmla="*/ 146 w 449"/>
                <a:gd name="T3" fmla="*/ 127 h 615"/>
                <a:gd name="T4" fmla="*/ 117 w 449"/>
                <a:gd name="T5" fmla="*/ 108 h 615"/>
                <a:gd name="T6" fmla="*/ 146 w 449"/>
                <a:gd name="T7" fmla="*/ 98 h 615"/>
                <a:gd name="T8" fmla="*/ 176 w 449"/>
                <a:gd name="T9" fmla="*/ 20 h 615"/>
                <a:gd name="T10" fmla="*/ 205 w 449"/>
                <a:gd name="T11" fmla="*/ 30 h 615"/>
                <a:gd name="T12" fmla="*/ 205 w 449"/>
                <a:gd name="T13" fmla="*/ 69 h 615"/>
                <a:gd name="T14" fmla="*/ 273 w 449"/>
                <a:gd name="T15" fmla="*/ 108 h 615"/>
                <a:gd name="T16" fmla="*/ 322 w 449"/>
                <a:gd name="T17" fmla="*/ 98 h 615"/>
                <a:gd name="T18" fmla="*/ 380 w 449"/>
                <a:gd name="T19" fmla="*/ 127 h 615"/>
                <a:gd name="T20" fmla="*/ 419 w 449"/>
                <a:gd name="T21" fmla="*/ 98 h 615"/>
                <a:gd name="T22" fmla="*/ 449 w 449"/>
                <a:gd name="T23" fmla="*/ 108 h 615"/>
                <a:gd name="T24" fmla="*/ 419 w 449"/>
                <a:gd name="T25" fmla="*/ 127 h 615"/>
                <a:gd name="T26" fmla="*/ 419 w 449"/>
                <a:gd name="T27" fmla="*/ 147 h 615"/>
                <a:gd name="T28" fmla="*/ 449 w 449"/>
                <a:gd name="T29" fmla="*/ 186 h 615"/>
                <a:gd name="T30" fmla="*/ 419 w 449"/>
                <a:gd name="T31" fmla="*/ 225 h 615"/>
                <a:gd name="T32" fmla="*/ 429 w 449"/>
                <a:gd name="T33" fmla="*/ 293 h 615"/>
                <a:gd name="T34" fmla="*/ 410 w 449"/>
                <a:gd name="T35" fmla="*/ 332 h 615"/>
                <a:gd name="T36" fmla="*/ 410 w 449"/>
                <a:gd name="T37" fmla="*/ 371 h 615"/>
                <a:gd name="T38" fmla="*/ 390 w 449"/>
                <a:gd name="T39" fmla="*/ 381 h 615"/>
                <a:gd name="T40" fmla="*/ 341 w 449"/>
                <a:gd name="T41" fmla="*/ 381 h 615"/>
                <a:gd name="T42" fmla="*/ 322 w 449"/>
                <a:gd name="T43" fmla="*/ 410 h 615"/>
                <a:gd name="T44" fmla="*/ 302 w 449"/>
                <a:gd name="T45" fmla="*/ 430 h 615"/>
                <a:gd name="T46" fmla="*/ 302 w 449"/>
                <a:gd name="T47" fmla="*/ 488 h 615"/>
                <a:gd name="T48" fmla="*/ 322 w 449"/>
                <a:gd name="T49" fmla="*/ 527 h 615"/>
                <a:gd name="T50" fmla="*/ 293 w 449"/>
                <a:gd name="T51" fmla="*/ 547 h 615"/>
                <a:gd name="T52" fmla="*/ 283 w 449"/>
                <a:gd name="T53" fmla="*/ 586 h 615"/>
                <a:gd name="T54" fmla="*/ 254 w 449"/>
                <a:gd name="T55" fmla="*/ 605 h 615"/>
                <a:gd name="T56" fmla="*/ 195 w 449"/>
                <a:gd name="T57" fmla="*/ 605 h 615"/>
                <a:gd name="T58" fmla="*/ 166 w 449"/>
                <a:gd name="T59" fmla="*/ 615 h 615"/>
                <a:gd name="T60" fmla="*/ 137 w 449"/>
                <a:gd name="T61" fmla="*/ 595 h 615"/>
                <a:gd name="T62" fmla="*/ 107 w 449"/>
                <a:gd name="T63" fmla="*/ 595 h 615"/>
                <a:gd name="T64" fmla="*/ 127 w 449"/>
                <a:gd name="T65" fmla="*/ 556 h 615"/>
                <a:gd name="T66" fmla="*/ 156 w 449"/>
                <a:gd name="T67" fmla="*/ 547 h 615"/>
                <a:gd name="T68" fmla="*/ 127 w 449"/>
                <a:gd name="T69" fmla="*/ 547 h 615"/>
                <a:gd name="T70" fmla="*/ 107 w 449"/>
                <a:gd name="T71" fmla="*/ 517 h 615"/>
                <a:gd name="T72" fmla="*/ 88 w 449"/>
                <a:gd name="T73" fmla="*/ 527 h 615"/>
                <a:gd name="T74" fmla="*/ 78 w 449"/>
                <a:gd name="T75" fmla="*/ 508 h 615"/>
                <a:gd name="T76" fmla="*/ 78 w 449"/>
                <a:gd name="T77" fmla="*/ 478 h 615"/>
                <a:gd name="T78" fmla="*/ 68 w 449"/>
                <a:gd name="T79" fmla="*/ 488 h 615"/>
                <a:gd name="T80" fmla="*/ 49 w 449"/>
                <a:gd name="T81" fmla="*/ 478 h 615"/>
                <a:gd name="T82" fmla="*/ 19 w 449"/>
                <a:gd name="T83" fmla="*/ 478 h 615"/>
                <a:gd name="T84" fmla="*/ 0 w 449"/>
                <a:gd name="T85" fmla="*/ 469 h 615"/>
                <a:gd name="T86" fmla="*/ 19 w 449"/>
                <a:gd name="T87" fmla="*/ 430 h 615"/>
                <a:gd name="T88" fmla="*/ 29 w 449"/>
                <a:gd name="T89" fmla="*/ 400 h 615"/>
                <a:gd name="T90" fmla="*/ 39 w 449"/>
                <a:gd name="T91" fmla="*/ 351 h 615"/>
                <a:gd name="T92" fmla="*/ 29 w 449"/>
                <a:gd name="T93" fmla="*/ 312 h 615"/>
                <a:gd name="T94" fmla="*/ 49 w 449"/>
                <a:gd name="T95" fmla="*/ 293 h 615"/>
                <a:gd name="T96" fmla="*/ 78 w 449"/>
                <a:gd name="T97" fmla="*/ 273 h 615"/>
                <a:gd name="T98" fmla="*/ 88 w 449"/>
                <a:gd name="T99" fmla="*/ 254 h 615"/>
                <a:gd name="T100" fmla="*/ 98 w 449"/>
                <a:gd name="T101" fmla="*/ 234 h 615"/>
                <a:gd name="T102" fmla="*/ 117 w 449"/>
                <a:gd name="T103" fmla="*/ 215 h 615"/>
                <a:gd name="T104" fmla="*/ 137 w 449"/>
                <a:gd name="T105" fmla="*/ 225 h 6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49"/>
                <a:gd name="T160" fmla="*/ 0 h 615"/>
                <a:gd name="T161" fmla="*/ 449 w 449"/>
                <a:gd name="T162" fmla="*/ 615 h 6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49" h="615">
                  <a:moveTo>
                    <a:pt x="137" y="225"/>
                  </a:moveTo>
                  <a:lnTo>
                    <a:pt x="156" y="215"/>
                  </a:lnTo>
                  <a:lnTo>
                    <a:pt x="166" y="195"/>
                  </a:lnTo>
                  <a:lnTo>
                    <a:pt x="166" y="186"/>
                  </a:lnTo>
                  <a:lnTo>
                    <a:pt x="156" y="156"/>
                  </a:lnTo>
                  <a:lnTo>
                    <a:pt x="146" y="12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117" y="108"/>
                  </a:lnTo>
                  <a:lnTo>
                    <a:pt x="137" y="108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46" y="69"/>
                  </a:lnTo>
                  <a:lnTo>
                    <a:pt x="146" y="59"/>
                  </a:lnTo>
                  <a:lnTo>
                    <a:pt x="176" y="20"/>
                  </a:lnTo>
                  <a:lnTo>
                    <a:pt x="195" y="0"/>
                  </a:lnTo>
                  <a:lnTo>
                    <a:pt x="205" y="20"/>
                  </a:lnTo>
                  <a:lnTo>
                    <a:pt x="205" y="30"/>
                  </a:lnTo>
                  <a:lnTo>
                    <a:pt x="205" y="49"/>
                  </a:lnTo>
                  <a:lnTo>
                    <a:pt x="205" y="59"/>
                  </a:lnTo>
                  <a:lnTo>
                    <a:pt x="205" y="69"/>
                  </a:lnTo>
                  <a:lnTo>
                    <a:pt x="224" y="69"/>
                  </a:lnTo>
                  <a:lnTo>
                    <a:pt x="244" y="78"/>
                  </a:lnTo>
                  <a:lnTo>
                    <a:pt x="273" y="108"/>
                  </a:lnTo>
                  <a:lnTo>
                    <a:pt x="283" y="117"/>
                  </a:lnTo>
                  <a:lnTo>
                    <a:pt x="302" y="108"/>
                  </a:lnTo>
                  <a:lnTo>
                    <a:pt x="322" y="98"/>
                  </a:lnTo>
                  <a:lnTo>
                    <a:pt x="351" y="117"/>
                  </a:lnTo>
                  <a:lnTo>
                    <a:pt x="361" y="127"/>
                  </a:lnTo>
                  <a:lnTo>
                    <a:pt x="380" y="127"/>
                  </a:lnTo>
                  <a:lnTo>
                    <a:pt x="400" y="117"/>
                  </a:lnTo>
                  <a:lnTo>
                    <a:pt x="410" y="117"/>
                  </a:lnTo>
                  <a:lnTo>
                    <a:pt x="419" y="98"/>
                  </a:lnTo>
                  <a:lnTo>
                    <a:pt x="439" y="98"/>
                  </a:lnTo>
                  <a:lnTo>
                    <a:pt x="449" y="88"/>
                  </a:lnTo>
                  <a:lnTo>
                    <a:pt x="449" y="108"/>
                  </a:lnTo>
                  <a:lnTo>
                    <a:pt x="439" y="117"/>
                  </a:lnTo>
                  <a:lnTo>
                    <a:pt x="429" y="117"/>
                  </a:lnTo>
                  <a:lnTo>
                    <a:pt x="419" y="127"/>
                  </a:lnTo>
                  <a:lnTo>
                    <a:pt x="429" y="137"/>
                  </a:lnTo>
                  <a:lnTo>
                    <a:pt x="429" y="147"/>
                  </a:lnTo>
                  <a:lnTo>
                    <a:pt x="419" y="147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49" y="186"/>
                  </a:lnTo>
                  <a:lnTo>
                    <a:pt x="429" y="195"/>
                  </a:lnTo>
                  <a:lnTo>
                    <a:pt x="429" y="215"/>
                  </a:lnTo>
                  <a:lnTo>
                    <a:pt x="419" y="225"/>
                  </a:lnTo>
                  <a:lnTo>
                    <a:pt x="429" y="244"/>
                  </a:lnTo>
                  <a:lnTo>
                    <a:pt x="429" y="254"/>
                  </a:lnTo>
                  <a:lnTo>
                    <a:pt x="429" y="293"/>
                  </a:lnTo>
                  <a:lnTo>
                    <a:pt x="429" y="312"/>
                  </a:lnTo>
                  <a:lnTo>
                    <a:pt x="429" y="332"/>
                  </a:lnTo>
                  <a:lnTo>
                    <a:pt x="410" y="332"/>
                  </a:lnTo>
                  <a:lnTo>
                    <a:pt x="400" y="332"/>
                  </a:lnTo>
                  <a:lnTo>
                    <a:pt x="390" y="351"/>
                  </a:lnTo>
                  <a:lnTo>
                    <a:pt x="410" y="371"/>
                  </a:lnTo>
                  <a:lnTo>
                    <a:pt x="410" y="381"/>
                  </a:lnTo>
                  <a:lnTo>
                    <a:pt x="400" y="381"/>
                  </a:lnTo>
                  <a:lnTo>
                    <a:pt x="390" y="381"/>
                  </a:lnTo>
                  <a:lnTo>
                    <a:pt x="380" y="371"/>
                  </a:lnTo>
                  <a:lnTo>
                    <a:pt x="371" y="381"/>
                  </a:lnTo>
                  <a:lnTo>
                    <a:pt x="341" y="381"/>
                  </a:lnTo>
                  <a:lnTo>
                    <a:pt x="332" y="391"/>
                  </a:lnTo>
                  <a:lnTo>
                    <a:pt x="332" y="410"/>
                  </a:lnTo>
                  <a:lnTo>
                    <a:pt x="322" y="410"/>
                  </a:lnTo>
                  <a:lnTo>
                    <a:pt x="312" y="410"/>
                  </a:lnTo>
                  <a:lnTo>
                    <a:pt x="312" y="430"/>
                  </a:lnTo>
                  <a:lnTo>
                    <a:pt x="302" y="430"/>
                  </a:lnTo>
                  <a:lnTo>
                    <a:pt x="293" y="449"/>
                  </a:lnTo>
                  <a:lnTo>
                    <a:pt x="293" y="469"/>
                  </a:lnTo>
                  <a:lnTo>
                    <a:pt x="302" y="488"/>
                  </a:lnTo>
                  <a:lnTo>
                    <a:pt x="312" y="498"/>
                  </a:lnTo>
                  <a:lnTo>
                    <a:pt x="322" y="517"/>
                  </a:lnTo>
                  <a:lnTo>
                    <a:pt x="322" y="527"/>
                  </a:lnTo>
                  <a:lnTo>
                    <a:pt x="312" y="527"/>
                  </a:lnTo>
                  <a:lnTo>
                    <a:pt x="302" y="527"/>
                  </a:lnTo>
                  <a:lnTo>
                    <a:pt x="293" y="547"/>
                  </a:lnTo>
                  <a:lnTo>
                    <a:pt x="293" y="566"/>
                  </a:lnTo>
                  <a:lnTo>
                    <a:pt x="283" y="576"/>
                  </a:lnTo>
                  <a:lnTo>
                    <a:pt x="283" y="586"/>
                  </a:lnTo>
                  <a:lnTo>
                    <a:pt x="273" y="586"/>
                  </a:lnTo>
                  <a:lnTo>
                    <a:pt x="273" y="595"/>
                  </a:lnTo>
                  <a:lnTo>
                    <a:pt x="254" y="605"/>
                  </a:lnTo>
                  <a:lnTo>
                    <a:pt x="244" y="605"/>
                  </a:lnTo>
                  <a:lnTo>
                    <a:pt x="215" y="605"/>
                  </a:lnTo>
                  <a:lnTo>
                    <a:pt x="195" y="605"/>
                  </a:lnTo>
                  <a:lnTo>
                    <a:pt x="185" y="605"/>
                  </a:lnTo>
                  <a:lnTo>
                    <a:pt x="185" y="615"/>
                  </a:lnTo>
                  <a:lnTo>
                    <a:pt x="166" y="615"/>
                  </a:lnTo>
                  <a:lnTo>
                    <a:pt x="166" y="605"/>
                  </a:lnTo>
                  <a:lnTo>
                    <a:pt x="156" y="605"/>
                  </a:lnTo>
                  <a:lnTo>
                    <a:pt x="137" y="595"/>
                  </a:lnTo>
                  <a:lnTo>
                    <a:pt x="127" y="595"/>
                  </a:lnTo>
                  <a:lnTo>
                    <a:pt x="117" y="595"/>
                  </a:lnTo>
                  <a:lnTo>
                    <a:pt x="107" y="595"/>
                  </a:lnTo>
                  <a:lnTo>
                    <a:pt x="107" y="576"/>
                  </a:lnTo>
                  <a:lnTo>
                    <a:pt x="107" y="566"/>
                  </a:lnTo>
                  <a:lnTo>
                    <a:pt x="127" y="556"/>
                  </a:lnTo>
                  <a:lnTo>
                    <a:pt x="137" y="556"/>
                  </a:lnTo>
                  <a:lnTo>
                    <a:pt x="156" y="556"/>
                  </a:lnTo>
                  <a:lnTo>
                    <a:pt x="156" y="547"/>
                  </a:lnTo>
                  <a:lnTo>
                    <a:pt x="146" y="547"/>
                  </a:lnTo>
                  <a:lnTo>
                    <a:pt x="137" y="547"/>
                  </a:lnTo>
                  <a:lnTo>
                    <a:pt x="127" y="547"/>
                  </a:lnTo>
                  <a:lnTo>
                    <a:pt x="117" y="537"/>
                  </a:lnTo>
                  <a:lnTo>
                    <a:pt x="107" y="527"/>
                  </a:lnTo>
                  <a:lnTo>
                    <a:pt x="107" y="517"/>
                  </a:lnTo>
                  <a:lnTo>
                    <a:pt x="98" y="508"/>
                  </a:lnTo>
                  <a:lnTo>
                    <a:pt x="88" y="517"/>
                  </a:lnTo>
                  <a:lnTo>
                    <a:pt x="88" y="527"/>
                  </a:lnTo>
                  <a:lnTo>
                    <a:pt x="78" y="517"/>
                  </a:lnTo>
                  <a:lnTo>
                    <a:pt x="68" y="517"/>
                  </a:lnTo>
                  <a:lnTo>
                    <a:pt x="78" y="508"/>
                  </a:lnTo>
                  <a:lnTo>
                    <a:pt x="78" y="498"/>
                  </a:lnTo>
                  <a:lnTo>
                    <a:pt x="78" y="488"/>
                  </a:lnTo>
                  <a:lnTo>
                    <a:pt x="78" y="478"/>
                  </a:lnTo>
                  <a:lnTo>
                    <a:pt x="68" y="478"/>
                  </a:lnTo>
                  <a:lnTo>
                    <a:pt x="68" y="488"/>
                  </a:lnTo>
                  <a:lnTo>
                    <a:pt x="59" y="488"/>
                  </a:lnTo>
                  <a:lnTo>
                    <a:pt x="49" y="478"/>
                  </a:lnTo>
                  <a:lnTo>
                    <a:pt x="39" y="478"/>
                  </a:lnTo>
                  <a:lnTo>
                    <a:pt x="29" y="488"/>
                  </a:lnTo>
                  <a:lnTo>
                    <a:pt x="19" y="478"/>
                  </a:lnTo>
                  <a:lnTo>
                    <a:pt x="19" y="469"/>
                  </a:lnTo>
                  <a:lnTo>
                    <a:pt x="10" y="469"/>
                  </a:lnTo>
                  <a:lnTo>
                    <a:pt x="0" y="469"/>
                  </a:lnTo>
                  <a:lnTo>
                    <a:pt x="0" y="459"/>
                  </a:lnTo>
                  <a:lnTo>
                    <a:pt x="10" y="439"/>
                  </a:lnTo>
                  <a:lnTo>
                    <a:pt x="19" y="430"/>
                  </a:lnTo>
                  <a:lnTo>
                    <a:pt x="19" y="420"/>
                  </a:lnTo>
                  <a:lnTo>
                    <a:pt x="39" y="410"/>
                  </a:lnTo>
                  <a:lnTo>
                    <a:pt x="29" y="400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39" y="351"/>
                  </a:lnTo>
                  <a:lnTo>
                    <a:pt x="39" y="332"/>
                  </a:lnTo>
                  <a:lnTo>
                    <a:pt x="19" y="332"/>
                  </a:lnTo>
                  <a:lnTo>
                    <a:pt x="29" y="312"/>
                  </a:lnTo>
                  <a:lnTo>
                    <a:pt x="39" y="312"/>
                  </a:lnTo>
                  <a:lnTo>
                    <a:pt x="49" y="303"/>
                  </a:lnTo>
                  <a:lnTo>
                    <a:pt x="49" y="293"/>
                  </a:lnTo>
                  <a:lnTo>
                    <a:pt x="49" y="273"/>
                  </a:lnTo>
                  <a:lnTo>
                    <a:pt x="68" y="273"/>
                  </a:lnTo>
                  <a:lnTo>
                    <a:pt x="78" y="273"/>
                  </a:lnTo>
                  <a:lnTo>
                    <a:pt x="78" y="264"/>
                  </a:lnTo>
                  <a:lnTo>
                    <a:pt x="78" y="254"/>
                  </a:lnTo>
                  <a:lnTo>
                    <a:pt x="88" y="254"/>
                  </a:lnTo>
                  <a:lnTo>
                    <a:pt x="98" y="254"/>
                  </a:lnTo>
                  <a:lnTo>
                    <a:pt x="98" y="244"/>
                  </a:lnTo>
                  <a:lnTo>
                    <a:pt x="98" y="234"/>
                  </a:lnTo>
                  <a:lnTo>
                    <a:pt x="117" y="225"/>
                  </a:lnTo>
                  <a:lnTo>
                    <a:pt x="117" y="215"/>
                  </a:lnTo>
                  <a:lnTo>
                    <a:pt x="127" y="205"/>
                  </a:lnTo>
                  <a:lnTo>
                    <a:pt x="137" y="225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319"/>
            <p:cNvSpPr>
              <a:spLocks/>
            </p:cNvSpPr>
            <p:nvPr/>
          </p:nvSpPr>
          <p:spPr bwMode="auto">
            <a:xfrm>
              <a:off x="3834" y="2771"/>
              <a:ext cx="849" cy="675"/>
            </a:xfrm>
            <a:custGeom>
              <a:avLst/>
              <a:gdLst>
                <a:gd name="T0" fmla="*/ 576 w 849"/>
                <a:gd name="T1" fmla="*/ 644 h 673"/>
                <a:gd name="T2" fmla="*/ 615 w 849"/>
                <a:gd name="T3" fmla="*/ 624 h 673"/>
                <a:gd name="T4" fmla="*/ 664 w 849"/>
                <a:gd name="T5" fmla="*/ 634 h 673"/>
                <a:gd name="T6" fmla="*/ 712 w 849"/>
                <a:gd name="T7" fmla="*/ 634 h 673"/>
                <a:gd name="T8" fmla="*/ 761 w 849"/>
                <a:gd name="T9" fmla="*/ 615 h 673"/>
                <a:gd name="T10" fmla="*/ 781 w 849"/>
                <a:gd name="T11" fmla="*/ 605 h 673"/>
                <a:gd name="T12" fmla="*/ 781 w 849"/>
                <a:gd name="T13" fmla="*/ 576 h 673"/>
                <a:gd name="T14" fmla="*/ 800 w 849"/>
                <a:gd name="T15" fmla="*/ 566 h 673"/>
                <a:gd name="T16" fmla="*/ 820 w 849"/>
                <a:gd name="T17" fmla="*/ 546 h 673"/>
                <a:gd name="T18" fmla="*/ 839 w 849"/>
                <a:gd name="T19" fmla="*/ 498 h 673"/>
                <a:gd name="T20" fmla="*/ 791 w 849"/>
                <a:gd name="T21" fmla="*/ 458 h 673"/>
                <a:gd name="T22" fmla="*/ 771 w 849"/>
                <a:gd name="T23" fmla="*/ 410 h 673"/>
                <a:gd name="T24" fmla="*/ 830 w 849"/>
                <a:gd name="T25" fmla="*/ 380 h 673"/>
                <a:gd name="T26" fmla="*/ 820 w 849"/>
                <a:gd name="T27" fmla="*/ 341 h 673"/>
                <a:gd name="T28" fmla="*/ 791 w 849"/>
                <a:gd name="T29" fmla="*/ 341 h 673"/>
                <a:gd name="T30" fmla="*/ 751 w 849"/>
                <a:gd name="T31" fmla="*/ 273 h 673"/>
                <a:gd name="T32" fmla="*/ 732 w 849"/>
                <a:gd name="T33" fmla="*/ 244 h 673"/>
                <a:gd name="T34" fmla="*/ 654 w 849"/>
                <a:gd name="T35" fmla="*/ 244 h 673"/>
                <a:gd name="T36" fmla="*/ 615 w 849"/>
                <a:gd name="T37" fmla="*/ 205 h 673"/>
                <a:gd name="T38" fmla="*/ 634 w 849"/>
                <a:gd name="T39" fmla="*/ 166 h 673"/>
                <a:gd name="T40" fmla="*/ 634 w 849"/>
                <a:gd name="T41" fmla="*/ 127 h 673"/>
                <a:gd name="T42" fmla="*/ 595 w 849"/>
                <a:gd name="T43" fmla="*/ 107 h 673"/>
                <a:gd name="T44" fmla="*/ 547 w 849"/>
                <a:gd name="T45" fmla="*/ 97 h 673"/>
                <a:gd name="T46" fmla="*/ 517 w 849"/>
                <a:gd name="T47" fmla="*/ 117 h 673"/>
                <a:gd name="T48" fmla="*/ 469 w 849"/>
                <a:gd name="T49" fmla="*/ 107 h 673"/>
                <a:gd name="T50" fmla="*/ 430 w 849"/>
                <a:gd name="T51" fmla="*/ 88 h 673"/>
                <a:gd name="T52" fmla="*/ 410 w 849"/>
                <a:gd name="T53" fmla="*/ 68 h 673"/>
                <a:gd name="T54" fmla="*/ 371 w 849"/>
                <a:gd name="T55" fmla="*/ 68 h 673"/>
                <a:gd name="T56" fmla="*/ 293 w 849"/>
                <a:gd name="T57" fmla="*/ 29 h 673"/>
                <a:gd name="T58" fmla="*/ 264 w 849"/>
                <a:gd name="T59" fmla="*/ 10 h 673"/>
                <a:gd name="T60" fmla="*/ 235 w 849"/>
                <a:gd name="T61" fmla="*/ 0 h 673"/>
                <a:gd name="T62" fmla="*/ 205 w 849"/>
                <a:gd name="T63" fmla="*/ 29 h 673"/>
                <a:gd name="T64" fmla="*/ 176 w 849"/>
                <a:gd name="T65" fmla="*/ 68 h 673"/>
                <a:gd name="T66" fmla="*/ 156 w 849"/>
                <a:gd name="T67" fmla="*/ 117 h 673"/>
                <a:gd name="T68" fmla="*/ 108 w 849"/>
                <a:gd name="T69" fmla="*/ 137 h 673"/>
                <a:gd name="T70" fmla="*/ 78 w 849"/>
                <a:gd name="T71" fmla="*/ 176 h 673"/>
                <a:gd name="T72" fmla="*/ 30 w 849"/>
                <a:gd name="T73" fmla="*/ 215 h 673"/>
                <a:gd name="T74" fmla="*/ 10 w 849"/>
                <a:gd name="T75" fmla="*/ 234 h 673"/>
                <a:gd name="T76" fmla="*/ 0 w 849"/>
                <a:gd name="T77" fmla="*/ 254 h 673"/>
                <a:gd name="T78" fmla="*/ 30 w 849"/>
                <a:gd name="T79" fmla="*/ 293 h 673"/>
                <a:gd name="T80" fmla="*/ 10 w 849"/>
                <a:gd name="T81" fmla="*/ 332 h 673"/>
                <a:gd name="T82" fmla="*/ 30 w 849"/>
                <a:gd name="T83" fmla="*/ 371 h 673"/>
                <a:gd name="T84" fmla="*/ 88 w 849"/>
                <a:gd name="T85" fmla="*/ 400 h 673"/>
                <a:gd name="T86" fmla="*/ 156 w 849"/>
                <a:gd name="T87" fmla="*/ 429 h 673"/>
                <a:gd name="T88" fmla="*/ 215 w 849"/>
                <a:gd name="T89" fmla="*/ 478 h 673"/>
                <a:gd name="T90" fmla="*/ 254 w 849"/>
                <a:gd name="T91" fmla="*/ 527 h 673"/>
                <a:gd name="T92" fmla="*/ 313 w 849"/>
                <a:gd name="T93" fmla="*/ 527 h 673"/>
                <a:gd name="T94" fmla="*/ 332 w 849"/>
                <a:gd name="T95" fmla="*/ 576 h 673"/>
                <a:gd name="T96" fmla="*/ 381 w 849"/>
                <a:gd name="T97" fmla="*/ 585 h 673"/>
                <a:gd name="T98" fmla="*/ 410 w 849"/>
                <a:gd name="T99" fmla="*/ 576 h 673"/>
                <a:gd name="T100" fmla="*/ 420 w 849"/>
                <a:gd name="T101" fmla="*/ 605 h 673"/>
                <a:gd name="T102" fmla="*/ 420 w 849"/>
                <a:gd name="T103" fmla="*/ 654 h 673"/>
                <a:gd name="T104" fmla="*/ 430 w 849"/>
                <a:gd name="T105" fmla="*/ 673 h 673"/>
                <a:gd name="T106" fmla="*/ 459 w 849"/>
                <a:gd name="T107" fmla="*/ 654 h 673"/>
                <a:gd name="T108" fmla="*/ 508 w 849"/>
                <a:gd name="T109" fmla="*/ 654 h 67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9"/>
                <a:gd name="T166" fmla="*/ 0 h 673"/>
                <a:gd name="T167" fmla="*/ 849 w 849"/>
                <a:gd name="T168" fmla="*/ 673 h 67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9" h="673">
                  <a:moveTo>
                    <a:pt x="537" y="644"/>
                  </a:moveTo>
                  <a:lnTo>
                    <a:pt x="566" y="654"/>
                  </a:lnTo>
                  <a:lnTo>
                    <a:pt x="576" y="644"/>
                  </a:lnTo>
                  <a:lnTo>
                    <a:pt x="576" y="634"/>
                  </a:lnTo>
                  <a:lnTo>
                    <a:pt x="595" y="624"/>
                  </a:lnTo>
                  <a:lnTo>
                    <a:pt x="615" y="624"/>
                  </a:lnTo>
                  <a:lnTo>
                    <a:pt x="634" y="624"/>
                  </a:lnTo>
                  <a:lnTo>
                    <a:pt x="664" y="634"/>
                  </a:lnTo>
                  <a:lnTo>
                    <a:pt x="683" y="634"/>
                  </a:lnTo>
                  <a:lnTo>
                    <a:pt x="703" y="624"/>
                  </a:lnTo>
                  <a:lnTo>
                    <a:pt x="712" y="634"/>
                  </a:lnTo>
                  <a:lnTo>
                    <a:pt x="732" y="624"/>
                  </a:lnTo>
                  <a:lnTo>
                    <a:pt x="751" y="624"/>
                  </a:lnTo>
                  <a:lnTo>
                    <a:pt x="761" y="615"/>
                  </a:lnTo>
                  <a:lnTo>
                    <a:pt x="771" y="624"/>
                  </a:lnTo>
                  <a:lnTo>
                    <a:pt x="781" y="634"/>
                  </a:lnTo>
                  <a:lnTo>
                    <a:pt x="781" y="605"/>
                  </a:lnTo>
                  <a:lnTo>
                    <a:pt x="791" y="585"/>
                  </a:lnTo>
                  <a:lnTo>
                    <a:pt x="781" y="576"/>
                  </a:lnTo>
                  <a:lnTo>
                    <a:pt x="791" y="566"/>
                  </a:lnTo>
                  <a:lnTo>
                    <a:pt x="800" y="576"/>
                  </a:lnTo>
                  <a:lnTo>
                    <a:pt x="800" y="566"/>
                  </a:lnTo>
                  <a:lnTo>
                    <a:pt x="810" y="546"/>
                  </a:lnTo>
                  <a:lnTo>
                    <a:pt x="820" y="546"/>
                  </a:lnTo>
                  <a:lnTo>
                    <a:pt x="830" y="537"/>
                  </a:lnTo>
                  <a:lnTo>
                    <a:pt x="849" y="517"/>
                  </a:lnTo>
                  <a:lnTo>
                    <a:pt x="839" y="498"/>
                  </a:lnTo>
                  <a:lnTo>
                    <a:pt x="820" y="478"/>
                  </a:lnTo>
                  <a:lnTo>
                    <a:pt x="810" y="468"/>
                  </a:lnTo>
                  <a:lnTo>
                    <a:pt x="791" y="458"/>
                  </a:lnTo>
                  <a:lnTo>
                    <a:pt x="781" y="458"/>
                  </a:lnTo>
                  <a:lnTo>
                    <a:pt x="771" y="449"/>
                  </a:lnTo>
                  <a:lnTo>
                    <a:pt x="771" y="410"/>
                  </a:lnTo>
                  <a:lnTo>
                    <a:pt x="791" y="400"/>
                  </a:lnTo>
                  <a:lnTo>
                    <a:pt x="810" y="390"/>
                  </a:lnTo>
                  <a:lnTo>
                    <a:pt x="830" y="380"/>
                  </a:lnTo>
                  <a:lnTo>
                    <a:pt x="830" y="371"/>
                  </a:lnTo>
                  <a:lnTo>
                    <a:pt x="820" y="351"/>
                  </a:lnTo>
                  <a:lnTo>
                    <a:pt x="820" y="341"/>
                  </a:lnTo>
                  <a:lnTo>
                    <a:pt x="810" y="332"/>
                  </a:lnTo>
                  <a:lnTo>
                    <a:pt x="800" y="341"/>
                  </a:lnTo>
                  <a:lnTo>
                    <a:pt x="791" y="341"/>
                  </a:lnTo>
                  <a:lnTo>
                    <a:pt x="781" y="293"/>
                  </a:lnTo>
                  <a:lnTo>
                    <a:pt x="761" y="273"/>
                  </a:lnTo>
                  <a:lnTo>
                    <a:pt x="751" y="273"/>
                  </a:lnTo>
                  <a:lnTo>
                    <a:pt x="751" y="263"/>
                  </a:lnTo>
                  <a:lnTo>
                    <a:pt x="751" y="254"/>
                  </a:lnTo>
                  <a:lnTo>
                    <a:pt x="732" y="244"/>
                  </a:lnTo>
                  <a:lnTo>
                    <a:pt x="703" y="244"/>
                  </a:lnTo>
                  <a:lnTo>
                    <a:pt x="673" y="234"/>
                  </a:lnTo>
                  <a:lnTo>
                    <a:pt x="654" y="244"/>
                  </a:lnTo>
                  <a:lnTo>
                    <a:pt x="644" y="244"/>
                  </a:lnTo>
                  <a:lnTo>
                    <a:pt x="615" y="224"/>
                  </a:lnTo>
                  <a:lnTo>
                    <a:pt x="615" y="205"/>
                  </a:lnTo>
                  <a:lnTo>
                    <a:pt x="634" y="195"/>
                  </a:lnTo>
                  <a:lnTo>
                    <a:pt x="634" y="185"/>
                  </a:lnTo>
                  <a:lnTo>
                    <a:pt x="634" y="166"/>
                  </a:lnTo>
                  <a:lnTo>
                    <a:pt x="634" y="146"/>
                  </a:lnTo>
                  <a:lnTo>
                    <a:pt x="625" y="137"/>
                  </a:lnTo>
                  <a:lnTo>
                    <a:pt x="634" y="127"/>
                  </a:lnTo>
                  <a:lnTo>
                    <a:pt x="615" y="117"/>
                  </a:lnTo>
                  <a:lnTo>
                    <a:pt x="595" y="107"/>
                  </a:lnTo>
                  <a:lnTo>
                    <a:pt x="586" y="97"/>
                  </a:lnTo>
                  <a:lnTo>
                    <a:pt x="566" y="88"/>
                  </a:lnTo>
                  <a:lnTo>
                    <a:pt x="547" y="97"/>
                  </a:lnTo>
                  <a:lnTo>
                    <a:pt x="527" y="97"/>
                  </a:lnTo>
                  <a:lnTo>
                    <a:pt x="517" y="107"/>
                  </a:lnTo>
                  <a:lnTo>
                    <a:pt x="517" y="117"/>
                  </a:lnTo>
                  <a:lnTo>
                    <a:pt x="498" y="117"/>
                  </a:lnTo>
                  <a:lnTo>
                    <a:pt x="478" y="117"/>
                  </a:lnTo>
                  <a:lnTo>
                    <a:pt x="469" y="107"/>
                  </a:lnTo>
                  <a:lnTo>
                    <a:pt x="459" y="97"/>
                  </a:lnTo>
                  <a:lnTo>
                    <a:pt x="439" y="97"/>
                  </a:lnTo>
                  <a:lnTo>
                    <a:pt x="430" y="88"/>
                  </a:lnTo>
                  <a:lnTo>
                    <a:pt x="430" y="68"/>
                  </a:lnTo>
                  <a:lnTo>
                    <a:pt x="420" y="68"/>
                  </a:lnTo>
                  <a:lnTo>
                    <a:pt x="410" y="68"/>
                  </a:lnTo>
                  <a:lnTo>
                    <a:pt x="391" y="78"/>
                  </a:lnTo>
                  <a:lnTo>
                    <a:pt x="381" y="68"/>
                  </a:lnTo>
                  <a:lnTo>
                    <a:pt x="371" y="68"/>
                  </a:lnTo>
                  <a:lnTo>
                    <a:pt x="332" y="58"/>
                  </a:lnTo>
                  <a:lnTo>
                    <a:pt x="322" y="29"/>
                  </a:lnTo>
                  <a:lnTo>
                    <a:pt x="293" y="29"/>
                  </a:lnTo>
                  <a:lnTo>
                    <a:pt x="274" y="19"/>
                  </a:lnTo>
                  <a:lnTo>
                    <a:pt x="274" y="29"/>
                  </a:lnTo>
                  <a:lnTo>
                    <a:pt x="264" y="10"/>
                  </a:lnTo>
                  <a:lnTo>
                    <a:pt x="254" y="10"/>
                  </a:lnTo>
                  <a:lnTo>
                    <a:pt x="235" y="10"/>
                  </a:lnTo>
                  <a:lnTo>
                    <a:pt x="235" y="0"/>
                  </a:lnTo>
                  <a:lnTo>
                    <a:pt x="215" y="10"/>
                  </a:lnTo>
                  <a:lnTo>
                    <a:pt x="215" y="29"/>
                  </a:lnTo>
                  <a:lnTo>
                    <a:pt x="205" y="29"/>
                  </a:lnTo>
                  <a:lnTo>
                    <a:pt x="195" y="29"/>
                  </a:lnTo>
                  <a:lnTo>
                    <a:pt x="195" y="58"/>
                  </a:lnTo>
                  <a:lnTo>
                    <a:pt x="176" y="68"/>
                  </a:lnTo>
                  <a:lnTo>
                    <a:pt x="176" y="107"/>
                  </a:lnTo>
                  <a:lnTo>
                    <a:pt x="166" y="117"/>
                  </a:lnTo>
                  <a:lnTo>
                    <a:pt x="156" y="117"/>
                  </a:lnTo>
                  <a:lnTo>
                    <a:pt x="137" y="117"/>
                  </a:lnTo>
                  <a:lnTo>
                    <a:pt x="117" y="127"/>
                  </a:lnTo>
                  <a:lnTo>
                    <a:pt x="108" y="137"/>
                  </a:lnTo>
                  <a:lnTo>
                    <a:pt x="88" y="146"/>
                  </a:lnTo>
                  <a:lnTo>
                    <a:pt x="78" y="156"/>
                  </a:lnTo>
                  <a:lnTo>
                    <a:pt x="78" y="176"/>
                  </a:lnTo>
                  <a:lnTo>
                    <a:pt x="59" y="185"/>
                  </a:lnTo>
                  <a:lnTo>
                    <a:pt x="30" y="195"/>
                  </a:lnTo>
                  <a:lnTo>
                    <a:pt x="30" y="215"/>
                  </a:lnTo>
                  <a:lnTo>
                    <a:pt x="20" y="215"/>
                  </a:lnTo>
                  <a:lnTo>
                    <a:pt x="10" y="224"/>
                  </a:lnTo>
                  <a:lnTo>
                    <a:pt x="10" y="234"/>
                  </a:lnTo>
                  <a:lnTo>
                    <a:pt x="10" y="244"/>
                  </a:lnTo>
                  <a:lnTo>
                    <a:pt x="10" y="254"/>
                  </a:lnTo>
                  <a:lnTo>
                    <a:pt x="0" y="254"/>
                  </a:lnTo>
                  <a:lnTo>
                    <a:pt x="10" y="263"/>
                  </a:lnTo>
                  <a:lnTo>
                    <a:pt x="20" y="273"/>
                  </a:lnTo>
                  <a:lnTo>
                    <a:pt x="30" y="293"/>
                  </a:lnTo>
                  <a:lnTo>
                    <a:pt x="10" y="302"/>
                  </a:lnTo>
                  <a:lnTo>
                    <a:pt x="10" y="322"/>
                  </a:lnTo>
                  <a:lnTo>
                    <a:pt x="10" y="33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30" y="371"/>
                  </a:lnTo>
                  <a:lnTo>
                    <a:pt x="59" y="380"/>
                  </a:lnTo>
                  <a:lnTo>
                    <a:pt x="69" y="390"/>
                  </a:lnTo>
                  <a:lnTo>
                    <a:pt x="88" y="400"/>
                  </a:lnTo>
                  <a:lnTo>
                    <a:pt x="117" y="410"/>
                  </a:lnTo>
                  <a:lnTo>
                    <a:pt x="147" y="419"/>
                  </a:lnTo>
                  <a:lnTo>
                    <a:pt x="156" y="429"/>
                  </a:lnTo>
                  <a:lnTo>
                    <a:pt x="166" y="439"/>
                  </a:lnTo>
                  <a:lnTo>
                    <a:pt x="186" y="449"/>
                  </a:lnTo>
                  <a:lnTo>
                    <a:pt x="215" y="478"/>
                  </a:lnTo>
                  <a:lnTo>
                    <a:pt x="235" y="507"/>
                  </a:lnTo>
                  <a:lnTo>
                    <a:pt x="244" y="527"/>
                  </a:lnTo>
                  <a:lnTo>
                    <a:pt x="254" y="527"/>
                  </a:lnTo>
                  <a:lnTo>
                    <a:pt x="274" y="527"/>
                  </a:lnTo>
                  <a:lnTo>
                    <a:pt x="293" y="527"/>
                  </a:lnTo>
                  <a:lnTo>
                    <a:pt x="313" y="527"/>
                  </a:lnTo>
                  <a:lnTo>
                    <a:pt x="313" y="546"/>
                  </a:lnTo>
                  <a:lnTo>
                    <a:pt x="322" y="576"/>
                  </a:lnTo>
                  <a:lnTo>
                    <a:pt x="332" y="576"/>
                  </a:lnTo>
                  <a:lnTo>
                    <a:pt x="342" y="585"/>
                  </a:lnTo>
                  <a:lnTo>
                    <a:pt x="371" y="585"/>
                  </a:lnTo>
                  <a:lnTo>
                    <a:pt x="381" y="585"/>
                  </a:lnTo>
                  <a:lnTo>
                    <a:pt x="400" y="595"/>
                  </a:lnTo>
                  <a:lnTo>
                    <a:pt x="400" y="585"/>
                  </a:lnTo>
                  <a:lnTo>
                    <a:pt x="410" y="576"/>
                  </a:lnTo>
                  <a:lnTo>
                    <a:pt x="420" y="585"/>
                  </a:lnTo>
                  <a:lnTo>
                    <a:pt x="430" y="585"/>
                  </a:lnTo>
                  <a:lnTo>
                    <a:pt x="420" y="605"/>
                  </a:lnTo>
                  <a:lnTo>
                    <a:pt x="420" y="624"/>
                  </a:lnTo>
                  <a:lnTo>
                    <a:pt x="420" y="654"/>
                  </a:lnTo>
                  <a:lnTo>
                    <a:pt x="420" y="663"/>
                  </a:lnTo>
                  <a:lnTo>
                    <a:pt x="430" y="67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59" y="654"/>
                  </a:lnTo>
                  <a:lnTo>
                    <a:pt x="478" y="654"/>
                  </a:lnTo>
                  <a:lnTo>
                    <a:pt x="488" y="654"/>
                  </a:lnTo>
                  <a:lnTo>
                    <a:pt x="508" y="654"/>
                  </a:lnTo>
                  <a:lnTo>
                    <a:pt x="517" y="654"/>
                  </a:lnTo>
                  <a:lnTo>
                    <a:pt x="537" y="644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318"/>
            <p:cNvSpPr>
              <a:spLocks/>
            </p:cNvSpPr>
            <p:nvPr/>
          </p:nvSpPr>
          <p:spPr bwMode="auto">
            <a:xfrm>
              <a:off x="1650" y="1269"/>
              <a:ext cx="351" cy="331"/>
            </a:xfrm>
            <a:custGeom>
              <a:avLst/>
              <a:gdLst>
                <a:gd name="T0" fmla="*/ 342 w 352"/>
                <a:gd name="T1" fmla="*/ 225 h 332"/>
                <a:gd name="T2" fmla="*/ 332 w 352"/>
                <a:gd name="T3" fmla="*/ 244 h 332"/>
                <a:gd name="T4" fmla="*/ 342 w 352"/>
                <a:gd name="T5" fmla="*/ 264 h 332"/>
                <a:gd name="T6" fmla="*/ 352 w 352"/>
                <a:gd name="T7" fmla="*/ 303 h 332"/>
                <a:gd name="T8" fmla="*/ 313 w 352"/>
                <a:gd name="T9" fmla="*/ 322 h 332"/>
                <a:gd name="T10" fmla="*/ 274 w 352"/>
                <a:gd name="T11" fmla="*/ 283 h 332"/>
                <a:gd name="T12" fmla="*/ 244 w 352"/>
                <a:gd name="T13" fmla="*/ 274 h 332"/>
                <a:gd name="T14" fmla="*/ 225 w 352"/>
                <a:gd name="T15" fmla="*/ 225 h 332"/>
                <a:gd name="T16" fmla="*/ 205 w 352"/>
                <a:gd name="T17" fmla="*/ 225 h 332"/>
                <a:gd name="T18" fmla="*/ 186 w 352"/>
                <a:gd name="T19" fmla="*/ 235 h 332"/>
                <a:gd name="T20" fmla="*/ 147 w 352"/>
                <a:gd name="T21" fmla="*/ 235 h 332"/>
                <a:gd name="T22" fmla="*/ 127 w 352"/>
                <a:gd name="T23" fmla="*/ 225 h 332"/>
                <a:gd name="T24" fmla="*/ 88 w 352"/>
                <a:gd name="T25" fmla="*/ 215 h 332"/>
                <a:gd name="T26" fmla="*/ 88 w 352"/>
                <a:gd name="T27" fmla="*/ 205 h 332"/>
                <a:gd name="T28" fmla="*/ 49 w 352"/>
                <a:gd name="T29" fmla="*/ 186 h 332"/>
                <a:gd name="T30" fmla="*/ 30 w 352"/>
                <a:gd name="T31" fmla="*/ 186 h 332"/>
                <a:gd name="T32" fmla="*/ 20 w 352"/>
                <a:gd name="T33" fmla="*/ 166 h 332"/>
                <a:gd name="T34" fmla="*/ 0 w 352"/>
                <a:gd name="T35" fmla="*/ 147 h 332"/>
                <a:gd name="T36" fmla="*/ 20 w 352"/>
                <a:gd name="T37" fmla="*/ 127 h 332"/>
                <a:gd name="T38" fmla="*/ 30 w 352"/>
                <a:gd name="T39" fmla="*/ 108 h 332"/>
                <a:gd name="T40" fmla="*/ 59 w 352"/>
                <a:gd name="T41" fmla="*/ 98 h 332"/>
                <a:gd name="T42" fmla="*/ 88 w 352"/>
                <a:gd name="T43" fmla="*/ 59 h 332"/>
                <a:gd name="T44" fmla="*/ 78 w 352"/>
                <a:gd name="T45" fmla="*/ 10 h 332"/>
                <a:gd name="T46" fmla="*/ 98 w 352"/>
                <a:gd name="T47" fmla="*/ 10 h 332"/>
                <a:gd name="T48" fmla="*/ 118 w 352"/>
                <a:gd name="T49" fmla="*/ 0 h 332"/>
                <a:gd name="T50" fmla="*/ 147 w 352"/>
                <a:gd name="T51" fmla="*/ 10 h 332"/>
                <a:gd name="T52" fmla="*/ 166 w 352"/>
                <a:gd name="T53" fmla="*/ 10 h 332"/>
                <a:gd name="T54" fmla="*/ 176 w 352"/>
                <a:gd name="T55" fmla="*/ 30 h 332"/>
                <a:gd name="T56" fmla="*/ 205 w 352"/>
                <a:gd name="T57" fmla="*/ 20 h 332"/>
                <a:gd name="T58" fmla="*/ 225 w 352"/>
                <a:gd name="T59" fmla="*/ 49 h 332"/>
                <a:gd name="T60" fmla="*/ 274 w 352"/>
                <a:gd name="T61" fmla="*/ 49 h 332"/>
                <a:gd name="T62" fmla="*/ 293 w 352"/>
                <a:gd name="T63" fmla="*/ 69 h 332"/>
                <a:gd name="T64" fmla="*/ 274 w 352"/>
                <a:gd name="T65" fmla="*/ 98 h 332"/>
                <a:gd name="T66" fmla="*/ 303 w 352"/>
                <a:gd name="T67" fmla="*/ 108 h 332"/>
                <a:gd name="T68" fmla="*/ 332 w 352"/>
                <a:gd name="T69" fmla="*/ 127 h 332"/>
                <a:gd name="T70" fmla="*/ 322 w 352"/>
                <a:gd name="T71" fmla="*/ 156 h 332"/>
                <a:gd name="T72" fmla="*/ 342 w 352"/>
                <a:gd name="T73" fmla="*/ 156 h 332"/>
                <a:gd name="T74" fmla="*/ 332 w 352"/>
                <a:gd name="T75" fmla="*/ 186 h 332"/>
                <a:gd name="T76" fmla="*/ 342 w 352"/>
                <a:gd name="T77" fmla="*/ 215 h 33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52"/>
                <a:gd name="T118" fmla="*/ 0 h 332"/>
                <a:gd name="T119" fmla="*/ 352 w 352"/>
                <a:gd name="T120" fmla="*/ 332 h 33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52" h="332">
                  <a:moveTo>
                    <a:pt x="342" y="215"/>
                  </a:moveTo>
                  <a:lnTo>
                    <a:pt x="342" y="225"/>
                  </a:lnTo>
                  <a:lnTo>
                    <a:pt x="342" y="244"/>
                  </a:lnTo>
                  <a:lnTo>
                    <a:pt x="332" y="244"/>
                  </a:lnTo>
                  <a:lnTo>
                    <a:pt x="332" y="254"/>
                  </a:lnTo>
                  <a:lnTo>
                    <a:pt x="342" y="264"/>
                  </a:lnTo>
                  <a:lnTo>
                    <a:pt x="352" y="274"/>
                  </a:lnTo>
                  <a:lnTo>
                    <a:pt x="352" y="303"/>
                  </a:lnTo>
                  <a:lnTo>
                    <a:pt x="342" y="332"/>
                  </a:lnTo>
                  <a:lnTo>
                    <a:pt x="313" y="322"/>
                  </a:lnTo>
                  <a:lnTo>
                    <a:pt x="283" y="283"/>
                  </a:lnTo>
                  <a:lnTo>
                    <a:pt x="274" y="283"/>
                  </a:lnTo>
                  <a:lnTo>
                    <a:pt x="254" y="274"/>
                  </a:lnTo>
                  <a:lnTo>
                    <a:pt x="244" y="274"/>
                  </a:lnTo>
                  <a:lnTo>
                    <a:pt x="235" y="264"/>
                  </a:lnTo>
                  <a:lnTo>
                    <a:pt x="225" y="225"/>
                  </a:lnTo>
                  <a:lnTo>
                    <a:pt x="225" y="215"/>
                  </a:lnTo>
                  <a:lnTo>
                    <a:pt x="205" y="225"/>
                  </a:lnTo>
                  <a:lnTo>
                    <a:pt x="196" y="235"/>
                  </a:lnTo>
                  <a:lnTo>
                    <a:pt x="186" y="235"/>
                  </a:lnTo>
                  <a:lnTo>
                    <a:pt x="176" y="244"/>
                  </a:lnTo>
                  <a:lnTo>
                    <a:pt x="147" y="235"/>
                  </a:lnTo>
                  <a:lnTo>
                    <a:pt x="127" y="244"/>
                  </a:lnTo>
                  <a:lnTo>
                    <a:pt x="127" y="225"/>
                  </a:lnTo>
                  <a:lnTo>
                    <a:pt x="118" y="215"/>
                  </a:lnTo>
                  <a:lnTo>
                    <a:pt x="88" y="215"/>
                  </a:lnTo>
                  <a:lnTo>
                    <a:pt x="88" y="205"/>
                  </a:lnTo>
                  <a:lnTo>
                    <a:pt x="69" y="205"/>
                  </a:lnTo>
                  <a:lnTo>
                    <a:pt x="49" y="186"/>
                  </a:lnTo>
                  <a:lnTo>
                    <a:pt x="39" y="186"/>
                  </a:lnTo>
                  <a:lnTo>
                    <a:pt x="30" y="186"/>
                  </a:lnTo>
                  <a:lnTo>
                    <a:pt x="30" y="176"/>
                  </a:lnTo>
                  <a:lnTo>
                    <a:pt x="20" y="166"/>
                  </a:lnTo>
                  <a:lnTo>
                    <a:pt x="10" y="166"/>
                  </a:lnTo>
                  <a:lnTo>
                    <a:pt x="0" y="147"/>
                  </a:lnTo>
                  <a:lnTo>
                    <a:pt x="0" y="137"/>
                  </a:lnTo>
                  <a:lnTo>
                    <a:pt x="20" y="127"/>
                  </a:lnTo>
                  <a:lnTo>
                    <a:pt x="39" y="127"/>
                  </a:lnTo>
                  <a:lnTo>
                    <a:pt x="30" y="108"/>
                  </a:lnTo>
                  <a:lnTo>
                    <a:pt x="30" y="98"/>
                  </a:lnTo>
                  <a:lnTo>
                    <a:pt x="59" y="98"/>
                  </a:lnTo>
                  <a:lnTo>
                    <a:pt x="59" y="78"/>
                  </a:lnTo>
                  <a:lnTo>
                    <a:pt x="88" y="59"/>
                  </a:lnTo>
                  <a:lnTo>
                    <a:pt x="78" y="49"/>
                  </a:lnTo>
                  <a:lnTo>
                    <a:pt x="78" y="10"/>
                  </a:lnTo>
                  <a:lnTo>
                    <a:pt x="98" y="0"/>
                  </a:lnTo>
                  <a:lnTo>
                    <a:pt x="98" y="10"/>
                  </a:lnTo>
                  <a:lnTo>
                    <a:pt x="118" y="10"/>
                  </a:lnTo>
                  <a:lnTo>
                    <a:pt x="118" y="0"/>
                  </a:lnTo>
                  <a:lnTo>
                    <a:pt x="127" y="10"/>
                  </a:lnTo>
                  <a:lnTo>
                    <a:pt x="147" y="10"/>
                  </a:lnTo>
                  <a:lnTo>
                    <a:pt x="157" y="0"/>
                  </a:lnTo>
                  <a:lnTo>
                    <a:pt x="166" y="10"/>
                  </a:lnTo>
                  <a:lnTo>
                    <a:pt x="166" y="20"/>
                  </a:lnTo>
                  <a:lnTo>
                    <a:pt x="176" y="30"/>
                  </a:lnTo>
                  <a:lnTo>
                    <a:pt x="186" y="30"/>
                  </a:lnTo>
                  <a:lnTo>
                    <a:pt x="205" y="20"/>
                  </a:lnTo>
                  <a:lnTo>
                    <a:pt x="215" y="30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74" y="49"/>
                  </a:lnTo>
                  <a:lnTo>
                    <a:pt x="283" y="49"/>
                  </a:lnTo>
                  <a:lnTo>
                    <a:pt x="293" y="69"/>
                  </a:lnTo>
                  <a:lnTo>
                    <a:pt x="283" y="78"/>
                  </a:lnTo>
                  <a:lnTo>
                    <a:pt x="274" y="98"/>
                  </a:lnTo>
                  <a:lnTo>
                    <a:pt x="283" y="108"/>
                  </a:lnTo>
                  <a:lnTo>
                    <a:pt x="303" y="108"/>
                  </a:lnTo>
                  <a:lnTo>
                    <a:pt x="322" y="108"/>
                  </a:lnTo>
                  <a:lnTo>
                    <a:pt x="332" y="127"/>
                  </a:lnTo>
                  <a:lnTo>
                    <a:pt x="332" y="137"/>
                  </a:lnTo>
                  <a:lnTo>
                    <a:pt x="322" y="156"/>
                  </a:lnTo>
                  <a:lnTo>
                    <a:pt x="342" y="156"/>
                  </a:lnTo>
                  <a:lnTo>
                    <a:pt x="332" y="176"/>
                  </a:lnTo>
                  <a:lnTo>
                    <a:pt x="332" y="186"/>
                  </a:lnTo>
                  <a:lnTo>
                    <a:pt x="342" y="186"/>
                  </a:lnTo>
                  <a:lnTo>
                    <a:pt x="342" y="215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317"/>
            <p:cNvSpPr>
              <a:spLocks/>
            </p:cNvSpPr>
            <p:nvPr/>
          </p:nvSpPr>
          <p:spPr bwMode="auto">
            <a:xfrm>
              <a:off x="4310" y="3387"/>
              <a:ext cx="343" cy="503"/>
            </a:xfrm>
            <a:custGeom>
              <a:avLst/>
              <a:gdLst>
                <a:gd name="T0" fmla="*/ 20 w 342"/>
                <a:gd name="T1" fmla="*/ 253 h 507"/>
                <a:gd name="T2" fmla="*/ 49 w 342"/>
                <a:gd name="T3" fmla="*/ 263 h 507"/>
                <a:gd name="T4" fmla="*/ 69 w 342"/>
                <a:gd name="T5" fmla="*/ 283 h 507"/>
                <a:gd name="T6" fmla="*/ 88 w 342"/>
                <a:gd name="T7" fmla="*/ 322 h 507"/>
                <a:gd name="T8" fmla="*/ 117 w 342"/>
                <a:gd name="T9" fmla="*/ 341 h 507"/>
                <a:gd name="T10" fmla="*/ 117 w 342"/>
                <a:gd name="T11" fmla="*/ 361 h 507"/>
                <a:gd name="T12" fmla="*/ 98 w 342"/>
                <a:gd name="T13" fmla="*/ 370 h 507"/>
                <a:gd name="T14" fmla="*/ 98 w 342"/>
                <a:gd name="T15" fmla="*/ 390 h 507"/>
                <a:gd name="T16" fmla="*/ 98 w 342"/>
                <a:gd name="T17" fmla="*/ 419 h 507"/>
                <a:gd name="T18" fmla="*/ 108 w 342"/>
                <a:gd name="T19" fmla="*/ 448 h 507"/>
                <a:gd name="T20" fmla="*/ 137 w 342"/>
                <a:gd name="T21" fmla="*/ 487 h 507"/>
                <a:gd name="T22" fmla="*/ 166 w 342"/>
                <a:gd name="T23" fmla="*/ 478 h 507"/>
                <a:gd name="T24" fmla="*/ 195 w 342"/>
                <a:gd name="T25" fmla="*/ 507 h 507"/>
                <a:gd name="T26" fmla="*/ 215 w 342"/>
                <a:gd name="T27" fmla="*/ 507 h 507"/>
                <a:gd name="T28" fmla="*/ 234 w 342"/>
                <a:gd name="T29" fmla="*/ 478 h 507"/>
                <a:gd name="T30" fmla="*/ 264 w 342"/>
                <a:gd name="T31" fmla="*/ 458 h 507"/>
                <a:gd name="T32" fmla="*/ 244 w 342"/>
                <a:gd name="T33" fmla="*/ 439 h 507"/>
                <a:gd name="T34" fmla="*/ 234 w 342"/>
                <a:gd name="T35" fmla="*/ 419 h 507"/>
                <a:gd name="T36" fmla="*/ 254 w 342"/>
                <a:gd name="T37" fmla="*/ 419 h 507"/>
                <a:gd name="T38" fmla="*/ 254 w 342"/>
                <a:gd name="T39" fmla="*/ 390 h 507"/>
                <a:gd name="T40" fmla="*/ 244 w 342"/>
                <a:gd name="T41" fmla="*/ 380 h 507"/>
                <a:gd name="T42" fmla="*/ 264 w 342"/>
                <a:gd name="T43" fmla="*/ 351 h 507"/>
                <a:gd name="T44" fmla="*/ 283 w 342"/>
                <a:gd name="T45" fmla="*/ 322 h 507"/>
                <a:gd name="T46" fmla="*/ 283 w 342"/>
                <a:gd name="T47" fmla="*/ 312 h 507"/>
                <a:gd name="T48" fmla="*/ 283 w 342"/>
                <a:gd name="T49" fmla="*/ 292 h 507"/>
                <a:gd name="T50" fmla="*/ 273 w 342"/>
                <a:gd name="T51" fmla="*/ 283 h 507"/>
                <a:gd name="T52" fmla="*/ 254 w 342"/>
                <a:gd name="T53" fmla="*/ 283 h 507"/>
                <a:gd name="T54" fmla="*/ 244 w 342"/>
                <a:gd name="T55" fmla="*/ 283 h 507"/>
                <a:gd name="T56" fmla="*/ 264 w 342"/>
                <a:gd name="T57" fmla="*/ 253 h 507"/>
                <a:gd name="T58" fmla="*/ 273 w 342"/>
                <a:gd name="T59" fmla="*/ 224 h 507"/>
                <a:gd name="T60" fmla="*/ 264 w 342"/>
                <a:gd name="T61" fmla="*/ 175 h 507"/>
                <a:gd name="T62" fmla="*/ 283 w 342"/>
                <a:gd name="T63" fmla="*/ 165 h 507"/>
                <a:gd name="T64" fmla="*/ 313 w 342"/>
                <a:gd name="T65" fmla="*/ 136 h 507"/>
                <a:gd name="T66" fmla="*/ 342 w 342"/>
                <a:gd name="T67" fmla="*/ 126 h 507"/>
                <a:gd name="T68" fmla="*/ 342 w 342"/>
                <a:gd name="T69" fmla="*/ 107 h 507"/>
                <a:gd name="T70" fmla="*/ 342 w 342"/>
                <a:gd name="T71" fmla="*/ 87 h 507"/>
                <a:gd name="T72" fmla="*/ 313 w 342"/>
                <a:gd name="T73" fmla="*/ 68 h 507"/>
                <a:gd name="T74" fmla="*/ 303 w 342"/>
                <a:gd name="T75" fmla="*/ 39 h 507"/>
                <a:gd name="T76" fmla="*/ 303 w 342"/>
                <a:gd name="T77" fmla="*/ 19 h 507"/>
                <a:gd name="T78" fmla="*/ 283 w 342"/>
                <a:gd name="T79" fmla="*/ 0 h 507"/>
                <a:gd name="T80" fmla="*/ 254 w 342"/>
                <a:gd name="T81" fmla="*/ 19 h 507"/>
                <a:gd name="T82" fmla="*/ 225 w 342"/>
                <a:gd name="T83" fmla="*/ 9 h 507"/>
                <a:gd name="T84" fmla="*/ 176 w 342"/>
                <a:gd name="T85" fmla="*/ 19 h 507"/>
                <a:gd name="T86" fmla="*/ 137 w 342"/>
                <a:gd name="T87" fmla="*/ 9 h 507"/>
                <a:gd name="T88" fmla="*/ 117 w 342"/>
                <a:gd name="T89" fmla="*/ 19 h 507"/>
                <a:gd name="T90" fmla="*/ 98 w 342"/>
                <a:gd name="T91" fmla="*/ 29 h 507"/>
                <a:gd name="T92" fmla="*/ 59 w 342"/>
                <a:gd name="T93" fmla="*/ 39 h 507"/>
                <a:gd name="T94" fmla="*/ 30 w 342"/>
                <a:gd name="T95" fmla="*/ 39 h 507"/>
                <a:gd name="T96" fmla="*/ 10 w 342"/>
                <a:gd name="T97" fmla="*/ 58 h 507"/>
                <a:gd name="T98" fmla="*/ 20 w 342"/>
                <a:gd name="T99" fmla="*/ 78 h 507"/>
                <a:gd name="T100" fmla="*/ 20 w 342"/>
                <a:gd name="T101" fmla="*/ 97 h 507"/>
                <a:gd name="T102" fmla="*/ 10 w 342"/>
                <a:gd name="T103" fmla="*/ 107 h 507"/>
                <a:gd name="T104" fmla="*/ 20 w 342"/>
                <a:gd name="T105" fmla="*/ 136 h 507"/>
                <a:gd name="T106" fmla="*/ 10 w 342"/>
                <a:gd name="T107" fmla="*/ 156 h 507"/>
                <a:gd name="T108" fmla="*/ 20 w 342"/>
                <a:gd name="T109" fmla="*/ 175 h 507"/>
                <a:gd name="T110" fmla="*/ 10 w 342"/>
                <a:gd name="T111" fmla="*/ 185 h 507"/>
                <a:gd name="T112" fmla="*/ 0 w 342"/>
                <a:gd name="T113" fmla="*/ 204 h 507"/>
                <a:gd name="T114" fmla="*/ 20 w 342"/>
                <a:gd name="T115" fmla="*/ 234 h 5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507"/>
                <a:gd name="T176" fmla="*/ 342 w 342"/>
                <a:gd name="T177" fmla="*/ 507 h 5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507">
                  <a:moveTo>
                    <a:pt x="20" y="234"/>
                  </a:moveTo>
                  <a:lnTo>
                    <a:pt x="20" y="253"/>
                  </a:lnTo>
                  <a:lnTo>
                    <a:pt x="39" y="253"/>
                  </a:lnTo>
                  <a:lnTo>
                    <a:pt x="49" y="263"/>
                  </a:lnTo>
                  <a:lnTo>
                    <a:pt x="59" y="283"/>
                  </a:lnTo>
                  <a:lnTo>
                    <a:pt x="69" y="283"/>
                  </a:lnTo>
                  <a:lnTo>
                    <a:pt x="69" y="302"/>
                  </a:lnTo>
                  <a:lnTo>
                    <a:pt x="88" y="322"/>
                  </a:lnTo>
                  <a:lnTo>
                    <a:pt x="98" y="341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08" y="370"/>
                  </a:lnTo>
                  <a:lnTo>
                    <a:pt x="98" y="370"/>
                  </a:lnTo>
                  <a:lnTo>
                    <a:pt x="88" y="380"/>
                  </a:lnTo>
                  <a:lnTo>
                    <a:pt x="98" y="390"/>
                  </a:lnTo>
                  <a:lnTo>
                    <a:pt x="108" y="400"/>
                  </a:lnTo>
                  <a:lnTo>
                    <a:pt x="98" y="419"/>
                  </a:lnTo>
                  <a:lnTo>
                    <a:pt x="98" y="439"/>
                  </a:lnTo>
                  <a:lnTo>
                    <a:pt x="108" y="448"/>
                  </a:lnTo>
                  <a:lnTo>
                    <a:pt x="117" y="468"/>
                  </a:lnTo>
                  <a:lnTo>
                    <a:pt x="137" y="487"/>
                  </a:lnTo>
                  <a:lnTo>
                    <a:pt x="147" y="478"/>
                  </a:lnTo>
                  <a:lnTo>
                    <a:pt x="166" y="478"/>
                  </a:lnTo>
                  <a:lnTo>
                    <a:pt x="186" y="487"/>
                  </a:lnTo>
                  <a:lnTo>
                    <a:pt x="195" y="507"/>
                  </a:lnTo>
                  <a:lnTo>
                    <a:pt x="205" y="507"/>
                  </a:lnTo>
                  <a:lnTo>
                    <a:pt x="215" y="507"/>
                  </a:lnTo>
                  <a:lnTo>
                    <a:pt x="225" y="487"/>
                  </a:lnTo>
                  <a:lnTo>
                    <a:pt x="234" y="478"/>
                  </a:lnTo>
                  <a:lnTo>
                    <a:pt x="244" y="468"/>
                  </a:lnTo>
                  <a:lnTo>
                    <a:pt x="264" y="458"/>
                  </a:lnTo>
                  <a:lnTo>
                    <a:pt x="264" y="448"/>
                  </a:lnTo>
                  <a:lnTo>
                    <a:pt x="244" y="439"/>
                  </a:lnTo>
                  <a:lnTo>
                    <a:pt x="244" y="429"/>
                  </a:lnTo>
                  <a:lnTo>
                    <a:pt x="234" y="419"/>
                  </a:lnTo>
                  <a:lnTo>
                    <a:pt x="244" y="419"/>
                  </a:lnTo>
                  <a:lnTo>
                    <a:pt x="254" y="419"/>
                  </a:lnTo>
                  <a:lnTo>
                    <a:pt x="254" y="409"/>
                  </a:lnTo>
                  <a:lnTo>
                    <a:pt x="254" y="390"/>
                  </a:lnTo>
                  <a:lnTo>
                    <a:pt x="254" y="380"/>
                  </a:lnTo>
                  <a:lnTo>
                    <a:pt x="244" y="380"/>
                  </a:lnTo>
                  <a:lnTo>
                    <a:pt x="244" y="361"/>
                  </a:lnTo>
                  <a:lnTo>
                    <a:pt x="264" y="351"/>
                  </a:lnTo>
                  <a:lnTo>
                    <a:pt x="273" y="351"/>
                  </a:lnTo>
                  <a:lnTo>
                    <a:pt x="283" y="322"/>
                  </a:lnTo>
                  <a:lnTo>
                    <a:pt x="273" y="322"/>
                  </a:lnTo>
                  <a:lnTo>
                    <a:pt x="283" y="312"/>
                  </a:lnTo>
                  <a:lnTo>
                    <a:pt x="283" y="302"/>
                  </a:lnTo>
                  <a:lnTo>
                    <a:pt x="283" y="292"/>
                  </a:lnTo>
                  <a:lnTo>
                    <a:pt x="273" y="292"/>
                  </a:lnTo>
                  <a:lnTo>
                    <a:pt x="273" y="283"/>
                  </a:lnTo>
                  <a:lnTo>
                    <a:pt x="264" y="263"/>
                  </a:lnTo>
                  <a:lnTo>
                    <a:pt x="254" y="283"/>
                  </a:lnTo>
                  <a:lnTo>
                    <a:pt x="244" y="283"/>
                  </a:lnTo>
                  <a:lnTo>
                    <a:pt x="244" y="273"/>
                  </a:lnTo>
                  <a:lnTo>
                    <a:pt x="264" y="253"/>
                  </a:lnTo>
                  <a:lnTo>
                    <a:pt x="264" y="244"/>
                  </a:lnTo>
                  <a:lnTo>
                    <a:pt x="273" y="224"/>
                  </a:lnTo>
                  <a:lnTo>
                    <a:pt x="264" y="185"/>
                  </a:lnTo>
                  <a:lnTo>
                    <a:pt x="264" y="175"/>
                  </a:lnTo>
                  <a:lnTo>
                    <a:pt x="273" y="175"/>
                  </a:lnTo>
                  <a:lnTo>
                    <a:pt x="283" y="165"/>
                  </a:lnTo>
                  <a:lnTo>
                    <a:pt x="293" y="156"/>
                  </a:lnTo>
                  <a:lnTo>
                    <a:pt x="313" y="136"/>
                  </a:lnTo>
                  <a:lnTo>
                    <a:pt x="322" y="126"/>
                  </a:lnTo>
                  <a:lnTo>
                    <a:pt x="342" y="126"/>
                  </a:lnTo>
                  <a:lnTo>
                    <a:pt x="342" y="117"/>
                  </a:lnTo>
                  <a:lnTo>
                    <a:pt x="342" y="107"/>
                  </a:lnTo>
                  <a:lnTo>
                    <a:pt x="342" y="97"/>
                  </a:lnTo>
                  <a:lnTo>
                    <a:pt x="342" y="87"/>
                  </a:lnTo>
                  <a:lnTo>
                    <a:pt x="332" y="78"/>
                  </a:lnTo>
                  <a:lnTo>
                    <a:pt x="313" y="68"/>
                  </a:lnTo>
                  <a:lnTo>
                    <a:pt x="303" y="58"/>
                  </a:lnTo>
                  <a:lnTo>
                    <a:pt x="303" y="39"/>
                  </a:lnTo>
                  <a:lnTo>
                    <a:pt x="303" y="29"/>
                  </a:lnTo>
                  <a:lnTo>
                    <a:pt x="303" y="19"/>
                  </a:lnTo>
                  <a:lnTo>
                    <a:pt x="293" y="9"/>
                  </a:lnTo>
                  <a:lnTo>
                    <a:pt x="283" y="0"/>
                  </a:lnTo>
                  <a:lnTo>
                    <a:pt x="273" y="9"/>
                  </a:lnTo>
                  <a:lnTo>
                    <a:pt x="254" y="19"/>
                  </a:lnTo>
                  <a:lnTo>
                    <a:pt x="234" y="19"/>
                  </a:lnTo>
                  <a:lnTo>
                    <a:pt x="225" y="9"/>
                  </a:lnTo>
                  <a:lnTo>
                    <a:pt x="205" y="19"/>
                  </a:lnTo>
                  <a:lnTo>
                    <a:pt x="176" y="1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19"/>
                  </a:lnTo>
                  <a:lnTo>
                    <a:pt x="117" y="19"/>
                  </a:lnTo>
                  <a:lnTo>
                    <a:pt x="98" y="19"/>
                  </a:lnTo>
                  <a:lnTo>
                    <a:pt x="98" y="29"/>
                  </a:lnTo>
                  <a:lnTo>
                    <a:pt x="88" y="39"/>
                  </a:lnTo>
                  <a:lnTo>
                    <a:pt x="59" y="39"/>
                  </a:lnTo>
                  <a:lnTo>
                    <a:pt x="39" y="39"/>
                  </a:lnTo>
                  <a:lnTo>
                    <a:pt x="30" y="39"/>
                  </a:lnTo>
                  <a:lnTo>
                    <a:pt x="10" y="39"/>
                  </a:lnTo>
                  <a:lnTo>
                    <a:pt x="10" y="58"/>
                  </a:lnTo>
                  <a:lnTo>
                    <a:pt x="10" y="68"/>
                  </a:lnTo>
                  <a:lnTo>
                    <a:pt x="20" y="78"/>
                  </a:lnTo>
                  <a:lnTo>
                    <a:pt x="30" y="87"/>
                  </a:lnTo>
                  <a:lnTo>
                    <a:pt x="20" y="97"/>
                  </a:lnTo>
                  <a:lnTo>
                    <a:pt x="10" y="97"/>
                  </a:lnTo>
                  <a:lnTo>
                    <a:pt x="10" y="107"/>
                  </a:lnTo>
                  <a:lnTo>
                    <a:pt x="30" y="117"/>
                  </a:lnTo>
                  <a:lnTo>
                    <a:pt x="20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10" y="165"/>
                  </a:lnTo>
                  <a:lnTo>
                    <a:pt x="20" y="175"/>
                  </a:lnTo>
                  <a:lnTo>
                    <a:pt x="20" y="185"/>
                  </a:lnTo>
                  <a:lnTo>
                    <a:pt x="10" y="185"/>
                  </a:lnTo>
                  <a:lnTo>
                    <a:pt x="10" y="195"/>
                  </a:lnTo>
                  <a:lnTo>
                    <a:pt x="0" y="204"/>
                  </a:lnTo>
                  <a:lnTo>
                    <a:pt x="10" y="224"/>
                  </a:lnTo>
                  <a:lnTo>
                    <a:pt x="20" y="234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316"/>
            <p:cNvSpPr>
              <a:spLocks/>
            </p:cNvSpPr>
            <p:nvPr/>
          </p:nvSpPr>
          <p:spPr bwMode="auto">
            <a:xfrm>
              <a:off x="4506" y="3796"/>
              <a:ext cx="800" cy="458"/>
            </a:xfrm>
            <a:custGeom>
              <a:avLst/>
              <a:gdLst>
                <a:gd name="T0" fmla="*/ 20 w 800"/>
                <a:gd name="T1" fmla="*/ 215 h 459"/>
                <a:gd name="T2" fmla="*/ 30 w 800"/>
                <a:gd name="T3" fmla="*/ 264 h 459"/>
                <a:gd name="T4" fmla="*/ 69 w 800"/>
                <a:gd name="T5" fmla="*/ 332 h 459"/>
                <a:gd name="T6" fmla="*/ 39 w 800"/>
                <a:gd name="T7" fmla="*/ 322 h 459"/>
                <a:gd name="T8" fmla="*/ 20 w 800"/>
                <a:gd name="T9" fmla="*/ 342 h 459"/>
                <a:gd name="T10" fmla="*/ 39 w 800"/>
                <a:gd name="T11" fmla="*/ 361 h 459"/>
                <a:gd name="T12" fmla="*/ 49 w 800"/>
                <a:gd name="T13" fmla="*/ 381 h 459"/>
                <a:gd name="T14" fmla="*/ 98 w 800"/>
                <a:gd name="T15" fmla="*/ 371 h 459"/>
                <a:gd name="T16" fmla="*/ 147 w 800"/>
                <a:gd name="T17" fmla="*/ 352 h 459"/>
                <a:gd name="T18" fmla="*/ 176 w 800"/>
                <a:gd name="T19" fmla="*/ 352 h 459"/>
                <a:gd name="T20" fmla="*/ 215 w 800"/>
                <a:gd name="T21" fmla="*/ 322 h 459"/>
                <a:gd name="T22" fmla="*/ 264 w 800"/>
                <a:gd name="T23" fmla="*/ 322 h 459"/>
                <a:gd name="T24" fmla="*/ 293 w 800"/>
                <a:gd name="T25" fmla="*/ 322 h 459"/>
                <a:gd name="T26" fmla="*/ 313 w 800"/>
                <a:gd name="T27" fmla="*/ 332 h 459"/>
                <a:gd name="T28" fmla="*/ 322 w 800"/>
                <a:gd name="T29" fmla="*/ 342 h 459"/>
                <a:gd name="T30" fmla="*/ 381 w 800"/>
                <a:gd name="T31" fmla="*/ 352 h 459"/>
                <a:gd name="T32" fmla="*/ 430 w 800"/>
                <a:gd name="T33" fmla="*/ 361 h 459"/>
                <a:gd name="T34" fmla="*/ 469 w 800"/>
                <a:gd name="T35" fmla="*/ 420 h 459"/>
                <a:gd name="T36" fmla="*/ 517 w 800"/>
                <a:gd name="T37" fmla="*/ 439 h 459"/>
                <a:gd name="T38" fmla="*/ 556 w 800"/>
                <a:gd name="T39" fmla="*/ 430 h 459"/>
                <a:gd name="T40" fmla="*/ 586 w 800"/>
                <a:gd name="T41" fmla="*/ 449 h 459"/>
                <a:gd name="T42" fmla="*/ 625 w 800"/>
                <a:gd name="T43" fmla="*/ 439 h 459"/>
                <a:gd name="T44" fmla="*/ 664 w 800"/>
                <a:gd name="T45" fmla="*/ 459 h 459"/>
                <a:gd name="T46" fmla="*/ 713 w 800"/>
                <a:gd name="T47" fmla="*/ 439 h 459"/>
                <a:gd name="T48" fmla="*/ 742 w 800"/>
                <a:gd name="T49" fmla="*/ 400 h 459"/>
                <a:gd name="T50" fmla="*/ 732 w 800"/>
                <a:gd name="T51" fmla="*/ 361 h 459"/>
                <a:gd name="T52" fmla="*/ 713 w 800"/>
                <a:gd name="T53" fmla="*/ 313 h 459"/>
                <a:gd name="T54" fmla="*/ 713 w 800"/>
                <a:gd name="T55" fmla="*/ 264 h 459"/>
                <a:gd name="T56" fmla="*/ 752 w 800"/>
                <a:gd name="T57" fmla="*/ 235 h 459"/>
                <a:gd name="T58" fmla="*/ 791 w 800"/>
                <a:gd name="T59" fmla="*/ 186 h 459"/>
                <a:gd name="T60" fmla="*/ 791 w 800"/>
                <a:gd name="T61" fmla="*/ 137 h 459"/>
                <a:gd name="T62" fmla="*/ 771 w 800"/>
                <a:gd name="T63" fmla="*/ 98 h 459"/>
                <a:gd name="T64" fmla="*/ 791 w 800"/>
                <a:gd name="T65" fmla="*/ 78 h 459"/>
                <a:gd name="T66" fmla="*/ 752 w 800"/>
                <a:gd name="T67" fmla="*/ 78 h 459"/>
                <a:gd name="T68" fmla="*/ 722 w 800"/>
                <a:gd name="T69" fmla="*/ 69 h 459"/>
                <a:gd name="T70" fmla="*/ 674 w 800"/>
                <a:gd name="T71" fmla="*/ 30 h 459"/>
                <a:gd name="T72" fmla="*/ 634 w 800"/>
                <a:gd name="T73" fmla="*/ 10 h 459"/>
                <a:gd name="T74" fmla="*/ 605 w 800"/>
                <a:gd name="T75" fmla="*/ 30 h 459"/>
                <a:gd name="T76" fmla="*/ 566 w 800"/>
                <a:gd name="T77" fmla="*/ 39 h 459"/>
                <a:gd name="T78" fmla="*/ 517 w 800"/>
                <a:gd name="T79" fmla="*/ 39 h 459"/>
                <a:gd name="T80" fmla="*/ 478 w 800"/>
                <a:gd name="T81" fmla="*/ 39 h 459"/>
                <a:gd name="T82" fmla="*/ 459 w 800"/>
                <a:gd name="T83" fmla="*/ 88 h 459"/>
                <a:gd name="T84" fmla="*/ 400 w 800"/>
                <a:gd name="T85" fmla="*/ 127 h 459"/>
                <a:gd name="T86" fmla="*/ 361 w 800"/>
                <a:gd name="T87" fmla="*/ 166 h 459"/>
                <a:gd name="T88" fmla="*/ 303 w 800"/>
                <a:gd name="T89" fmla="*/ 196 h 459"/>
                <a:gd name="T90" fmla="*/ 235 w 800"/>
                <a:gd name="T91" fmla="*/ 186 h 459"/>
                <a:gd name="T92" fmla="*/ 166 w 800"/>
                <a:gd name="T93" fmla="*/ 166 h 459"/>
                <a:gd name="T94" fmla="*/ 127 w 800"/>
                <a:gd name="T95" fmla="*/ 137 h 459"/>
                <a:gd name="T96" fmla="*/ 108 w 800"/>
                <a:gd name="T97" fmla="*/ 166 h 459"/>
                <a:gd name="T98" fmla="*/ 49 w 800"/>
                <a:gd name="T99" fmla="*/ 176 h 459"/>
                <a:gd name="T100" fmla="*/ 10 w 800"/>
                <a:gd name="T101" fmla="*/ 166 h 459"/>
                <a:gd name="T102" fmla="*/ 10 w 800"/>
                <a:gd name="T103" fmla="*/ 196 h 45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00"/>
                <a:gd name="T157" fmla="*/ 0 h 459"/>
                <a:gd name="T158" fmla="*/ 800 w 800"/>
                <a:gd name="T159" fmla="*/ 459 h 45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00" h="459">
                  <a:moveTo>
                    <a:pt x="10" y="196"/>
                  </a:moveTo>
                  <a:lnTo>
                    <a:pt x="10" y="205"/>
                  </a:lnTo>
                  <a:lnTo>
                    <a:pt x="20" y="215"/>
                  </a:lnTo>
                  <a:lnTo>
                    <a:pt x="10" y="235"/>
                  </a:lnTo>
                  <a:lnTo>
                    <a:pt x="10" y="254"/>
                  </a:lnTo>
                  <a:lnTo>
                    <a:pt x="30" y="264"/>
                  </a:lnTo>
                  <a:lnTo>
                    <a:pt x="49" y="283"/>
                  </a:lnTo>
                  <a:lnTo>
                    <a:pt x="69" y="313"/>
                  </a:lnTo>
                  <a:lnTo>
                    <a:pt x="69" y="332"/>
                  </a:lnTo>
                  <a:lnTo>
                    <a:pt x="59" y="332"/>
                  </a:lnTo>
                  <a:lnTo>
                    <a:pt x="49" y="322"/>
                  </a:lnTo>
                  <a:lnTo>
                    <a:pt x="39" y="322"/>
                  </a:lnTo>
                  <a:lnTo>
                    <a:pt x="39" y="332"/>
                  </a:lnTo>
                  <a:lnTo>
                    <a:pt x="20" y="342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39" y="371"/>
                  </a:lnTo>
                  <a:lnTo>
                    <a:pt x="39" y="381"/>
                  </a:lnTo>
                  <a:lnTo>
                    <a:pt x="49" y="381"/>
                  </a:lnTo>
                  <a:lnTo>
                    <a:pt x="69" y="381"/>
                  </a:lnTo>
                  <a:lnTo>
                    <a:pt x="88" y="381"/>
                  </a:lnTo>
                  <a:lnTo>
                    <a:pt x="98" y="371"/>
                  </a:lnTo>
                  <a:lnTo>
                    <a:pt x="118" y="361"/>
                  </a:lnTo>
                  <a:lnTo>
                    <a:pt x="127" y="361"/>
                  </a:lnTo>
                  <a:lnTo>
                    <a:pt x="147" y="352"/>
                  </a:lnTo>
                  <a:lnTo>
                    <a:pt x="157" y="342"/>
                  </a:lnTo>
                  <a:lnTo>
                    <a:pt x="166" y="342"/>
                  </a:lnTo>
                  <a:lnTo>
                    <a:pt x="176" y="352"/>
                  </a:lnTo>
                  <a:lnTo>
                    <a:pt x="196" y="342"/>
                  </a:lnTo>
                  <a:lnTo>
                    <a:pt x="205" y="332"/>
                  </a:lnTo>
                  <a:lnTo>
                    <a:pt x="215" y="322"/>
                  </a:lnTo>
                  <a:lnTo>
                    <a:pt x="235" y="322"/>
                  </a:lnTo>
                  <a:lnTo>
                    <a:pt x="254" y="322"/>
                  </a:lnTo>
                  <a:lnTo>
                    <a:pt x="264" y="322"/>
                  </a:lnTo>
                  <a:lnTo>
                    <a:pt x="274" y="313"/>
                  </a:lnTo>
                  <a:lnTo>
                    <a:pt x="283" y="313"/>
                  </a:lnTo>
                  <a:lnTo>
                    <a:pt x="293" y="322"/>
                  </a:lnTo>
                  <a:lnTo>
                    <a:pt x="313" y="313"/>
                  </a:lnTo>
                  <a:lnTo>
                    <a:pt x="313" y="322"/>
                  </a:lnTo>
                  <a:lnTo>
                    <a:pt x="313" y="332"/>
                  </a:lnTo>
                  <a:lnTo>
                    <a:pt x="303" y="342"/>
                  </a:lnTo>
                  <a:lnTo>
                    <a:pt x="313" y="342"/>
                  </a:lnTo>
                  <a:lnTo>
                    <a:pt x="322" y="342"/>
                  </a:lnTo>
                  <a:lnTo>
                    <a:pt x="332" y="352"/>
                  </a:lnTo>
                  <a:lnTo>
                    <a:pt x="361" y="352"/>
                  </a:lnTo>
                  <a:lnTo>
                    <a:pt x="381" y="352"/>
                  </a:lnTo>
                  <a:lnTo>
                    <a:pt x="400" y="361"/>
                  </a:lnTo>
                  <a:lnTo>
                    <a:pt x="420" y="361"/>
                  </a:lnTo>
                  <a:lnTo>
                    <a:pt x="430" y="361"/>
                  </a:lnTo>
                  <a:lnTo>
                    <a:pt x="430" y="381"/>
                  </a:lnTo>
                  <a:lnTo>
                    <a:pt x="449" y="410"/>
                  </a:lnTo>
                  <a:lnTo>
                    <a:pt x="469" y="420"/>
                  </a:lnTo>
                  <a:lnTo>
                    <a:pt x="478" y="420"/>
                  </a:lnTo>
                  <a:lnTo>
                    <a:pt x="498" y="430"/>
                  </a:lnTo>
                  <a:lnTo>
                    <a:pt x="517" y="439"/>
                  </a:lnTo>
                  <a:lnTo>
                    <a:pt x="537" y="430"/>
                  </a:lnTo>
                  <a:lnTo>
                    <a:pt x="537" y="420"/>
                  </a:lnTo>
                  <a:lnTo>
                    <a:pt x="556" y="430"/>
                  </a:lnTo>
                  <a:lnTo>
                    <a:pt x="566" y="430"/>
                  </a:lnTo>
                  <a:lnTo>
                    <a:pt x="576" y="439"/>
                  </a:lnTo>
                  <a:lnTo>
                    <a:pt x="586" y="449"/>
                  </a:lnTo>
                  <a:lnTo>
                    <a:pt x="595" y="439"/>
                  </a:lnTo>
                  <a:lnTo>
                    <a:pt x="605" y="439"/>
                  </a:lnTo>
                  <a:lnTo>
                    <a:pt x="625" y="439"/>
                  </a:lnTo>
                  <a:lnTo>
                    <a:pt x="644" y="449"/>
                  </a:lnTo>
                  <a:lnTo>
                    <a:pt x="644" y="459"/>
                  </a:lnTo>
                  <a:lnTo>
                    <a:pt x="664" y="459"/>
                  </a:lnTo>
                  <a:lnTo>
                    <a:pt x="674" y="459"/>
                  </a:lnTo>
                  <a:lnTo>
                    <a:pt x="693" y="439"/>
                  </a:lnTo>
                  <a:lnTo>
                    <a:pt x="713" y="439"/>
                  </a:lnTo>
                  <a:lnTo>
                    <a:pt x="732" y="420"/>
                  </a:lnTo>
                  <a:lnTo>
                    <a:pt x="752" y="410"/>
                  </a:lnTo>
                  <a:lnTo>
                    <a:pt x="742" y="400"/>
                  </a:lnTo>
                  <a:lnTo>
                    <a:pt x="732" y="391"/>
                  </a:lnTo>
                  <a:lnTo>
                    <a:pt x="732" y="381"/>
                  </a:lnTo>
                  <a:lnTo>
                    <a:pt x="732" y="361"/>
                  </a:lnTo>
                  <a:lnTo>
                    <a:pt x="722" y="352"/>
                  </a:lnTo>
                  <a:lnTo>
                    <a:pt x="722" y="332"/>
                  </a:lnTo>
                  <a:lnTo>
                    <a:pt x="713" y="313"/>
                  </a:lnTo>
                  <a:lnTo>
                    <a:pt x="713" y="303"/>
                  </a:lnTo>
                  <a:lnTo>
                    <a:pt x="713" y="293"/>
                  </a:lnTo>
                  <a:lnTo>
                    <a:pt x="713" y="264"/>
                  </a:lnTo>
                  <a:lnTo>
                    <a:pt x="732" y="264"/>
                  </a:lnTo>
                  <a:lnTo>
                    <a:pt x="742" y="244"/>
                  </a:lnTo>
                  <a:lnTo>
                    <a:pt x="752" y="235"/>
                  </a:lnTo>
                  <a:lnTo>
                    <a:pt x="781" y="225"/>
                  </a:lnTo>
                  <a:lnTo>
                    <a:pt x="781" y="205"/>
                  </a:lnTo>
                  <a:lnTo>
                    <a:pt x="791" y="186"/>
                  </a:lnTo>
                  <a:lnTo>
                    <a:pt x="771" y="166"/>
                  </a:lnTo>
                  <a:lnTo>
                    <a:pt x="781" y="156"/>
                  </a:lnTo>
                  <a:lnTo>
                    <a:pt x="791" y="137"/>
                  </a:lnTo>
                  <a:lnTo>
                    <a:pt x="781" y="117"/>
                  </a:lnTo>
                  <a:lnTo>
                    <a:pt x="771" y="108"/>
                  </a:lnTo>
                  <a:lnTo>
                    <a:pt x="771" y="98"/>
                  </a:lnTo>
                  <a:lnTo>
                    <a:pt x="791" y="108"/>
                  </a:lnTo>
                  <a:lnTo>
                    <a:pt x="800" y="98"/>
                  </a:lnTo>
                  <a:lnTo>
                    <a:pt x="791" y="78"/>
                  </a:lnTo>
                  <a:lnTo>
                    <a:pt x="771" y="78"/>
                  </a:lnTo>
                  <a:lnTo>
                    <a:pt x="761" y="78"/>
                  </a:lnTo>
                  <a:lnTo>
                    <a:pt x="752" y="78"/>
                  </a:lnTo>
                  <a:lnTo>
                    <a:pt x="732" y="88"/>
                  </a:lnTo>
                  <a:lnTo>
                    <a:pt x="732" y="69"/>
                  </a:lnTo>
                  <a:lnTo>
                    <a:pt x="722" y="69"/>
                  </a:lnTo>
                  <a:lnTo>
                    <a:pt x="693" y="49"/>
                  </a:lnTo>
                  <a:lnTo>
                    <a:pt x="674" y="39"/>
                  </a:lnTo>
                  <a:lnTo>
                    <a:pt x="674" y="30"/>
                  </a:lnTo>
                  <a:lnTo>
                    <a:pt x="664" y="10"/>
                  </a:lnTo>
                  <a:lnTo>
                    <a:pt x="644" y="0"/>
                  </a:lnTo>
                  <a:lnTo>
                    <a:pt x="634" y="10"/>
                  </a:lnTo>
                  <a:lnTo>
                    <a:pt x="625" y="10"/>
                  </a:lnTo>
                  <a:lnTo>
                    <a:pt x="625" y="20"/>
                  </a:lnTo>
                  <a:lnTo>
                    <a:pt x="605" y="30"/>
                  </a:lnTo>
                  <a:lnTo>
                    <a:pt x="586" y="30"/>
                  </a:lnTo>
                  <a:lnTo>
                    <a:pt x="576" y="39"/>
                  </a:lnTo>
                  <a:lnTo>
                    <a:pt x="566" y="39"/>
                  </a:lnTo>
                  <a:lnTo>
                    <a:pt x="556" y="30"/>
                  </a:lnTo>
                  <a:lnTo>
                    <a:pt x="537" y="30"/>
                  </a:lnTo>
                  <a:lnTo>
                    <a:pt x="517" y="39"/>
                  </a:lnTo>
                  <a:lnTo>
                    <a:pt x="508" y="30"/>
                  </a:lnTo>
                  <a:lnTo>
                    <a:pt x="488" y="39"/>
                  </a:lnTo>
                  <a:lnTo>
                    <a:pt x="478" y="39"/>
                  </a:lnTo>
                  <a:lnTo>
                    <a:pt x="478" y="69"/>
                  </a:lnTo>
                  <a:lnTo>
                    <a:pt x="469" y="78"/>
                  </a:lnTo>
                  <a:lnTo>
                    <a:pt x="459" y="88"/>
                  </a:lnTo>
                  <a:lnTo>
                    <a:pt x="439" y="88"/>
                  </a:lnTo>
                  <a:lnTo>
                    <a:pt x="420" y="108"/>
                  </a:lnTo>
                  <a:lnTo>
                    <a:pt x="400" y="127"/>
                  </a:lnTo>
                  <a:lnTo>
                    <a:pt x="400" y="137"/>
                  </a:lnTo>
                  <a:lnTo>
                    <a:pt x="391" y="156"/>
                  </a:lnTo>
                  <a:lnTo>
                    <a:pt x="361" y="166"/>
                  </a:lnTo>
                  <a:lnTo>
                    <a:pt x="332" y="166"/>
                  </a:lnTo>
                  <a:lnTo>
                    <a:pt x="313" y="186"/>
                  </a:lnTo>
                  <a:lnTo>
                    <a:pt x="303" y="196"/>
                  </a:lnTo>
                  <a:lnTo>
                    <a:pt x="274" y="196"/>
                  </a:lnTo>
                  <a:lnTo>
                    <a:pt x="254" y="186"/>
                  </a:lnTo>
                  <a:lnTo>
                    <a:pt x="235" y="186"/>
                  </a:lnTo>
                  <a:lnTo>
                    <a:pt x="215" y="176"/>
                  </a:lnTo>
                  <a:lnTo>
                    <a:pt x="196" y="166"/>
                  </a:lnTo>
                  <a:lnTo>
                    <a:pt x="166" y="166"/>
                  </a:lnTo>
                  <a:lnTo>
                    <a:pt x="157" y="156"/>
                  </a:lnTo>
                  <a:lnTo>
                    <a:pt x="147" y="137"/>
                  </a:lnTo>
                  <a:lnTo>
                    <a:pt x="127" y="137"/>
                  </a:lnTo>
                  <a:lnTo>
                    <a:pt x="108" y="137"/>
                  </a:lnTo>
                  <a:lnTo>
                    <a:pt x="108" y="16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49" y="176"/>
                  </a:lnTo>
                  <a:lnTo>
                    <a:pt x="39" y="176"/>
                  </a:lnTo>
                  <a:lnTo>
                    <a:pt x="39" y="166"/>
                  </a:lnTo>
                  <a:lnTo>
                    <a:pt x="10" y="16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10" y="19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315"/>
            <p:cNvSpPr>
              <a:spLocks/>
            </p:cNvSpPr>
            <p:nvPr/>
          </p:nvSpPr>
          <p:spPr bwMode="auto">
            <a:xfrm>
              <a:off x="4448" y="2059"/>
              <a:ext cx="1074" cy="1932"/>
            </a:xfrm>
            <a:custGeom>
              <a:avLst/>
              <a:gdLst>
                <a:gd name="T0" fmla="*/ 429 w 1073"/>
                <a:gd name="T1" fmla="*/ 253 h 1932"/>
                <a:gd name="T2" fmla="*/ 351 w 1073"/>
                <a:gd name="T3" fmla="*/ 448 h 1932"/>
                <a:gd name="T4" fmla="*/ 429 w 1073"/>
                <a:gd name="T5" fmla="*/ 478 h 1932"/>
                <a:gd name="T6" fmla="*/ 497 w 1073"/>
                <a:gd name="T7" fmla="*/ 546 h 1932"/>
                <a:gd name="T8" fmla="*/ 468 w 1073"/>
                <a:gd name="T9" fmla="*/ 673 h 1932"/>
                <a:gd name="T10" fmla="*/ 371 w 1073"/>
                <a:gd name="T11" fmla="*/ 839 h 1932"/>
                <a:gd name="T12" fmla="*/ 458 w 1073"/>
                <a:gd name="T13" fmla="*/ 907 h 1932"/>
                <a:gd name="T14" fmla="*/ 507 w 1073"/>
                <a:gd name="T15" fmla="*/ 868 h 1932"/>
                <a:gd name="T16" fmla="*/ 595 w 1073"/>
                <a:gd name="T17" fmla="*/ 897 h 1932"/>
                <a:gd name="T18" fmla="*/ 624 w 1073"/>
                <a:gd name="T19" fmla="*/ 1053 h 1932"/>
                <a:gd name="T20" fmla="*/ 732 w 1073"/>
                <a:gd name="T21" fmla="*/ 1073 h 1932"/>
                <a:gd name="T22" fmla="*/ 878 w 1073"/>
                <a:gd name="T23" fmla="*/ 1044 h 1932"/>
                <a:gd name="T24" fmla="*/ 1034 w 1073"/>
                <a:gd name="T25" fmla="*/ 1073 h 1932"/>
                <a:gd name="T26" fmla="*/ 1034 w 1073"/>
                <a:gd name="T27" fmla="*/ 1200 h 1932"/>
                <a:gd name="T28" fmla="*/ 966 w 1073"/>
                <a:gd name="T29" fmla="*/ 1268 h 1932"/>
                <a:gd name="T30" fmla="*/ 936 w 1073"/>
                <a:gd name="T31" fmla="*/ 1278 h 1932"/>
                <a:gd name="T32" fmla="*/ 868 w 1073"/>
                <a:gd name="T33" fmla="*/ 1297 h 1932"/>
                <a:gd name="T34" fmla="*/ 761 w 1073"/>
                <a:gd name="T35" fmla="*/ 1385 h 1932"/>
                <a:gd name="T36" fmla="*/ 751 w 1073"/>
                <a:gd name="T37" fmla="*/ 1453 h 1932"/>
                <a:gd name="T38" fmla="*/ 692 w 1073"/>
                <a:gd name="T39" fmla="*/ 1551 h 1932"/>
                <a:gd name="T40" fmla="*/ 683 w 1073"/>
                <a:gd name="T41" fmla="*/ 1639 h 1932"/>
                <a:gd name="T42" fmla="*/ 614 w 1073"/>
                <a:gd name="T43" fmla="*/ 1658 h 1932"/>
                <a:gd name="T44" fmla="*/ 634 w 1073"/>
                <a:gd name="T45" fmla="*/ 1775 h 1932"/>
                <a:gd name="T46" fmla="*/ 546 w 1073"/>
                <a:gd name="T47" fmla="*/ 1775 h 1932"/>
                <a:gd name="T48" fmla="*/ 458 w 1073"/>
                <a:gd name="T49" fmla="*/ 1873 h 1932"/>
                <a:gd name="T50" fmla="*/ 312 w 1073"/>
                <a:gd name="T51" fmla="*/ 1922 h 1932"/>
                <a:gd name="T52" fmla="*/ 205 w 1073"/>
                <a:gd name="T53" fmla="*/ 1863 h 1932"/>
                <a:gd name="T54" fmla="*/ 283 w 1073"/>
                <a:gd name="T55" fmla="*/ 1805 h 1932"/>
                <a:gd name="T56" fmla="*/ 312 w 1073"/>
                <a:gd name="T57" fmla="*/ 1717 h 1932"/>
                <a:gd name="T58" fmla="*/ 312 w 1073"/>
                <a:gd name="T59" fmla="*/ 1610 h 1932"/>
                <a:gd name="T60" fmla="*/ 283 w 1073"/>
                <a:gd name="T61" fmla="*/ 1561 h 1932"/>
                <a:gd name="T62" fmla="*/ 224 w 1073"/>
                <a:gd name="T63" fmla="*/ 1522 h 1932"/>
                <a:gd name="T64" fmla="*/ 166 w 1073"/>
                <a:gd name="T65" fmla="*/ 1531 h 1932"/>
                <a:gd name="T66" fmla="*/ 205 w 1073"/>
                <a:gd name="T67" fmla="*/ 1453 h 1932"/>
                <a:gd name="T68" fmla="*/ 166 w 1073"/>
                <a:gd name="T69" fmla="*/ 1385 h 1932"/>
                <a:gd name="T70" fmla="*/ 166 w 1073"/>
                <a:gd name="T71" fmla="*/ 1288 h 1932"/>
                <a:gd name="T72" fmla="*/ 215 w 1073"/>
                <a:gd name="T73" fmla="*/ 1249 h 1932"/>
                <a:gd name="T74" fmla="*/ 156 w 1073"/>
                <a:gd name="T75" fmla="*/ 1161 h 1932"/>
                <a:gd name="T76" fmla="*/ 205 w 1073"/>
                <a:gd name="T77" fmla="*/ 1053 h 1932"/>
                <a:gd name="T78" fmla="*/ 136 w 1073"/>
                <a:gd name="T79" fmla="*/ 975 h 1932"/>
                <a:gd name="T80" fmla="*/ 0 w 1073"/>
                <a:gd name="T81" fmla="*/ 936 h 1932"/>
                <a:gd name="T82" fmla="*/ 10 w 1073"/>
                <a:gd name="T83" fmla="*/ 839 h 1932"/>
                <a:gd name="T84" fmla="*/ 97 w 1073"/>
                <a:gd name="T85" fmla="*/ 761 h 1932"/>
                <a:gd name="T86" fmla="*/ 117 w 1073"/>
                <a:gd name="T87" fmla="*/ 624 h 1932"/>
                <a:gd name="T88" fmla="*/ 136 w 1073"/>
                <a:gd name="T89" fmla="*/ 556 h 1932"/>
                <a:gd name="T90" fmla="*/ 185 w 1073"/>
                <a:gd name="T91" fmla="*/ 478 h 1932"/>
                <a:gd name="T92" fmla="*/ 156 w 1073"/>
                <a:gd name="T93" fmla="*/ 390 h 1932"/>
                <a:gd name="T94" fmla="*/ 136 w 1073"/>
                <a:gd name="T95" fmla="*/ 322 h 1932"/>
                <a:gd name="T96" fmla="*/ 107 w 1073"/>
                <a:gd name="T97" fmla="*/ 273 h 1932"/>
                <a:gd name="T98" fmla="*/ 97 w 1073"/>
                <a:gd name="T99" fmla="*/ 195 h 1932"/>
                <a:gd name="T100" fmla="*/ 88 w 1073"/>
                <a:gd name="T101" fmla="*/ 97 h 1932"/>
                <a:gd name="T102" fmla="*/ 127 w 1073"/>
                <a:gd name="T103" fmla="*/ 19 h 1932"/>
                <a:gd name="T104" fmla="*/ 215 w 1073"/>
                <a:gd name="T105" fmla="*/ 127 h 1932"/>
                <a:gd name="T106" fmla="*/ 283 w 1073"/>
                <a:gd name="T107" fmla="*/ 58 h 1932"/>
                <a:gd name="T108" fmla="*/ 439 w 1073"/>
                <a:gd name="T109" fmla="*/ 166 h 19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3"/>
                <a:gd name="T166" fmla="*/ 0 h 1932"/>
                <a:gd name="T167" fmla="*/ 1073 w 1073"/>
                <a:gd name="T168" fmla="*/ 1932 h 19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3" h="1932">
                  <a:moveTo>
                    <a:pt x="507" y="166"/>
                  </a:moveTo>
                  <a:lnTo>
                    <a:pt x="497" y="175"/>
                  </a:lnTo>
                  <a:lnTo>
                    <a:pt x="488" y="195"/>
                  </a:lnTo>
                  <a:lnTo>
                    <a:pt x="478" y="214"/>
                  </a:lnTo>
                  <a:lnTo>
                    <a:pt x="458" y="224"/>
                  </a:lnTo>
                  <a:lnTo>
                    <a:pt x="439" y="244"/>
                  </a:lnTo>
                  <a:lnTo>
                    <a:pt x="429" y="253"/>
                  </a:lnTo>
                  <a:lnTo>
                    <a:pt x="400" y="263"/>
                  </a:lnTo>
                  <a:lnTo>
                    <a:pt x="390" y="273"/>
                  </a:lnTo>
                  <a:lnTo>
                    <a:pt x="380" y="312"/>
                  </a:lnTo>
                  <a:lnTo>
                    <a:pt x="351" y="322"/>
                  </a:lnTo>
                  <a:lnTo>
                    <a:pt x="341" y="361"/>
                  </a:lnTo>
                  <a:lnTo>
                    <a:pt x="371" y="370"/>
                  </a:lnTo>
                  <a:lnTo>
                    <a:pt x="351" y="448"/>
                  </a:lnTo>
                  <a:lnTo>
                    <a:pt x="371" y="458"/>
                  </a:lnTo>
                  <a:lnTo>
                    <a:pt x="400" y="468"/>
                  </a:lnTo>
                  <a:lnTo>
                    <a:pt x="410" y="468"/>
                  </a:lnTo>
                  <a:lnTo>
                    <a:pt x="410" y="478"/>
                  </a:lnTo>
                  <a:lnTo>
                    <a:pt x="410" y="497"/>
                  </a:lnTo>
                  <a:lnTo>
                    <a:pt x="419" y="488"/>
                  </a:lnTo>
                  <a:lnTo>
                    <a:pt x="429" y="478"/>
                  </a:lnTo>
                  <a:lnTo>
                    <a:pt x="439" y="478"/>
                  </a:lnTo>
                  <a:lnTo>
                    <a:pt x="439" y="497"/>
                  </a:lnTo>
                  <a:lnTo>
                    <a:pt x="449" y="507"/>
                  </a:lnTo>
                  <a:lnTo>
                    <a:pt x="458" y="507"/>
                  </a:lnTo>
                  <a:lnTo>
                    <a:pt x="478" y="507"/>
                  </a:lnTo>
                  <a:lnTo>
                    <a:pt x="488" y="527"/>
                  </a:lnTo>
                  <a:lnTo>
                    <a:pt x="497" y="546"/>
                  </a:lnTo>
                  <a:lnTo>
                    <a:pt x="497" y="566"/>
                  </a:lnTo>
                  <a:lnTo>
                    <a:pt x="488" y="585"/>
                  </a:lnTo>
                  <a:lnTo>
                    <a:pt x="468" y="605"/>
                  </a:lnTo>
                  <a:lnTo>
                    <a:pt x="468" y="614"/>
                  </a:lnTo>
                  <a:lnTo>
                    <a:pt x="478" y="614"/>
                  </a:lnTo>
                  <a:lnTo>
                    <a:pt x="478" y="634"/>
                  </a:lnTo>
                  <a:lnTo>
                    <a:pt x="468" y="673"/>
                  </a:lnTo>
                  <a:lnTo>
                    <a:pt x="439" y="683"/>
                  </a:lnTo>
                  <a:lnTo>
                    <a:pt x="419" y="702"/>
                  </a:lnTo>
                  <a:lnTo>
                    <a:pt x="410" y="722"/>
                  </a:lnTo>
                  <a:lnTo>
                    <a:pt x="351" y="741"/>
                  </a:lnTo>
                  <a:lnTo>
                    <a:pt x="400" y="780"/>
                  </a:lnTo>
                  <a:lnTo>
                    <a:pt x="390" y="809"/>
                  </a:lnTo>
                  <a:lnTo>
                    <a:pt x="371" y="839"/>
                  </a:lnTo>
                  <a:lnTo>
                    <a:pt x="390" y="888"/>
                  </a:lnTo>
                  <a:lnTo>
                    <a:pt x="410" y="897"/>
                  </a:lnTo>
                  <a:lnTo>
                    <a:pt x="419" y="917"/>
                  </a:lnTo>
                  <a:lnTo>
                    <a:pt x="419" y="927"/>
                  </a:lnTo>
                  <a:lnTo>
                    <a:pt x="439" y="927"/>
                  </a:lnTo>
                  <a:lnTo>
                    <a:pt x="449" y="917"/>
                  </a:lnTo>
                  <a:lnTo>
                    <a:pt x="458" y="907"/>
                  </a:lnTo>
                  <a:lnTo>
                    <a:pt x="478" y="897"/>
                  </a:lnTo>
                  <a:lnTo>
                    <a:pt x="478" y="907"/>
                  </a:lnTo>
                  <a:lnTo>
                    <a:pt x="488" y="897"/>
                  </a:lnTo>
                  <a:lnTo>
                    <a:pt x="488" y="888"/>
                  </a:lnTo>
                  <a:lnTo>
                    <a:pt x="497" y="888"/>
                  </a:lnTo>
                  <a:lnTo>
                    <a:pt x="507" y="888"/>
                  </a:lnTo>
                  <a:lnTo>
                    <a:pt x="507" y="868"/>
                  </a:lnTo>
                  <a:lnTo>
                    <a:pt x="517" y="858"/>
                  </a:lnTo>
                  <a:lnTo>
                    <a:pt x="536" y="858"/>
                  </a:lnTo>
                  <a:lnTo>
                    <a:pt x="527" y="878"/>
                  </a:lnTo>
                  <a:lnTo>
                    <a:pt x="527" y="888"/>
                  </a:lnTo>
                  <a:lnTo>
                    <a:pt x="546" y="888"/>
                  </a:lnTo>
                  <a:lnTo>
                    <a:pt x="575" y="897"/>
                  </a:lnTo>
                  <a:lnTo>
                    <a:pt x="595" y="89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44" y="936"/>
                  </a:lnTo>
                  <a:lnTo>
                    <a:pt x="644" y="956"/>
                  </a:lnTo>
                  <a:lnTo>
                    <a:pt x="634" y="985"/>
                  </a:lnTo>
                  <a:lnTo>
                    <a:pt x="624" y="995"/>
                  </a:lnTo>
                  <a:lnTo>
                    <a:pt x="624" y="1053"/>
                  </a:lnTo>
                  <a:lnTo>
                    <a:pt x="624" y="1063"/>
                  </a:lnTo>
                  <a:lnTo>
                    <a:pt x="644" y="1053"/>
                  </a:lnTo>
                  <a:lnTo>
                    <a:pt x="653" y="1073"/>
                  </a:lnTo>
                  <a:lnTo>
                    <a:pt x="663" y="1063"/>
                  </a:lnTo>
                  <a:lnTo>
                    <a:pt x="683" y="1063"/>
                  </a:lnTo>
                  <a:lnTo>
                    <a:pt x="683" y="1073"/>
                  </a:lnTo>
                  <a:lnTo>
                    <a:pt x="732" y="1073"/>
                  </a:lnTo>
                  <a:lnTo>
                    <a:pt x="751" y="1063"/>
                  </a:lnTo>
                  <a:lnTo>
                    <a:pt x="761" y="1053"/>
                  </a:lnTo>
                  <a:lnTo>
                    <a:pt x="780" y="1053"/>
                  </a:lnTo>
                  <a:lnTo>
                    <a:pt x="800" y="1053"/>
                  </a:lnTo>
                  <a:lnTo>
                    <a:pt x="829" y="1053"/>
                  </a:lnTo>
                  <a:lnTo>
                    <a:pt x="858" y="1053"/>
                  </a:lnTo>
                  <a:lnTo>
                    <a:pt x="878" y="1044"/>
                  </a:lnTo>
                  <a:lnTo>
                    <a:pt x="888" y="1024"/>
                  </a:lnTo>
                  <a:lnTo>
                    <a:pt x="897" y="1024"/>
                  </a:lnTo>
                  <a:lnTo>
                    <a:pt x="936" y="1053"/>
                  </a:lnTo>
                  <a:lnTo>
                    <a:pt x="966" y="1053"/>
                  </a:lnTo>
                  <a:lnTo>
                    <a:pt x="995" y="1053"/>
                  </a:lnTo>
                  <a:lnTo>
                    <a:pt x="1024" y="1063"/>
                  </a:lnTo>
                  <a:lnTo>
                    <a:pt x="1034" y="1073"/>
                  </a:lnTo>
                  <a:lnTo>
                    <a:pt x="1053" y="1063"/>
                  </a:lnTo>
                  <a:lnTo>
                    <a:pt x="1063" y="1073"/>
                  </a:lnTo>
                  <a:lnTo>
                    <a:pt x="1063" y="1092"/>
                  </a:lnTo>
                  <a:lnTo>
                    <a:pt x="1053" y="1112"/>
                  </a:lnTo>
                  <a:lnTo>
                    <a:pt x="1073" y="1161"/>
                  </a:lnTo>
                  <a:lnTo>
                    <a:pt x="1063" y="1180"/>
                  </a:lnTo>
                  <a:lnTo>
                    <a:pt x="1034" y="1200"/>
                  </a:lnTo>
                  <a:lnTo>
                    <a:pt x="1024" y="1200"/>
                  </a:lnTo>
                  <a:lnTo>
                    <a:pt x="1005" y="1229"/>
                  </a:lnTo>
                  <a:lnTo>
                    <a:pt x="995" y="1229"/>
                  </a:lnTo>
                  <a:lnTo>
                    <a:pt x="985" y="1239"/>
                  </a:lnTo>
                  <a:lnTo>
                    <a:pt x="985" y="1249"/>
                  </a:lnTo>
                  <a:lnTo>
                    <a:pt x="985" y="1268"/>
                  </a:lnTo>
                  <a:lnTo>
                    <a:pt x="966" y="1268"/>
                  </a:lnTo>
                  <a:lnTo>
                    <a:pt x="975" y="1278"/>
                  </a:lnTo>
                  <a:lnTo>
                    <a:pt x="975" y="1297"/>
                  </a:lnTo>
                  <a:lnTo>
                    <a:pt x="985" y="1307"/>
                  </a:lnTo>
                  <a:lnTo>
                    <a:pt x="985" y="1317"/>
                  </a:lnTo>
                  <a:lnTo>
                    <a:pt x="975" y="1317"/>
                  </a:lnTo>
                  <a:lnTo>
                    <a:pt x="936" y="1307"/>
                  </a:lnTo>
                  <a:lnTo>
                    <a:pt x="936" y="1278"/>
                  </a:lnTo>
                  <a:lnTo>
                    <a:pt x="927" y="1278"/>
                  </a:lnTo>
                  <a:lnTo>
                    <a:pt x="927" y="1268"/>
                  </a:lnTo>
                  <a:lnTo>
                    <a:pt x="917" y="1249"/>
                  </a:lnTo>
                  <a:lnTo>
                    <a:pt x="897" y="1249"/>
                  </a:lnTo>
                  <a:lnTo>
                    <a:pt x="897" y="1258"/>
                  </a:lnTo>
                  <a:lnTo>
                    <a:pt x="878" y="1288"/>
                  </a:lnTo>
                  <a:lnTo>
                    <a:pt x="868" y="1297"/>
                  </a:lnTo>
                  <a:lnTo>
                    <a:pt x="839" y="1297"/>
                  </a:lnTo>
                  <a:lnTo>
                    <a:pt x="829" y="1288"/>
                  </a:lnTo>
                  <a:lnTo>
                    <a:pt x="790" y="1288"/>
                  </a:lnTo>
                  <a:lnTo>
                    <a:pt x="780" y="1297"/>
                  </a:lnTo>
                  <a:lnTo>
                    <a:pt x="771" y="1327"/>
                  </a:lnTo>
                  <a:lnTo>
                    <a:pt x="751" y="1366"/>
                  </a:lnTo>
                  <a:lnTo>
                    <a:pt x="761" y="1385"/>
                  </a:lnTo>
                  <a:lnTo>
                    <a:pt x="771" y="1395"/>
                  </a:lnTo>
                  <a:lnTo>
                    <a:pt x="771" y="1405"/>
                  </a:lnTo>
                  <a:lnTo>
                    <a:pt x="780" y="1414"/>
                  </a:lnTo>
                  <a:lnTo>
                    <a:pt x="771" y="1424"/>
                  </a:lnTo>
                  <a:lnTo>
                    <a:pt x="761" y="1424"/>
                  </a:lnTo>
                  <a:lnTo>
                    <a:pt x="751" y="1444"/>
                  </a:lnTo>
                  <a:lnTo>
                    <a:pt x="751" y="1453"/>
                  </a:lnTo>
                  <a:lnTo>
                    <a:pt x="751" y="1473"/>
                  </a:lnTo>
                  <a:lnTo>
                    <a:pt x="722" y="1473"/>
                  </a:lnTo>
                  <a:lnTo>
                    <a:pt x="712" y="1483"/>
                  </a:lnTo>
                  <a:lnTo>
                    <a:pt x="712" y="1502"/>
                  </a:lnTo>
                  <a:lnTo>
                    <a:pt x="692" y="1502"/>
                  </a:lnTo>
                  <a:lnTo>
                    <a:pt x="692" y="1531"/>
                  </a:lnTo>
                  <a:lnTo>
                    <a:pt x="692" y="1551"/>
                  </a:lnTo>
                  <a:lnTo>
                    <a:pt x="702" y="1561"/>
                  </a:lnTo>
                  <a:lnTo>
                    <a:pt x="702" y="1571"/>
                  </a:lnTo>
                  <a:lnTo>
                    <a:pt x="692" y="1571"/>
                  </a:lnTo>
                  <a:lnTo>
                    <a:pt x="692" y="1580"/>
                  </a:lnTo>
                  <a:lnTo>
                    <a:pt x="692" y="1600"/>
                  </a:lnTo>
                  <a:lnTo>
                    <a:pt x="692" y="1619"/>
                  </a:lnTo>
                  <a:lnTo>
                    <a:pt x="683" y="1639"/>
                  </a:lnTo>
                  <a:lnTo>
                    <a:pt x="673" y="1639"/>
                  </a:lnTo>
                  <a:lnTo>
                    <a:pt x="644" y="1629"/>
                  </a:lnTo>
                  <a:lnTo>
                    <a:pt x="634" y="1629"/>
                  </a:lnTo>
                  <a:lnTo>
                    <a:pt x="634" y="1639"/>
                  </a:lnTo>
                  <a:lnTo>
                    <a:pt x="634" y="1649"/>
                  </a:lnTo>
                  <a:lnTo>
                    <a:pt x="634" y="1658"/>
                  </a:lnTo>
                  <a:lnTo>
                    <a:pt x="614" y="1658"/>
                  </a:lnTo>
                  <a:lnTo>
                    <a:pt x="614" y="1678"/>
                  </a:lnTo>
                  <a:lnTo>
                    <a:pt x="653" y="1717"/>
                  </a:lnTo>
                  <a:lnTo>
                    <a:pt x="683" y="1746"/>
                  </a:lnTo>
                  <a:lnTo>
                    <a:pt x="683" y="1756"/>
                  </a:lnTo>
                  <a:lnTo>
                    <a:pt x="663" y="1766"/>
                  </a:lnTo>
                  <a:lnTo>
                    <a:pt x="644" y="1766"/>
                  </a:lnTo>
                  <a:lnTo>
                    <a:pt x="634" y="1775"/>
                  </a:lnTo>
                  <a:lnTo>
                    <a:pt x="624" y="1775"/>
                  </a:lnTo>
                  <a:lnTo>
                    <a:pt x="614" y="1766"/>
                  </a:lnTo>
                  <a:lnTo>
                    <a:pt x="595" y="1766"/>
                  </a:lnTo>
                  <a:lnTo>
                    <a:pt x="585" y="1775"/>
                  </a:lnTo>
                  <a:lnTo>
                    <a:pt x="566" y="1766"/>
                  </a:lnTo>
                  <a:lnTo>
                    <a:pt x="546" y="1775"/>
                  </a:lnTo>
                  <a:lnTo>
                    <a:pt x="536" y="1805"/>
                  </a:lnTo>
                  <a:lnTo>
                    <a:pt x="527" y="1814"/>
                  </a:lnTo>
                  <a:lnTo>
                    <a:pt x="517" y="1834"/>
                  </a:lnTo>
                  <a:lnTo>
                    <a:pt x="497" y="1834"/>
                  </a:lnTo>
                  <a:lnTo>
                    <a:pt x="488" y="1844"/>
                  </a:lnTo>
                  <a:lnTo>
                    <a:pt x="458" y="1863"/>
                  </a:lnTo>
                  <a:lnTo>
                    <a:pt x="458" y="1873"/>
                  </a:lnTo>
                  <a:lnTo>
                    <a:pt x="449" y="1892"/>
                  </a:lnTo>
                  <a:lnTo>
                    <a:pt x="419" y="1902"/>
                  </a:lnTo>
                  <a:lnTo>
                    <a:pt x="400" y="1902"/>
                  </a:lnTo>
                  <a:lnTo>
                    <a:pt x="371" y="1922"/>
                  </a:lnTo>
                  <a:lnTo>
                    <a:pt x="361" y="1932"/>
                  </a:lnTo>
                  <a:lnTo>
                    <a:pt x="341" y="1932"/>
                  </a:lnTo>
                  <a:lnTo>
                    <a:pt x="312" y="1922"/>
                  </a:lnTo>
                  <a:lnTo>
                    <a:pt x="293" y="1922"/>
                  </a:lnTo>
                  <a:lnTo>
                    <a:pt x="273" y="1912"/>
                  </a:lnTo>
                  <a:lnTo>
                    <a:pt x="254" y="1902"/>
                  </a:lnTo>
                  <a:lnTo>
                    <a:pt x="224" y="1902"/>
                  </a:lnTo>
                  <a:lnTo>
                    <a:pt x="215" y="1892"/>
                  </a:lnTo>
                  <a:lnTo>
                    <a:pt x="205" y="1873"/>
                  </a:lnTo>
                  <a:lnTo>
                    <a:pt x="205" y="1863"/>
                  </a:lnTo>
                  <a:lnTo>
                    <a:pt x="205" y="1853"/>
                  </a:lnTo>
                  <a:lnTo>
                    <a:pt x="224" y="1844"/>
                  </a:lnTo>
                  <a:lnTo>
                    <a:pt x="234" y="1834"/>
                  </a:lnTo>
                  <a:lnTo>
                    <a:pt x="254" y="1834"/>
                  </a:lnTo>
                  <a:lnTo>
                    <a:pt x="263" y="1824"/>
                  </a:lnTo>
                  <a:lnTo>
                    <a:pt x="283" y="1814"/>
                  </a:lnTo>
                  <a:lnTo>
                    <a:pt x="283" y="1805"/>
                  </a:lnTo>
                  <a:lnTo>
                    <a:pt x="293" y="1795"/>
                  </a:lnTo>
                  <a:lnTo>
                    <a:pt x="293" y="1775"/>
                  </a:lnTo>
                  <a:lnTo>
                    <a:pt x="312" y="1775"/>
                  </a:lnTo>
                  <a:lnTo>
                    <a:pt x="332" y="1766"/>
                  </a:lnTo>
                  <a:lnTo>
                    <a:pt x="332" y="1746"/>
                  </a:lnTo>
                  <a:lnTo>
                    <a:pt x="322" y="1746"/>
                  </a:lnTo>
                  <a:lnTo>
                    <a:pt x="312" y="1717"/>
                  </a:lnTo>
                  <a:lnTo>
                    <a:pt x="312" y="1707"/>
                  </a:lnTo>
                  <a:lnTo>
                    <a:pt x="322" y="1697"/>
                  </a:lnTo>
                  <a:lnTo>
                    <a:pt x="322" y="1668"/>
                  </a:lnTo>
                  <a:lnTo>
                    <a:pt x="332" y="1649"/>
                  </a:lnTo>
                  <a:lnTo>
                    <a:pt x="322" y="1639"/>
                  </a:lnTo>
                  <a:lnTo>
                    <a:pt x="322" y="1629"/>
                  </a:lnTo>
                  <a:lnTo>
                    <a:pt x="312" y="1610"/>
                  </a:lnTo>
                  <a:lnTo>
                    <a:pt x="302" y="1600"/>
                  </a:lnTo>
                  <a:lnTo>
                    <a:pt x="302" y="1590"/>
                  </a:lnTo>
                  <a:lnTo>
                    <a:pt x="312" y="1580"/>
                  </a:lnTo>
                  <a:lnTo>
                    <a:pt x="302" y="1580"/>
                  </a:lnTo>
                  <a:lnTo>
                    <a:pt x="293" y="1571"/>
                  </a:lnTo>
                  <a:lnTo>
                    <a:pt x="283" y="1561"/>
                  </a:lnTo>
                  <a:lnTo>
                    <a:pt x="283" y="1551"/>
                  </a:lnTo>
                  <a:lnTo>
                    <a:pt x="273" y="1551"/>
                  </a:lnTo>
                  <a:lnTo>
                    <a:pt x="254" y="1551"/>
                  </a:lnTo>
                  <a:lnTo>
                    <a:pt x="244" y="1551"/>
                  </a:lnTo>
                  <a:lnTo>
                    <a:pt x="234" y="1531"/>
                  </a:lnTo>
                  <a:lnTo>
                    <a:pt x="224" y="1522"/>
                  </a:lnTo>
                  <a:lnTo>
                    <a:pt x="215" y="1531"/>
                  </a:lnTo>
                  <a:lnTo>
                    <a:pt x="215" y="1541"/>
                  </a:lnTo>
                  <a:lnTo>
                    <a:pt x="215" y="1561"/>
                  </a:lnTo>
                  <a:lnTo>
                    <a:pt x="195" y="1551"/>
                  </a:lnTo>
                  <a:lnTo>
                    <a:pt x="176" y="1551"/>
                  </a:lnTo>
                  <a:lnTo>
                    <a:pt x="176" y="1541"/>
                  </a:lnTo>
                  <a:lnTo>
                    <a:pt x="166" y="1531"/>
                  </a:lnTo>
                  <a:lnTo>
                    <a:pt x="156" y="1531"/>
                  </a:lnTo>
                  <a:lnTo>
                    <a:pt x="156" y="1502"/>
                  </a:lnTo>
                  <a:lnTo>
                    <a:pt x="146" y="1492"/>
                  </a:lnTo>
                  <a:lnTo>
                    <a:pt x="156" y="1483"/>
                  </a:lnTo>
                  <a:lnTo>
                    <a:pt x="176" y="1463"/>
                  </a:lnTo>
                  <a:lnTo>
                    <a:pt x="185" y="1453"/>
                  </a:lnTo>
                  <a:lnTo>
                    <a:pt x="205" y="1453"/>
                  </a:lnTo>
                  <a:lnTo>
                    <a:pt x="205" y="1444"/>
                  </a:lnTo>
                  <a:lnTo>
                    <a:pt x="205" y="1434"/>
                  </a:lnTo>
                  <a:lnTo>
                    <a:pt x="195" y="1424"/>
                  </a:lnTo>
                  <a:lnTo>
                    <a:pt x="195" y="1414"/>
                  </a:lnTo>
                  <a:lnTo>
                    <a:pt x="195" y="1405"/>
                  </a:lnTo>
                  <a:lnTo>
                    <a:pt x="176" y="1395"/>
                  </a:lnTo>
                  <a:lnTo>
                    <a:pt x="166" y="1385"/>
                  </a:lnTo>
                  <a:lnTo>
                    <a:pt x="156" y="1366"/>
                  </a:lnTo>
                  <a:lnTo>
                    <a:pt x="156" y="1356"/>
                  </a:lnTo>
                  <a:lnTo>
                    <a:pt x="166" y="1346"/>
                  </a:lnTo>
                  <a:lnTo>
                    <a:pt x="166" y="1317"/>
                  </a:lnTo>
                  <a:lnTo>
                    <a:pt x="176" y="1307"/>
                  </a:lnTo>
                  <a:lnTo>
                    <a:pt x="176" y="1297"/>
                  </a:lnTo>
                  <a:lnTo>
                    <a:pt x="166" y="1288"/>
                  </a:lnTo>
                  <a:lnTo>
                    <a:pt x="176" y="1288"/>
                  </a:lnTo>
                  <a:lnTo>
                    <a:pt x="185" y="1288"/>
                  </a:lnTo>
                  <a:lnTo>
                    <a:pt x="185" y="1278"/>
                  </a:lnTo>
                  <a:lnTo>
                    <a:pt x="195" y="1268"/>
                  </a:lnTo>
                  <a:lnTo>
                    <a:pt x="195" y="1258"/>
                  </a:lnTo>
                  <a:lnTo>
                    <a:pt x="205" y="1258"/>
                  </a:lnTo>
                  <a:lnTo>
                    <a:pt x="215" y="1249"/>
                  </a:lnTo>
                  <a:lnTo>
                    <a:pt x="234" y="1229"/>
                  </a:lnTo>
                  <a:lnTo>
                    <a:pt x="224" y="1210"/>
                  </a:lnTo>
                  <a:lnTo>
                    <a:pt x="205" y="1190"/>
                  </a:lnTo>
                  <a:lnTo>
                    <a:pt x="195" y="1180"/>
                  </a:lnTo>
                  <a:lnTo>
                    <a:pt x="176" y="1170"/>
                  </a:lnTo>
                  <a:lnTo>
                    <a:pt x="156" y="1170"/>
                  </a:lnTo>
                  <a:lnTo>
                    <a:pt x="156" y="1161"/>
                  </a:lnTo>
                  <a:lnTo>
                    <a:pt x="156" y="1122"/>
                  </a:lnTo>
                  <a:lnTo>
                    <a:pt x="176" y="1112"/>
                  </a:lnTo>
                  <a:lnTo>
                    <a:pt x="195" y="1102"/>
                  </a:lnTo>
                  <a:lnTo>
                    <a:pt x="215" y="1092"/>
                  </a:lnTo>
                  <a:lnTo>
                    <a:pt x="215" y="1083"/>
                  </a:lnTo>
                  <a:lnTo>
                    <a:pt x="205" y="1073"/>
                  </a:lnTo>
                  <a:lnTo>
                    <a:pt x="205" y="1053"/>
                  </a:lnTo>
                  <a:lnTo>
                    <a:pt x="195" y="1044"/>
                  </a:lnTo>
                  <a:lnTo>
                    <a:pt x="185" y="1053"/>
                  </a:lnTo>
                  <a:lnTo>
                    <a:pt x="176" y="1053"/>
                  </a:lnTo>
                  <a:lnTo>
                    <a:pt x="156" y="1005"/>
                  </a:lnTo>
                  <a:lnTo>
                    <a:pt x="146" y="995"/>
                  </a:lnTo>
                  <a:lnTo>
                    <a:pt x="136" y="995"/>
                  </a:lnTo>
                  <a:lnTo>
                    <a:pt x="136" y="975"/>
                  </a:lnTo>
                  <a:lnTo>
                    <a:pt x="136" y="966"/>
                  </a:lnTo>
                  <a:lnTo>
                    <a:pt x="107" y="956"/>
                  </a:lnTo>
                  <a:lnTo>
                    <a:pt x="88" y="956"/>
                  </a:lnTo>
                  <a:lnTo>
                    <a:pt x="58" y="946"/>
                  </a:lnTo>
                  <a:lnTo>
                    <a:pt x="39" y="956"/>
                  </a:lnTo>
                  <a:lnTo>
                    <a:pt x="29" y="956"/>
                  </a:lnTo>
                  <a:lnTo>
                    <a:pt x="0" y="936"/>
                  </a:lnTo>
                  <a:lnTo>
                    <a:pt x="0" y="917"/>
                  </a:lnTo>
                  <a:lnTo>
                    <a:pt x="10" y="907"/>
                  </a:lnTo>
                  <a:lnTo>
                    <a:pt x="19" y="897"/>
                  </a:lnTo>
                  <a:lnTo>
                    <a:pt x="19" y="878"/>
                  </a:lnTo>
                  <a:lnTo>
                    <a:pt x="10" y="858"/>
                  </a:lnTo>
                  <a:lnTo>
                    <a:pt x="10" y="849"/>
                  </a:lnTo>
                  <a:lnTo>
                    <a:pt x="10" y="839"/>
                  </a:lnTo>
                  <a:lnTo>
                    <a:pt x="0" y="829"/>
                  </a:lnTo>
                  <a:lnTo>
                    <a:pt x="39" y="819"/>
                  </a:lnTo>
                  <a:lnTo>
                    <a:pt x="97" y="800"/>
                  </a:lnTo>
                  <a:lnTo>
                    <a:pt x="97" y="790"/>
                  </a:lnTo>
                  <a:lnTo>
                    <a:pt x="107" y="780"/>
                  </a:lnTo>
                  <a:lnTo>
                    <a:pt x="107" y="761"/>
                  </a:lnTo>
                  <a:lnTo>
                    <a:pt x="97" y="761"/>
                  </a:lnTo>
                  <a:lnTo>
                    <a:pt x="78" y="751"/>
                  </a:lnTo>
                  <a:lnTo>
                    <a:pt x="58" y="731"/>
                  </a:lnTo>
                  <a:lnTo>
                    <a:pt x="49" y="712"/>
                  </a:lnTo>
                  <a:lnTo>
                    <a:pt x="78" y="663"/>
                  </a:lnTo>
                  <a:lnTo>
                    <a:pt x="97" y="644"/>
                  </a:lnTo>
                  <a:lnTo>
                    <a:pt x="97" y="634"/>
                  </a:lnTo>
                  <a:lnTo>
                    <a:pt x="117" y="624"/>
                  </a:lnTo>
                  <a:lnTo>
                    <a:pt x="136" y="624"/>
                  </a:lnTo>
                  <a:lnTo>
                    <a:pt x="146" y="614"/>
                  </a:lnTo>
                  <a:lnTo>
                    <a:pt x="136" y="595"/>
                  </a:lnTo>
                  <a:lnTo>
                    <a:pt x="146" y="585"/>
                  </a:lnTo>
                  <a:lnTo>
                    <a:pt x="146" y="575"/>
                  </a:lnTo>
                  <a:lnTo>
                    <a:pt x="136" y="566"/>
                  </a:lnTo>
                  <a:lnTo>
                    <a:pt x="136" y="556"/>
                  </a:lnTo>
                  <a:lnTo>
                    <a:pt x="127" y="546"/>
                  </a:lnTo>
                  <a:lnTo>
                    <a:pt x="127" y="527"/>
                  </a:lnTo>
                  <a:lnTo>
                    <a:pt x="136" y="507"/>
                  </a:lnTo>
                  <a:lnTo>
                    <a:pt x="156" y="497"/>
                  </a:lnTo>
                  <a:lnTo>
                    <a:pt x="176" y="497"/>
                  </a:lnTo>
                  <a:lnTo>
                    <a:pt x="185" y="478"/>
                  </a:lnTo>
                  <a:lnTo>
                    <a:pt x="185" y="448"/>
                  </a:lnTo>
                  <a:lnTo>
                    <a:pt x="185" y="419"/>
                  </a:lnTo>
                  <a:lnTo>
                    <a:pt x="185" y="400"/>
                  </a:lnTo>
                  <a:lnTo>
                    <a:pt x="176" y="400"/>
                  </a:lnTo>
                  <a:lnTo>
                    <a:pt x="156" y="409"/>
                  </a:lnTo>
                  <a:lnTo>
                    <a:pt x="146" y="400"/>
                  </a:lnTo>
                  <a:lnTo>
                    <a:pt x="156" y="390"/>
                  </a:lnTo>
                  <a:lnTo>
                    <a:pt x="146" y="380"/>
                  </a:lnTo>
                  <a:lnTo>
                    <a:pt x="127" y="370"/>
                  </a:lnTo>
                  <a:lnTo>
                    <a:pt x="117" y="361"/>
                  </a:lnTo>
                  <a:lnTo>
                    <a:pt x="127" y="361"/>
                  </a:lnTo>
                  <a:lnTo>
                    <a:pt x="136" y="351"/>
                  </a:lnTo>
                  <a:lnTo>
                    <a:pt x="136" y="322"/>
                  </a:lnTo>
                  <a:lnTo>
                    <a:pt x="136" y="312"/>
                  </a:lnTo>
                  <a:lnTo>
                    <a:pt x="146" y="302"/>
                  </a:lnTo>
                  <a:lnTo>
                    <a:pt x="136" y="292"/>
                  </a:lnTo>
                  <a:lnTo>
                    <a:pt x="127" y="283"/>
                  </a:lnTo>
                  <a:lnTo>
                    <a:pt x="117" y="283"/>
                  </a:lnTo>
                  <a:lnTo>
                    <a:pt x="107" y="283"/>
                  </a:lnTo>
                  <a:lnTo>
                    <a:pt x="107" y="273"/>
                  </a:lnTo>
                  <a:lnTo>
                    <a:pt x="107" y="253"/>
                  </a:lnTo>
                  <a:lnTo>
                    <a:pt x="97" y="253"/>
                  </a:lnTo>
                  <a:lnTo>
                    <a:pt x="97" y="234"/>
                  </a:lnTo>
                  <a:lnTo>
                    <a:pt x="117" y="234"/>
                  </a:lnTo>
                  <a:lnTo>
                    <a:pt x="117" y="224"/>
                  </a:lnTo>
                  <a:lnTo>
                    <a:pt x="107" y="214"/>
                  </a:lnTo>
                  <a:lnTo>
                    <a:pt x="97" y="195"/>
                  </a:lnTo>
                  <a:lnTo>
                    <a:pt x="107" y="175"/>
                  </a:lnTo>
                  <a:lnTo>
                    <a:pt x="117" y="166"/>
                  </a:lnTo>
                  <a:lnTo>
                    <a:pt x="117" y="156"/>
                  </a:lnTo>
                  <a:lnTo>
                    <a:pt x="97" y="127"/>
                  </a:lnTo>
                  <a:lnTo>
                    <a:pt x="88" y="107"/>
                  </a:lnTo>
                  <a:lnTo>
                    <a:pt x="88" y="97"/>
                  </a:lnTo>
                  <a:lnTo>
                    <a:pt x="97" y="78"/>
                  </a:lnTo>
                  <a:lnTo>
                    <a:pt x="97" y="58"/>
                  </a:lnTo>
                  <a:lnTo>
                    <a:pt x="97" y="39"/>
                  </a:lnTo>
                  <a:lnTo>
                    <a:pt x="97" y="19"/>
                  </a:lnTo>
                  <a:lnTo>
                    <a:pt x="117" y="29"/>
                  </a:lnTo>
                  <a:lnTo>
                    <a:pt x="127" y="19"/>
                  </a:lnTo>
                  <a:lnTo>
                    <a:pt x="166" y="0"/>
                  </a:lnTo>
                  <a:lnTo>
                    <a:pt x="176" y="19"/>
                  </a:lnTo>
                  <a:lnTo>
                    <a:pt x="156" y="29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95" y="117"/>
                  </a:lnTo>
                  <a:lnTo>
                    <a:pt x="215" y="127"/>
                  </a:lnTo>
                  <a:lnTo>
                    <a:pt x="215" y="107"/>
                  </a:lnTo>
                  <a:lnTo>
                    <a:pt x="244" y="107"/>
                  </a:lnTo>
                  <a:lnTo>
                    <a:pt x="244" y="97"/>
                  </a:lnTo>
                  <a:lnTo>
                    <a:pt x="244" y="78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58"/>
                  </a:lnTo>
                  <a:lnTo>
                    <a:pt x="312" y="58"/>
                  </a:lnTo>
                  <a:lnTo>
                    <a:pt x="312" y="87"/>
                  </a:lnTo>
                  <a:lnTo>
                    <a:pt x="341" y="146"/>
                  </a:lnTo>
                  <a:lnTo>
                    <a:pt x="371" y="146"/>
                  </a:lnTo>
                  <a:lnTo>
                    <a:pt x="410" y="156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68" y="166"/>
                  </a:lnTo>
                  <a:lnTo>
                    <a:pt x="507" y="16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314"/>
            <p:cNvSpPr>
              <a:spLocks/>
            </p:cNvSpPr>
            <p:nvPr/>
          </p:nvSpPr>
          <p:spPr bwMode="auto">
            <a:xfrm>
              <a:off x="5063" y="2604"/>
              <a:ext cx="1444" cy="1464"/>
            </a:xfrm>
            <a:custGeom>
              <a:avLst/>
              <a:gdLst>
                <a:gd name="T0" fmla="*/ 20 w 1444"/>
                <a:gd name="T1" fmla="*/ 1103 h 1464"/>
                <a:gd name="T2" fmla="*/ 78 w 1444"/>
                <a:gd name="T3" fmla="*/ 1073 h 1464"/>
                <a:gd name="T4" fmla="*/ 88 w 1444"/>
                <a:gd name="T5" fmla="*/ 1005 h 1464"/>
                <a:gd name="T6" fmla="*/ 137 w 1444"/>
                <a:gd name="T7" fmla="*/ 927 h 1464"/>
                <a:gd name="T8" fmla="*/ 157 w 1444"/>
                <a:gd name="T9" fmla="*/ 859 h 1464"/>
                <a:gd name="T10" fmla="*/ 186 w 1444"/>
                <a:gd name="T11" fmla="*/ 742 h 1464"/>
                <a:gd name="T12" fmla="*/ 293 w 1444"/>
                <a:gd name="T13" fmla="*/ 703 h 1464"/>
                <a:gd name="T14" fmla="*/ 361 w 1444"/>
                <a:gd name="T15" fmla="*/ 781 h 1464"/>
                <a:gd name="T16" fmla="*/ 371 w 1444"/>
                <a:gd name="T17" fmla="*/ 732 h 1464"/>
                <a:gd name="T18" fmla="*/ 420 w 1444"/>
                <a:gd name="T19" fmla="*/ 654 h 1464"/>
                <a:gd name="T20" fmla="*/ 547 w 1444"/>
                <a:gd name="T21" fmla="*/ 624 h 1464"/>
                <a:gd name="T22" fmla="*/ 625 w 1444"/>
                <a:gd name="T23" fmla="*/ 585 h 1464"/>
                <a:gd name="T24" fmla="*/ 586 w 1444"/>
                <a:gd name="T25" fmla="*/ 507 h 1464"/>
                <a:gd name="T26" fmla="*/ 586 w 1444"/>
                <a:gd name="T27" fmla="*/ 449 h 1464"/>
                <a:gd name="T28" fmla="*/ 566 w 1444"/>
                <a:gd name="T29" fmla="*/ 361 h 1464"/>
                <a:gd name="T30" fmla="*/ 634 w 1444"/>
                <a:gd name="T31" fmla="*/ 293 h 1464"/>
                <a:gd name="T32" fmla="*/ 654 w 1444"/>
                <a:gd name="T33" fmla="*/ 146 h 1464"/>
                <a:gd name="T34" fmla="*/ 654 w 1444"/>
                <a:gd name="T35" fmla="*/ 88 h 1464"/>
                <a:gd name="T36" fmla="*/ 644 w 1444"/>
                <a:gd name="T37" fmla="*/ 10 h 1464"/>
                <a:gd name="T38" fmla="*/ 752 w 1444"/>
                <a:gd name="T39" fmla="*/ 20 h 1464"/>
                <a:gd name="T40" fmla="*/ 771 w 1444"/>
                <a:gd name="T41" fmla="*/ 59 h 1464"/>
                <a:gd name="T42" fmla="*/ 810 w 1444"/>
                <a:gd name="T43" fmla="*/ 176 h 1464"/>
                <a:gd name="T44" fmla="*/ 839 w 1444"/>
                <a:gd name="T45" fmla="*/ 254 h 1464"/>
                <a:gd name="T46" fmla="*/ 888 w 1444"/>
                <a:gd name="T47" fmla="*/ 312 h 1464"/>
                <a:gd name="T48" fmla="*/ 898 w 1444"/>
                <a:gd name="T49" fmla="*/ 371 h 1464"/>
                <a:gd name="T50" fmla="*/ 869 w 1444"/>
                <a:gd name="T51" fmla="*/ 537 h 1464"/>
                <a:gd name="T52" fmla="*/ 976 w 1444"/>
                <a:gd name="T53" fmla="*/ 527 h 1464"/>
                <a:gd name="T54" fmla="*/ 1054 w 1444"/>
                <a:gd name="T55" fmla="*/ 517 h 1464"/>
                <a:gd name="T56" fmla="*/ 1103 w 1444"/>
                <a:gd name="T57" fmla="*/ 468 h 1464"/>
                <a:gd name="T58" fmla="*/ 1200 w 1444"/>
                <a:gd name="T59" fmla="*/ 322 h 1464"/>
                <a:gd name="T60" fmla="*/ 1288 w 1444"/>
                <a:gd name="T61" fmla="*/ 381 h 1464"/>
                <a:gd name="T62" fmla="*/ 1347 w 1444"/>
                <a:gd name="T63" fmla="*/ 400 h 1464"/>
                <a:gd name="T64" fmla="*/ 1415 w 1444"/>
                <a:gd name="T65" fmla="*/ 429 h 1464"/>
                <a:gd name="T66" fmla="*/ 1434 w 1444"/>
                <a:gd name="T67" fmla="*/ 527 h 1464"/>
                <a:gd name="T68" fmla="*/ 1356 w 1444"/>
                <a:gd name="T69" fmla="*/ 546 h 1464"/>
                <a:gd name="T70" fmla="*/ 1366 w 1444"/>
                <a:gd name="T71" fmla="*/ 624 h 1464"/>
                <a:gd name="T72" fmla="*/ 1395 w 1444"/>
                <a:gd name="T73" fmla="*/ 664 h 1464"/>
                <a:gd name="T74" fmla="*/ 1366 w 1444"/>
                <a:gd name="T75" fmla="*/ 712 h 1464"/>
                <a:gd name="T76" fmla="*/ 1288 w 1444"/>
                <a:gd name="T77" fmla="*/ 673 h 1464"/>
                <a:gd name="T78" fmla="*/ 1239 w 1444"/>
                <a:gd name="T79" fmla="*/ 751 h 1464"/>
                <a:gd name="T80" fmla="*/ 1093 w 1444"/>
                <a:gd name="T81" fmla="*/ 761 h 1464"/>
                <a:gd name="T82" fmla="*/ 1005 w 1444"/>
                <a:gd name="T83" fmla="*/ 790 h 1464"/>
                <a:gd name="T84" fmla="*/ 898 w 1444"/>
                <a:gd name="T85" fmla="*/ 820 h 1464"/>
                <a:gd name="T86" fmla="*/ 898 w 1444"/>
                <a:gd name="T87" fmla="*/ 898 h 1464"/>
                <a:gd name="T88" fmla="*/ 898 w 1444"/>
                <a:gd name="T89" fmla="*/ 1054 h 1464"/>
                <a:gd name="T90" fmla="*/ 849 w 1444"/>
                <a:gd name="T91" fmla="*/ 1259 h 1464"/>
                <a:gd name="T92" fmla="*/ 732 w 1444"/>
                <a:gd name="T93" fmla="*/ 1229 h 1464"/>
                <a:gd name="T94" fmla="*/ 634 w 1444"/>
                <a:gd name="T95" fmla="*/ 1229 h 1464"/>
                <a:gd name="T96" fmla="*/ 498 w 1444"/>
                <a:gd name="T97" fmla="*/ 1171 h 1464"/>
                <a:gd name="T98" fmla="*/ 459 w 1444"/>
                <a:gd name="T99" fmla="*/ 1239 h 1464"/>
                <a:gd name="T100" fmla="*/ 566 w 1444"/>
                <a:gd name="T101" fmla="*/ 1278 h 1464"/>
                <a:gd name="T102" fmla="*/ 752 w 1444"/>
                <a:gd name="T103" fmla="*/ 1337 h 1464"/>
                <a:gd name="T104" fmla="*/ 605 w 1444"/>
                <a:gd name="T105" fmla="*/ 1454 h 1464"/>
                <a:gd name="T106" fmla="*/ 537 w 1444"/>
                <a:gd name="T107" fmla="*/ 1434 h 1464"/>
                <a:gd name="T108" fmla="*/ 488 w 1444"/>
                <a:gd name="T109" fmla="*/ 1366 h 1464"/>
                <a:gd name="T110" fmla="*/ 400 w 1444"/>
                <a:gd name="T111" fmla="*/ 1317 h 1464"/>
                <a:gd name="T112" fmla="*/ 322 w 1444"/>
                <a:gd name="T113" fmla="*/ 1239 h 1464"/>
                <a:gd name="T114" fmla="*/ 235 w 1444"/>
                <a:gd name="T115" fmla="*/ 1268 h 1464"/>
                <a:gd name="T116" fmla="*/ 166 w 1444"/>
                <a:gd name="T117" fmla="*/ 1259 h 1464"/>
                <a:gd name="T118" fmla="*/ 69 w 1444"/>
                <a:gd name="T119" fmla="*/ 1200 h 14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44"/>
                <a:gd name="T181" fmla="*/ 0 h 1464"/>
                <a:gd name="T182" fmla="*/ 1444 w 1444"/>
                <a:gd name="T183" fmla="*/ 1464 h 14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44" h="1464">
                  <a:moveTo>
                    <a:pt x="69" y="1200"/>
                  </a:moveTo>
                  <a:lnTo>
                    <a:pt x="39" y="1171"/>
                  </a:lnTo>
                  <a:lnTo>
                    <a:pt x="0" y="1132"/>
                  </a:lnTo>
                  <a:lnTo>
                    <a:pt x="0" y="1112"/>
                  </a:lnTo>
                  <a:lnTo>
                    <a:pt x="20" y="1112"/>
                  </a:lnTo>
                  <a:lnTo>
                    <a:pt x="20" y="1103"/>
                  </a:lnTo>
                  <a:lnTo>
                    <a:pt x="20" y="1093"/>
                  </a:lnTo>
                  <a:lnTo>
                    <a:pt x="20" y="1083"/>
                  </a:lnTo>
                  <a:lnTo>
                    <a:pt x="39" y="1083"/>
                  </a:lnTo>
                  <a:lnTo>
                    <a:pt x="59" y="1093"/>
                  </a:lnTo>
                  <a:lnTo>
                    <a:pt x="69" y="1093"/>
                  </a:lnTo>
                  <a:lnTo>
                    <a:pt x="78" y="1073"/>
                  </a:lnTo>
                  <a:lnTo>
                    <a:pt x="78" y="1054"/>
                  </a:lnTo>
                  <a:lnTo>
                    <a:pt x="78" y="1034"/>
                  </a:lnTo>
                  <a:lnTo>
                    <a:pt x="78" y="1025"/>
                  </a:lnTo>
                  <a:lnTo>
                    <a:pt x="88" y="1025"/>
                  </a:lnTo>
                  <a:lnTo>
                    <a:pt x="88" y="1015"/>
                  </a:lnTo>
                  <a:lnTo>
                    <a:pt x="88" y="1005"/>
                  </a:lnTo>
                  <a:lnTo>
                    <a:pt x="88" y="985"/>
                  </a:lnTo>
                  <a:lnTo>
                    <a:pt x="88" y="956"/>
                  </a:lnTo>
                  <a:lnTo>
                    <a:pt x="98" y="956"/>
                  </a:lnTo>
                  <a:lnTo>
                    <a:pt x="98" y="937"/>
                  </a:lnTo>
                  <a:lnTo>
                    <a:pt x="108" y="927"/>
                  </a:lnTo>
                  <a:lnTo>
                    <a:pt x="137" y="927"/>
                  </a:lnTo>
                  <a:lnTo>
                    <a:pt x="137" y="917"/>
                  </a:lnTo>
                  <a:lnTo>
                    <a:pt x="147" y="898"/>
                  </a:lnTo>
                  <a:lnTo>
                    <a:pt x="147" y="878"/>
                  </a:lnTo>
                  <a:lnTo>
                    <a:pt x="157" y="878"/>
                  </a:lnTo>
                  <a:lnTo>
                    <a:pt x="166" y="868"/>
                  </a:lnTo>
                  <a:lnTo>
                    <a:pt x="157" y="859"/>
                  </a:lnTo>
                  <a:lnTo>
                    <a:pt x="157" y="849"/>
                  </a:lnTo>
                  <a:lnTo>
                    <a:pt x="147" y="839"/>
                  </a:lnTo>
                  <a:lnTo>
                    <a:pt x="137" y="820"/>
                  </a:lnTo>
                  <a:lnTo>
                    <a:pt x="157" y="781"/>
                  </a:lnTo>
                  <a:lnTo>
                    <a:pt x="166" y="751"/>
                  </a:lnTo>
                  <a:lnTo>
                    <a:pt x="186" y="742"/>
                  </a:lnTo>
                  <a:lnTo>
                    <a:pt x="215" y="742"/>
                  </a:lnTo>
                  <a:lnTo>
                    <a:pt x="235" y="751"/>
                  </a:lnTo>
                  <a:lnTo>
                    <a:pt x="254" y="751"/>
                  </a:lnTo>
                  <a:lnTo>
                    <a:pt x="264" y="742"/>
                  </a:lnTo>
                  <a:lnTo>
                    <a:pt x="283" y="712"/>
                  </a:lnTo>
                  <a:lnTo>
                    <a:pt x="293" y="703"/>
                  </a:lnTo>
                  <a:lnTo>
                    <a:pt x="303" y="703"/>
                  </a:lnTo>
                  <a:lnTo>
                    <a:pt x="313" y="732"/>
                  </a:lnTo>
                  <a:lnTo>
                    <a:pt x="332" y="732"/>
                  </a:lnTo>
                  <a:lnTo>
                    <a:pt x="332" y="761"/>
                  </a:lnTo>
                  <a:lnTo>
                    <a:pt x="361" y="781"/>
                  </a:lnTo>
                  <a:lnTo>
                    <a:pt x="371" y="771"/>
                  </a:lnTo>
                  <a:lnTo>
                    <a:pt x="371" y="761"/>
                  </a:lnTo>
                  <a:lnTo>
                    <a:pt x="361" y="751"/>
                  </a:lnTo>
                  <a:lnTo>
                    <a:pt x="361" y="732"/>
                  </a:lnTo>
                  <a:lnTo>
                    <a:pt x="352" y="732"/>
                  </a:lnTo>
                  <a:lnTo>
                    <a:pt x="371" y="732"/>
                  </a:lnTo>
                  <a:lnTo>
                    <a:pt x="371" y="703"/>
                  </a:lnTo>
                  <a:lnTo>
                    <a:pt x="371" y="693"/>
                  </a:lnTo>
                  <a:lnTo>
                    <a:pt x="381" y="683"/>
                  </a:lnTo>
                  <a:lnTo>
                    <a:pt x="400" y="683"/>
                  </a:lnTo>
                  <a:lnTo>
                    <a:pt x="410" y="654"/>
                  </a:lnTo>
                  <a:lnTo>
                    <a:pt x="420" y="654"/>
                  </a:lnTo>
                  <a:lnTo>
                    <a:pt x="449" y="634"/>
                  </a:lnTo>
                  <a:lnTo>
                    <a:pt x="459" y="615"/>
                  </a:lnTo>
                  <a:lnTo>
                    <a:pt x="488" y="585"/>
                  </a:lnTo>
                  <a:lnTo>
                    <a:pt x="508" y="605"/>
                  </a:lnTo>
                  <a:lnTo>
                    <a:pt x="537" y="605"/>
                  </a:lnTo>
                  <a:lnTo>
                    <a:pt x="547" y="624"/>
                  </a:lnTo>
                  <a:lnTo>
                    <a:pt x="566" y="624"/>
                  </a:lnTo>
                  <a:lnTo>
                    <a:pt x="586" y="644"/>
                  </a:lnTo>
                  <a:lnTo>
                    <a:pt x="595" y="634"/>
                  </a:lnTo>
                  <a:lnTo>
                    <a:pt x="595" y="615"/>
                  </a:lnTo>
                  <a:lnTo>
                    <a:pt x="595" y="605"/>
                  </a:lnTo>
                  <a:lnTo>
                    <a:pt x="625" y="585"/>
                  </a:lnTo>
                  <a:lnTo>
                    <a:pt x="625" y="566"/>
                  </a:lnTo>
                  <a:lnTo>
                    <a:pt x="615" y="556"/>
                  </a:lnTo>
                  <a:lnTo>
                    <a:pt x="615" y="546"/>
                  </a:lnTo>
                  <a:lnTo>
                    <a:pt x="595" y="537"/>
                  </a:lnTo>
                  <a:lnTo>
                    <a:pt x="586" y="527"/>
                  </a:lnTo>
                  <a:lnTo>
                    <a:pt x="586" y="507"/>
                  </a:lnTo>
                  <a:lnTo>
                    <a:pt x="605" y="498"/>
                  </a:lnTo>
                  <a:lnTo>
                    <a:pt x="625" y="488"/>
                  </a:lnTo>
                  <a:lnTo>
                    <a:pt x="625" y="468"/>
                  </a:lnTo>
                  <a:lnTo>
                    <a:pt x="615" y="449"/>
                  </a:lnTo>
                  <a:lnTo>
                    <a:pt x="605" y="449"/>
                  </a:lnTo>
                  <a:lnTo>
                    <a:pt x="586" y="449"/>
                  </a:lnTo>
                  <a:lnTo>
                    <a:pt x="566" y="420"/>
                  </a:lnTo>
                  <a:lnTo>
                    <a:pt x="566" y="400"/>
                  </a:lnTo>
                  <a:lnTo>
                    <a:pt x="576" y="390"/>
                  </a:lnTo>
                  <a:lnTo>
                    <a:pt x="576" y="381"/>
                  </a:lnTo>
                  <a:lnTo>
                    <a:pt x="566" y="381"/>
                  </a:lnTo>
                  <a:lnTo>
                    <a:pt x="566" y="361"/>
                  </a:lnTo>
                  <a:lnTo>
                    <a:pt x="576" y="351"/>
                  </a:lnTo>
                  <a:lnTo>
                    <a:pt x="576" y="332"/>
                  </a:lnTo>
                  <a:lnTo>
                    <a:pt x="576" y="322"/>
                  </a:lnTo>
                  <a:lnTo>
                    <a:pt x="586" y="322"/>
                  </a:lnTo>
                  <a:lnTo>
                    <a:pt x="605" y="312"/>
                  </a:lnTo>
                  <a:lnTo>
                    <a:pt x="634" y="293"/>
                  </a:lnTo>
                  <a:lnTo>
                    <a:pt x="625" y="263"/>
                  </a:lnTo>
                  <a:lnTo>
                    <a:pt x="634" y="254"/>
                  </a:lnTo>
                  <a:lnTo>
                    <a:pt x="654" y="234"/>
                  </a:lnTo>
                  <a:lnTo>
                    <a:pt x="654" y="195"/>
                  </a:lnTo>
                  <a:lnTo>
                    <a:pt x="664" y="176"/>
                  </a:lnTo>
                  <a:lnTo>
                    <a:pt x="654" y="146"/>
                  </a:lnTo>
                  <a:lnTo>
                    <a:pt x="634" y="137"/>
                  </a:lnTo>
                  <a:lnTo>
                    <a:pt x="634" y="127"/>
                  </a:lnTo>
                  <a:lnTo>
                    <a:pt x="644" y="117"/>
                  </a:lnTo>
                  <a:lnTo>
                    <a:pt x="644" y="98"/>
                  </a:lnTo>
                  <a:lnTo>
                    <a:pt x="644" y="78"/>
                  </a:lnTo>
                  <a:lnTo>
                    <a:pt x="654" y="88"/>
                  </a:lnTo>
                  <a:lnTo>
                    <a:pt x="664" y="78"/>
                  </a:lnTo>
                  <a:lnTo>
                    <a:pt x="644" y="59"/>
                  </a:lnTo>
                  <a:lnTo>
                    <a:pt x="644" y="29"/>
                  </a:lnTo>
                  <a:lnTo>
                    <a:pt x="634" y="20"/>
                  </a:lnTo>
                  <a:lnTo>
                    <a:pt x="634" y="10"/>
                  </a:lnTo>
                  <a:lnTo>
                    <a:pt x="644" y="10"/>
                  </a:lnTo>
                  <a:lnTo>
                    <a:pt x="654" y="20"/>
                  </a:lnTo>
                  <a:lnTo>
                    <a:pt x="673" y="20"/>
                  </a:lnTo>
                  <a:lnTo>
                    <a:pt x="683" y="20"/>
                  </a:lnTo>
                  <a:lnTo>
                    <a:pt x="703" y="0"/>
                  </a:lnTo>
                  <a:lnTo>
                    <a:pt x="752" y="10"/>
                  </a:lnTo>
                  <a:lnTo>
                    <a:pt x="752" y="20"/>
                  </a:lnTo>
                  <a:lnTo>
                    <a:pt x="742" y="20"/>
                  </a:lnTo>
                  <a:lnTo>
                    <a:pt x="732" y="29"/>
                  </a:lnTo>
                  <a:lnTo>
                    <a:pt x="722" y="39"/>
                  </a:lnTo>
                  <a:lnTo>
                    <a:pt x="722" y="49"/>
                  </a:lnTo>
                  <a:lnTo>
                    <a:pt x="742" y="59"/>
                  </a:lnTo>
                  <a:lnTo>
                    <a:pt x="771" y="59"/>
                  </a:lnTo>
                  <a:lnTo>
                    <a:pt x="791" y="68"/>
                  </a:lnTo>
                  <a:lnTo>
                    <a:pt x="800" y="88"/>
                  </a:lnTo>
                  <a:lnTo>
                    <a:pt x="820" y="127"/>
                  </a:lnTo>
                  <a:lnTo>
                    <a:pt x="810" y="146"/>
                  </a:lnTo>
                  <a:lnTo>
                    <a:pt x="800" y="156"/>
                  </a:lnTo>
                  <a:lnTo>
                    <a:pt x="810" y="176"/>
                  </a:lnTo>
                  <a:lnTo>
                    <a:pt x="830" y="176"/>
                  </a:lnTo>
                  <a:lnTo>
                    <a:pt x="839" y="176"/>
                  </a:lnTo>
                  <a:lnTo>
                    <a:pt x="839" y="224"/>
                  </a:lnTo>
                  <a:lnTo>
                    <a:pt x="839" y="234"/>
                  </a:lnTo>
                  <a:lnTo>
                    <a:pt x="839" y="254"/>
                  </a:lnTo>
                  <a:lnTo>
                    <a:pt x="839" y="263"/>
                  </a:lnTo>
                  <a:lnTo>
                    <a:pt x="849" y="263"/>
                  </a:lnTo>
                  <a:lnTo>
                    <a:pt x="849" y="273"/>
                  </a:lnTo>
                  <a:lnTo>
                    <a:pt x="849" y="293"/>
                  </a:lnTo>
                  <a:lnTo>
                    <a:pt x="859" y="303"/>
                  </a:lnTo>
                  <a:lnTo>
                    <a:pt x="888" y="312"/>
                  </a:lnTo>
                  <a:lnTo>
                    <a:pt x="898" y="322"/>
                  </a:lnTo>
                  <a:lnTo>
                    <a:pt x="898" y="332"/>
                  </a:lnTo>
                  <a:lnTo>
                    <a:pt x="898" y="342"/>
                  </a:lnTo>
                  <a:lnTo>
                    <a:pt x="888" y="351"/>
                  </a:lnTo>
                  <a:lnTo>
                    <a:pt x="898" y="361"/>
                  </a:lnTo>
                  <a:lnTo>
                    <a:pt x="898" y="371"/>
                  </a:lnTo>
                  <a:lnTo>
                    <a:pt x="878" y="371"/>
                  </a:lnTo>
                  <a:lnTo>
                    <a:pt x="869" y="429"/>
                  </a:lnTo>
                  <a:lnTo>
                    <a:pt x="869" y="478"/>
                  </a:lnTo>
                  <a:lnTo>
                    <a:pt x="859" y="507"/>
                  </a:lnTo>
                  <a:lnTo>
                    <a:pt x="859" y="527"/>
                  </a:lnTo>
                  <a:lnTo>
                    <a:pt x="869" y="537"/>
                  </a:lnTo>
                  <a:lnTo>
                    <a:pt x="888" y="556"/>
                  </a:lnTo>
                  <a:lnTo>
                    <a:pt x="917" y="556"/>
                  </a:lnTo>
                  <a:lnTo>
                    <a:pt x="927" y="546"/>
                  </a:lnTo>
                  <a:lnTo>
                    <a:pt x="937" y="537"/>
                  </a:lnTo>
                  <a:lnTo>
                    <a:pt x="956" y="537"/>
                  </a:lnTo>
                  <a:lnTo>
                    <a:pt x="976" y="527"/>
                  </a:lnTo>
                  <a:lnTo>
                    <a:pt x="995" y="517"/>
                  </a:lnTo>
                  <a:lnTo>
                    <a:pt x="1015" y="498"/>
                  </a:lnTo>
                  <a:lnTo>
                    <a:pt x="1034" y="468"/>
                  </a:lnTo>
                  <a:lnTo>
                    <a:pt x="1044" y="488"/>
                  </a:lnTo>
                  <a:lnTo>
                    <a:pt x="1054" y="488"/>
                  </a:lnTo>
                  <a:lnTo>
                    <a:pt x="1054" y="517"/>
                  </a:lnTo>
                  <a:lnTo>
                    <a:pt x="1054" y="537"/>
                  </a:lnTo>
                  <a:lnTo>
                    <a:pt x="1064" y="546"/>
                  </a:lnTo>
                  <a:lnTo>
                    <a:pt x="1073" y="527"/>
                  </a:lnTo>
                  <a:lnTo>
                    <a:pt x="1083" y="517"/>
                  </a:lnTo>
                  <a:lnTo>
                    <a:pt x="1103" y="507"/>
                  </a:lnTo>
                  <a:lnTo>
                    <a:pt x="1103" y="468"/>
                  </a:lnTo>
                  <a:lnTo>
                    <a:pt x="1112" y="459"/>
                  </a:lnTo>
                  <a:lnTo>
                    <a:pt x="1142" y="429"/>
                  </a:lnTo>
                  <a:lnTo>
                    <a:pt x="1151" y="381"/>
                  </a:lnTo>
                  <a:lnTo>
                    <a:pt x="1171" y="361"/>
                  </a:lnTo>
                  <a:lnTo>
                    <a:pt x="1171" y="342"/>
                  </a:lnTo>
                  <a:lnTo>
                    <a:pt x="1200" y="322"/>
                  </a:lnTo>
                  <a:lnTo>
                    <a:pt x="1229" y="332"/>
                  </a:lnTo>
                  <a:lnTo>
                    <a:pt x="1259" y="342"/>
                  </a:lnTo>
                  <a:lnTo>
                    <a:pt x="1288" y="351"/>
                  </a:lnTo>
                  <a:lnTo>
                    <a:pt x="1288" y="361"/>
                  </a:lnTo>
                  <a:lnTo>
                    <a:pt x="1288" y="381"/>
                  </a:lnTo>
                  <a:lnTo>
                    <a:pt x="1288" y="400"/>
                  </a:lnTo>
                  <a:lnTo>
                    <a:pt x="1298" y="420"/>
                  </a:lnTo>
                  <a:lnTo>
                    <a:pt x="1317" y="410"/>
                  </a:lnTo>
                  <a:lnTo>
                    <a:pt x="1317" y="400"/>
                  </a:lnTo>
                  <a:lnTo>
                    <a:pt x="1337" y="410"/>
                  </a:lnTo>
                  <a:lnTo>
                    <a:pt x="1347" y="400"/>
                  </a:lnTo>
                  <a:lnTo>
                    <a:pt x="1347" y="390"/>
                  </a:lnTo>
                  <a:lnTo>
                    <a:pt x="1376" y="410"/>
                  </a:lnTo>
                  <a:lnTo>
                    <a:pt x="1386" y="400"/>
                  </a:lnTo>
                  <a:lnTo>
                    <a:pt x="1395" y="410"/>
                  </a:lnTo>
                  <a:lnTo>
                    <a:pt x="1395" y="429"/>
                  </a:lnTo>
                  <a:lnTo>
                    <a:pt x="1415" y="429"/>
                  </a:lnTo>
                  <a:lnTo>
                    <a:pt x="1415" y="449"/>
                  </a:lnTo>
                  <a:lnTo>
                    <a:pt x="1415" y="468"/>
                  </a:lnTo>
                  <a:lnTo>
                    <a:pt x="1415" y="488"/>
                  </a:lnTo>
                  <a:lnTo>
                    <a:pt x="1434" y="488"/>
                  </a:lnTo>
                  <a:lnTo>
                    <a:pt x="1444" y="498"/>
                  </a:lnTo>
                  <a:lnTo>
                    <a:pt x="1434" y="527"/>
                  </a:lnTo>
                  <a:lnTo>
                    <a:pt x="1434" y="537"/>
                  </a:lnTo>
                  <a:lnTo>
                    <a:pt x="1405" y="527"/>
                  </a:lnTo>
                  <a:lnTo>
                    <a:pt x="1386" y="527"/>
                  </a:lnTo>
                  <a:lnTo>
                    <a:pt x="1376" y="527"/>
                  </a:lnTo>
                  <a:lnTo>
                    <a:pt x="1356" y="537"/>
                  </a:lnTo>
                  <a:lnTo>
                    <a:pt x="1356" y="546"/>
                  </a:lnTo>
                  <a:lnTo>
                    <a:pt x="1366" y="556"/>
                  </a:lnTo>
                  <a:lnTo>
                    <a:pt x="1356" y="566"/>
                  </a:lnTo>
                  <a:lnTo>
                    <a:pt x="1356" y="595"/>
                  </a:lnTo>
                  <a:lnTo>
                    <a:pt x="1347" y="605"/>
                  </a:lnTo>
                  <a:lnTo>
                    <a:pt x="1347" y="624"/>
                  </a:lnTo>
                  <a:lnTo>
                    <a:pt x="1366" y="624"/>
                  </a:lnTo>
                  <a:lnTo>
                    <a:pt x="1366" y="634"/>
                  </a:lnTo>
                  <a:lnTo>
                    <a:pt x="1356" y="644"/>
                  </a:lnTo>
                  <a:lnTo>
                    <a:pt x="1376" y="664"/>
                  </a:lnTo>
                  <a:lnTo>
                    <a:pt x="1376" y="654"/>
                  </a:lnTo>
                  <a:lnTo>
                    <a:pt x="1395" y="654"/>
                  </a:lnTo>
                  <a:lnTo>
                    <a:pt x="1395" y="664"/>
                  </a:lnTo>
                  <a:lnTo>
                    <a:pt x="1386" y="673"/>
                  </a:lnTo>
                  <a:lnTo>
                    <a:pt x="1395" y="683"/>
                  </a:lnTo>
                  <a:lnTo>
                    <a:pt x="1395" y="693"/>
                  </a:lnTo>
                  <a:lnTo>
                    <a:pt x="1386" y="703"/>
                  </a:lnTo>
                  <a:lnTo>
                    <a:pt x="1376" y="703"/>
                  </a:lnTo>
                  <a:lnTo>
                    <a:pt x="1366" y="712"/>
                  </a:lnTo>
                  <a:lnTo>
                    <a:pt x="1356" y="722"/>
                  </a:lnTo>
                  <a:lnTo>
                    <a:pt x="1298" y="712"/>
                  </a:lnTo>
                  <a:lnTo>
                    <a:pt x="1308" y="703"/>
                  </a:lnTo>
                  <a:lnTo>
                    <a:pt x="1308" y="693"/>
                  </a:lnTo>
                  <a:lnTo>
                    <a:pt x="1308" y="673"/>
                  </a:lnTo>
                  <a:lnTo>
                    <a:pt x="1288" y="673"/>
                  </a:lnTo>
                  <a:lnTo>
                    <a:pt x="1288" y="683"/>
                  </a:lnTo>
                  <a:lnTo>
                    <a:pt x="1278" y="703"/>
                  </a:lnTo>
                  <a:lnTo>
                    <a:pt x="1259" y="703"/>
                  </a:lnTo>
                  <a:lnTo>
                    <a:pt x="1239" y="712"/>
                  </a:lnTo>
                  <a:lnTo>
                    <a:pt x="1239" y="732"/>
                  </a:lnTo>
                  <a:lnTo>
                    <a:pt x="1239" y="751"/>
                  </a:lnTo>
                  <a:lnTo>
                    <a:pt x="1190" y="790"/>
                  </a:lnTo>
                  <a:lnTo>
                    <a:pt x="1151" y="790"/>
                  </a:lnTo>
                  <a:lnTo>
                    <a:pt x="1112" y="790"/>
                  </a:lnTo>
                  <a:lnTo>
                    <a:pt x="1103" y="781"/>
                  </a:lnTo>
                  <a:lnTo>
                    <a:pt x="1103" y="771"/>
                  </a:lnTo>
                  <a:lnTo>
                    <a:pt x="1093" y="761"/>
                  </a:lnTo>
                  <a:lnTo>
                    <a:pt x="1083" y="771"/>
                  </a:lnTo>
                  <a:lnTo>
                    <a:pt x="1064" y="771"/>
                  </a:lnTo>
                  <a:lnTo>
                    <a:pt x="1044" y="761"/>
                  </a:lnTo>
                  <a:lnTo>
                    <a:pt x="1034" y="761"/>
                  </a:lnTo>
                  <a:lnTo>
                    <a:pt x="1025" y="781"/>
                  </a:lnTo>
                  <a:lnTo>
                    <a:pt x="1005" y="790"/>
                  </a:lnTo>
                  <a:lnTo>
                    <a:pt x="976" y="790"/>
                  </a:lnTo>
                  <a:lnTo>
                    <a:pt x="956" y="781"/>
                  </a:lnTo>
                  <a:lnTo>
                    <a:pt x="937" y="790"/>
                  </a:lnTo>
                  <a:lnTo>
                    <a:pt x="927" y="810"/>
                  </a:lnTo>
                  <a:lnTo>
                    <a:pt x="908" y="810"/>
                  </a:lnTo>
                  <a:lnTo>
                    <a:pt x="898" y="820"/>
                  </a:lnTo>
                  <a:lnTo>
                    <a:pt x="878" y="839"/>
                  </a:lnTo>
                  <a:lnTo>
                    <a:pt x="859" y="859"/>
                  </a:lnTo>
                  <a:lnTo>
                    <a:pt x="859" y="878"/>
                  </a:lnTo>
                  <a:lnTo>
                    <a:pt x="888" y="878"/>
                  </a:lnTo>
                  <a:lnTo>
                    <a:pt x="888" y="898"/>
                  </a:lnTo>
                  <a:lnTo>
                    <a:pt x="898" y="898"/>
                  </a:lnTo>
                  <a:lnTo>
                    <a:pt x="898" y="907"/>
                  </a:lnTo>
                  <a:lnTo>
                    <a:pt x="888" y="917"/>
                  </a:lnTo>
                  <a:lnTo>
                    <a:pt x="888" y="956"/>
                  </a:lnTo>
                  <a:lnTo>
                    <a:pt x="898" y="985"/>
                  </a:lnTo>
                  <a:lnTo>
                    <a:pt x="898" y="1015"/>
                  </a:lnTo>
                  <a:lnTo>
                    <a:pt x="898" y="1054"/>
                  </a:lnTo>
                  <a:lnTo>
                    <a:pt x="937" y="1073"/>
                  </a:lnTo>
                  <a:lnTo>
                    <a:pt x="908" y="1132"/>
                  </a:lnTo>
                  <a:lnTo>
                    <a:pt x="898" y="1181"/>
                  </a:lnTo>
                  <a:lnTo>
                    <a:pt x="898" y="1200"/>
                  </a:lnTo>
                  <a:lnTo>
                    <a:pt x="878" y="1229"/>
                  </a:lnTo>
                  <a:lnTo>
                    <a:pt x="849" y="1259"/>
                  </a:lnTo>
                  <a:lnTo>
                    <a:pt x="810" y="1278"/>
                  </a:lnTo>
                  <a:lnTo>
                    <a:pt x="771" y="1317"/>
                  </a:lnTo>
                  <a:lnTo>
                    <a:pt x="752" y="1337"/>
                  </a:lnTo>
                  <a:lnTo>
                    <a:pt x="693" y="1288"/>
                  </a:lnTo>
                  <a:lnTo>
                    <a:pt x="693" y="1259"/>
                  </a:lnTo>
                  <a:lnTo>
                    <a:pt x="732" y="1229"/>
                  </a:lnTo>
                  <a:lnTo>
                    <a:pt x="703" y="1220"/>
                  </a:lnTo>
                  <a:lnTo>
                    <a:pt x="693" y="1190"/>
                  </a:lnTo>
                  <a:lnTo>
                    <a:pt x="683" y="1190"/>
                  </a:lnTo>
                  <a:lnTo>
                    <a:pt x="683" y="1210"/>
                  </a:lnTo>
                  <a:lnTo>
                    <a:pt x="664" y="1210"/>
                  </a:lnTo>
                  <a:lnTo>
                    <a:pt x="634" y="1229"/>
                  </a:lnTo>
                  <a:lnTo>
                    <a:pt x="605" y="1210"/>
                  </a:lnTo>
                  <a:lnTo>
                    <a:pt x="595" y="1161"/>
                  </a:lnTo>
                  <a:lnTo>
                    <a:pt x="576" y="1161"/>
                  </a:lnTo>
                  <a:lnTo>
                    <a:pt x="556" y="1171"/>
                  </a:lnTo>
                  <a:lnTo>
                    <a:pt x="537" y="1190"/>
                  </a:lnTo>
                  <a:lnTo>
                    <a:pt x="498" y="1171"/>
                  </a:lnTo>
                  <a:lnTo>
                    <a:pt x="478" y="1171"/>
                  </a:lnTo>
                  <a:lnTo>
                    <a:pt x="469" y="1190"/>
                  </a:lnTo>
                  <a:lnTo>
                    <a:pt x="488" y="1210"/>
                  </a:lnTo>
                  <a:lnTo>
                    <a:pt x="498" y="1229"/>
                  </a:lnTo>
                  <a:lnTo>
                    <a:pt x="478" y="1229"/>
                  </a:lnTo>
                  <a:lnTo>
                    <a:pt x="459" y="1239"/>
                  </a:lnTo>
                  <a:lnTo>
                    <a:pt x="459" y="1259"/>
                  </a:lnTo>
                  <a:lnTo>
                    <a:pt x="488" y="1268"/>
                  </a:lnTo>
                  <a:lnTo>
                    <a:pt x="517" y="1259"/>
                  </a:lnTo>
                  <a:lnTo>
                    <a:pt x="547" y="1239"/>
                  </a:lnTo>
                  <a:lnTo>
                    <a:pt x="547" y="1268"/>
                  </a:lnTo>
                  <a:lnTo>
                    <a:pt x="566" y="1278"/>
                  </a:lnTo>
                  <a:lnTo>
                    <a:pt x="586" y="1259"/>
                  </a:lnTo>
                  <a:lnTo>
                    <a:pt x="605" y="1259"/>
                  </a:lnTo>
                  <a:lnTo>
                    <a:pt x="605" y="1288"/>
                  </a:lnTo>
                  <a:lnTo>
                    <a:pt x="644" y="1327"/>
                  </a:lnTo>
                  <a:lnTo>
                    <a:pt x="693" y="1288"/>
                  </a:lnTo>
                  <a:lnTo>
                    <a:pt x="752" y="1337"/>
                  </a:lnTo>
                  <a:lnTo>
                    <a:pt x="732" y="1376"/>
                  </a:lnTo>
                  <a:lnTo>
                    <a:pt x="703" y="1405"/>
                  </a:lnTo>
                  <a:lnTo>
                    <a:pt x="664" y="1415"/>
                  </a:lnTo>
                  <a:lnTo>
                    <a:pt x="625" y="1425"/>
                  </a:lnTo>
                  <a:lnTo>
                    <a:pt x="625" y="1444"/>
                  </a:lnTo>
                  <a:lnTo>
                    <a:pt x="605" y="1454"/>
                  </a:lnTo>
                  <a:lnTo>
                    <a:pt x="595" y="1464"/>
                  </a:lnTo>
                  <a:lnTo>
                    <a:pt x="586" y="1464"/>
                  </a:lnTo>
                  <a:lnTo>
                    <a:pt x="586" y="1454"/>
                  </a:lnTo>
                  <a:lnTo>
                    <a:pt x="586" y="1444"/>
                  </a:lnTo>
                  <a:lnTo>
                    <a:pt x="556" y="1434"/>
                  </a:lnTo>
                  <a:lnTo>
                    <a:pt x="537" y="1434"/>
                  </a:lnTo>
                  <a:lnTo>
                    <a:pt x="537" y="1415"/>
                  </a:lnTo>
                  <a:lnTo>
                    <a:pt x="537" y="1405"/>
                  </a:lnTo>
                  <a:lnTo>
                    <a:pt x="517" y="1395"/>
                  </a:lnTo>
                  <a:lnTo>
                    <a:pt x="498" y="1386"/>
                  </a:lnTo>
                  <a:lnTo>
                    <a:pt x="488" y="1376"/>
                  </a:lnTo>
                  <a:lnTo>
                    <a:pt x="488" y="1366"/>
                  </a:lnTo>
                  <a:lnTo>
                    <a:pt x="469" y="1366"/>
                  </a:lnTo>
                  <a:lnTo>
                    <a:pt x="449" y="1366"/>
                  </a:lnTo>
                  <a:lnTo>
                    <a:pt x="449" y="1356"/>
                  </a:lnTo>
                  <a:lnTo>
                    <a:pt x="430" y="1346"/>
                  </a:lnTo>
                  <a:lnTo>
                    <a:pt x="400" y="1317"/>
                  </a:lnTo>
                  <a:lnTo>
                    <a:pt x="371" y="1298"/>
                  </a:lnTo>
                  <a:lnTo>
                    <a:pt x="361" y="1288"/>
                  </a:lnTo>
                  <a:lnTo>
                    <a:pt x="342" y="1288"/>
                  </a:lnTo>
                  <a:lnTo>
                    <a:pt x="342" y="1268"/>
                  </a:lnTo>
                  <a:lnTo>
                    <a:pt x="342" y="1259"/>
                  </a:lnTo>
                  <a:lnTo>
                    <a:pt x="322" y="1239"/>
                  </a:lnTo>
                  <a:lnTo>
                    <a:pt x="303" y="1239"/>
                  </a:lnTo>
                  <a:lnTo>
                    <a:pt x="293" y="1259"/>
                  </a:lnTo>
                  <a:lnTo>
                    <a:pt x="283" y="1259"/>
                  </a:lnTo>
                  <a:lnTo>
                    <a:pt x="264" y="1268"/>
                  </a:lnTo>
                  <a:lnTo>
                    <a:pt x="244" y="1288"/>
                  </a:lnTo>
                  <a:lnTo>
                    <a:pt x="235" y="1268"/>
                  </a:lnTo>
                  <a:lnTo>
                    <a:pt x="215" y="1268"/>
                  </a:lnTo>
                  <a:lnTo>
                    <a:pt x="205" y="1268"/>
                  </a:lnTo>
                  <a:lnTo>
                    <a:pt x="196" y="1268"/>
                  </a:lnTo>
                  <a:lnTo>
                    <a:pt x="186" y="1278"/>
                  </a:lnTo>
                  <a:lnTo>
                    <a:pt x="176" y="1259"/>
                  </a:lnTo>
                  <a:lnTo>
                    <a:pt x="166" y="1259"/>
                  </a:lnTo>
                  <a:lnTo>
                    <a:pt x="147" y="1239"/>
                  </a:lnTo>
                  <a:lnTo>
                    <a:pt x="127" y="1229"/>
                  </a:lnTo>
                  <a:lnTo>
                    <a:pt x="118" y="1220"/>
                  </a:lnTo>
                  <a:lnTo>
                    <a:pt x="108" y="1210"/>
                  </a:lnTo>
                  <a:lnTo>
                    <a:pt x="98" y="1190"/>
                  </a:lnTo>
                  <a:lnTo>
                    <a:pt x="69" y="120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313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75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3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75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22" y="156"/>
                  </a:lnTo>
                  <a:lnTo>
                    <a:pt x="112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1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2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5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32"/>
                  </a:lnTo>
                  <a:lnTo>
                    <a:pt x="761" y="722"/>
                  </a:lnTo>
                  <a:lnTo>
                    <a:pt x="722" y="732"/>
                  </a:lnTo>
                  <a:lnTo>
                    <a:pt x="71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10"/>
                  </a:lnTo>
                  <a:lnTo>
                    <a:pt x="71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6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1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8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17" y="576"/>
                  </a:lnTo>
                  <a:lnTo>
                    <a:pt x="11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12" y="400"/>
                  </a:lnTo>
                  <a:lnTo>
                    <a:pt x="683" y="381"/>
                  </a:lnTo>
                  <a:lnTo>
                    <a:pt x="673" y="342"/>
                  </a:lnTo>
                  <a:lnTo>
                    <a:pt x="673" y="312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312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66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4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66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12" y="156"/>
                  </a:lnTo>
                  <a:lnTo>
                    <a:pt x="111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2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1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6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42"/>
                  </a:lnTo>
                  <a:lnTo>
                    <a:pt x="761" y="722"/>
                  </a:lnTo>
                  <a:lnTo>
                    <a:pt x="722" y="742"/>
                  </a:lnTo>
                  <a:lnTo>
                    <a:pt x="72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20"/>
                  </a:lnTo>
                  <a:lnTo>
                    <a:pt x="72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7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2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7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27" y="576"/>
                  </a:lnTo>
                  <a:lnTo>
                    <a:pt x="12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22" y="400"/>
                  </a:lnTo>
                  <a:lnTo>
                    <a:pt x="683" y="381"/>
                  </a:lnTo>
                  <a:lnTo>
                    <a:pt x="673" y="342"/>
                  </a:lnTo>
                </a:path>
              </a:pathLst>
            </a:custGeom>
            <a:noFill/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311"/>
            <p:cNvSpPr>
              <a:spLocks/>
            </p:cNvSpPr>
            <p:nvPr/>
          </p:nvSpPr>
          <p:spPr bwMode="auto">
            <a:xfrm>
              <a:off x="5960" y="3112"/>
              <a:ext cx="917" cy="1152"/>
            </a:xfrm>
            <a:custGeom>
              <a:avLst/>
              <a:gdLst>
                <a:gd name="T0" fmla="*/ 49 w 917"/>
                <a:gd name="T1" fmla="*/ 1035 h 1152"/>
                <a:gd name="T2" fmla="*/ 39 w 917"/>
                <a:gd name="T3" fmla="*/ 947 h 1152"/>
                <a:gd name="T4" fmla="*/ 39 w 917"/>
                <a:gd name="T5" fmla="*/ 908 h 1152"/>
                <a:gd name="T6" fmla="*/ 156 w 917"/>
                <a:gd name="T7" fmla="*/ 869 h 1152"/>
                <a:gd name="T8" fmla="*/ 253 w 917"/>
                <a:gd name="T9" fmla="*/ 800 h 1152"/>
                <a:gd name="T10" fmla="*/ 341 w 917"/>
                <a:gd name="T11" fmla="*/ 742 h 1152"/>
                <a:gd name="T12" fmla="*/ 390 w 917"/>
                <a:gd name="T13" fmla="*/ 654 h 1152"/>
                <a:gd name="T14" fmla="*/ 371 w 917"/>
                <a:gd name="T15" fmla="*/ 605 h 1152"/>
                <a:gd name="T16" fmla="*/ 400 w 917"/>
                <a:gd name="T17" fmla="*/ 566 h 1152"/>
                <a:gd name="T18" fmla="*/ 458 w 917"/>
                <a:gd name="T19" fmla="*/ 488 h 1152"/>
                <a:gd name="T20" fmla="*/ 527 w 917"/>
                <a:gd name="T21" fmla="*/ 459 h 1152"/>
                <a:gd name="T22" fmla="*/ 468 w 917"/>
                <a:gd name="T23" fmla="*/ 381 h 1152"/>
                <a:gd name="T24" fmla="*/ 429 w 917"/>
                <a:gd name="T25" fmla="*/ 313 h 1152"/>
                <a:gd name="T26" fmla="*/ 390 w 917"/>
                <a:gd name="T27" fmla="*/ 235 h 1152"/>
                <a:gd name="T28" fmla="*/ 429 w 917"/>
                <a:gd name="T29" fmla="*/ 205 h 1152"/>
                <a:gd name="T30" fmla="*/ 497 w 917"/>
                <a:gd name="T31" fmla="*/ 186 h 1152"/>
                <a:gd name="T32" fmla="*/ 488 w 917"/>
                <a:gd name="T33" fmla="*/ 147 h 1152"/>
                <a:gd name="T34" fmla="*/ 449 w 917"/>
                <a:gd name="T35" fmla="*/ 117 h 1152"/>
                <a:gd name="T36" fmla="*/ 458 w 917"/>
                <a:gd name="T37" fmla="*/ 39 h 1152"/>
                <a:gd name="T38" fmla="*/ 536 w 917"/>
                <a:gd name="T39" fmla="*/ 20 h 1152"/>
                <a:gd name="T40" fmla="*/ 566 w 917"/>
                <a:gd name="T41" fmla="*/ 59 h 1152"/>
                <a:gd name="T42" fmla="*/ 575 w 917"/>
                <a:gd name="T43" fmla="*/ 88 h 1152"/>
                <a:gd name="T44" fmla="*/ 653 w 917"/>
                <a:gd name="T45" fmla="*/ 147 h 1152"/>
                <a:gd name="T46" fmla="*/ 692 w 917"/>
                <a:gd name="T47" fmla="*/ 215 h 1152"/>
                <a:gd name="T48" fmla="*/ 751 w 917"/>
                <a:gd name="T49" fmla="*/ 215 h 1152"/>
                <a:gd name="T50" fmla="*/ 809 w 917"/>
                <a:gd name="T51" fmla="*/ 254 h 1152"/>
                <a:gd name="T52" fmla="*/ 839 w 917"/>
                <a:gd name="T53" fmla="*/ 332 h 1152"/>
                <a:gd name="T54" fmla="*/ 878 w 917"/>
                <a:gd name="T55" fmla="*/ 371 h 1152"/>
                <a:gd name="T56" fmla="*/ 887 w 917"/>
                <a:gd name="T57" fmla="*/ 430 h 1152"/>
                <a:gd name="T58" fmla="*/ 839 w 917"/>
                <a:gd name="T59" fmla="*/ 547 h 1152"/>
                <a:gd name="T60" fmla="*/ 848 w 917"/>
                <a:gd name="T61" fmla="*/ 605 h 1152"/>
                <a:gd name="T62" fmla="*/ 878 w 917"/>
                <a:gd name="T63" fmla="*/ 674 h 1152"/>
                <a:gd name="T64" fmla="*/ 848 w 917"/>
                <a:gd name="T65" fmla="*/ 761 h 1152"/>
                <a:gd name="T66" fmla="*/ 829 w 917"/>
                <a:gd name="T67" fmla="*/ 859 h 1152"/>
                <a:gd name="T68" fmla="*/ 839 w 917"/>
                <a:gd name="T69" fmla="*/ 918 h 1152"/>
                <a:gd name="T70" fmla="*/ 761 w 917"/>
                <a:gd name="T71" fmla="*/ 996 h 1152"/>
                <a:gd name="T72" fmla="*/ 614 w 917"/>
                <a:gd name="T73" fmla="*/ 976 h 1152"/>
                <a:gd name="T74" fmla="*/ 488 w 917"/>
                <a:gd name="T75" fmla="*/ 976 h 1152"/>
                <a:gd name="T76" fmla="*/ 566 w 917"/>
                <a:gd name="T77" fmla="*/ 898 h 1152"/>
                <a:gd name="T78" fmla="*/ 546 w 917"/>
                <a:gd name="T79" fmla="*/ 859 h 1152"/>
                <a:gd name="T80" fmla="*/ 527 w 917"/>
                <a:gd name="T81" fmla="*/ 820 h 1152"/>
                <a:gd name="T82" fmla="*/ 458 w 917"/>
                <a:gd name="T83" fmla="*/ 820 h 1152"/>
                <a:gd name="T84" fmla="*/ 400 w 917"/>
                <a:gd name="T85" fmla="*/ 879 h 1152"/>
                <a:gd name="T86" fmla="*/ 351 w 917"/>
                <a:gd name="T87" fmla="*/ 918 h 1152"/>
                <a:gd name="T88" fmla="*/ 331 w 917"/>
                <a:gd name="T89" fmla="*/ 908 h 1152"/>
                <a:gd name="T90" fmla="*/ 322 w 917"/>
                <a:gd name="T91" fmla="*/ 947 h 1152"/>
                <a:gd name="T92" fmla="*/ 380 w 917"/>
                <a:gd name="T93" fmla="*/ 957 h 1152"/>
                <a:gd name="T94" fmla="*/ 478 w 917"/>
                <a:gd name="T95" fmla="*/ 947 h 1152"/>
                <a:gd name="T96" fmla="*/ 390 w 917"/>
                <a:gd name="T97" fmla="*/ 1083 h 1152"/>
                <a:gd name="T98" fmla="*/ 292 w 917"/>
                <a:gd name="T99" fmla="*/ 1132 h 1152"/>
                <a:gd name="T100" fmla="*/ 175 w 917"/>
                <a:gd name="T101" fmla="*/ 1152 h 1152"/>
                <a:gd name="T102" fmla="*/ 58 w 917"/>
                <a:gd name="T103" fmla="*/ 1132 h 11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7"/>
                <a:gd name="T157" fmla="*/ 0 h 1152"/>
                <a:gd name="T158" fmla="*/ 917 w 917"/>
                <a:gd name="T159" fmla="*/ 1152 h 11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7" h="1152">
                  <a:moveTo>
                    <a:pt x="10" y="1093"/>
                  </a:moveTo>
                  <a:lnTo>
                    <a:pt x="0" y="1074"/>
                  </a:lnTo>
                  <a:lnTo>
                    <a:pt x="10" y="1054"/>
                  </a:lnTo>
                  <a:lnTo>
                    <a:pt x="39" y="1035"/>
                  </a:lnTo>
                  <a:lnTo>
                    <a:pt x="49" y="1035"/>
                  </a:lnTo>
                  <a:lnTo>
                    <a:pt x="49" y="1015"/>
                  </a:lnTo>
                  <a:lnTo>
                    <a:pt x="29" y="1005"/>
                  </a:lnTo>
                  <a:lnTo>
                    <a:pt x="29" y="986"/>
                  </a:lnTo>
                  <a:lnTo>
                    <a:pt x="29" y="957"/>
                  </a:lnTo>
                  <a:lnTo>
                    <a:pt x="39" y="947"/>
                  </a:lnTo>
                  <a:lnTo>
                    <a:pt x="39" y="937"/>
                  </a:lnTo>
                  <a:lnTo>
                    <a:pt x="29" y="937"/>
                  </a:lnTo>
                  <a:lnTo>
                    <a:pt x="29" y="927"/>
                  </a:lnTo>
                  <a:lnTo>
                    <a:pt x="29" y="918"/>
                  </a:lnTo>
                  <a:lnTo>
                    <a:pt x="39" y="908"/>
                  </a:lnTo>
                  <a:lnTo>
                    <a:pt x="78" y="898"/>
                  </a:lnTo>
                  <a:lnTo>
                    <a:pt x="88" y="908"/>
                  </a:lnTo>
                  <a:lnTo>
                    <a:pt x="107" y="898"/>
                  </a:lnTo>
                  <a:lnTo>
                    <a:pt x="136" y="869"/>
                  </a:lnTo>
                  <a:lnTo>
                    <a:pt x="156" y="869"/>
                  </a:lnTo>
                  <a:lnTo>
                    <a:pt x="166" y="879"/>
                  </a:lnTo>
                  <a:lnTo>
                    <a:pt x="185" y="879"/>
                  </a:lnTo>
                  <a:lnTo>
                    <a:pt x="185" y="859"/>
                  </a:lnTo>
                  <a:lnTo>
                    <a:pt x="224" y="830"/>
                  </a:lnTo>
                  <a:lnTo>
                    <a:pt x="253" y="800"/>
                  </a:lnTo>
                  <a:lnTo>
                    <a:pt x="273" y="781"/>
                  </a:lnTo>
                  <a:lnTo>
                    <a:pt x="292" y="781"/>
                  </a:lnTo>
                  <a:lnTo>
                    <a:pt x="292" y="761"/>
                  </a:lnTo>
                  <a:lnTo>
                    <a:pt x="322" y="752"/>
                  </a:lnTo>
                  <a:lnTo>
                    <a:pt x="341" y="742"/>
                  </a:lnTo>
                  <a:lnTo>
                    <a:pt x="361" y="742"/>
                  </a:lnTo>
                  <a:lnTo>
                    <a:pt x="390" y="722"/>
                  </a:lnTo>
                  <a:lnTo>
                    <a:pt x="390" y="703"/>
                  </a:lnTo>
                  <a:lnTo>
                    <a:pt x="390" y="664"/>
                  </a:lnTo>
                  <a:lnTo>
                    <a:pt x="390" y="654"/>
                  </a:lnTo>
                  <a:lnTo>
                    <a:pt x="371" y="644"/>
                  </a:lnTo>
                  <a:lnTo>
                    <a:pt x="351" y="635"/>
                  </a:lnTo>
                  <a:lnTo>
                    <a:pt x="351" y="625"/>
                  </a:lnTo>
                  <a:lnTo>
                    <a:pt x="351" y="615"/>
                  </a:lnTo>
                  <a:lnTo>
                    <a:pt x="371" y="605"/>
                  </a:lnTo>
                  <a:lnTo>
                    <a:pt x="371" y="586"/>
                  </a:lnTo>
                  <a:lnTo>
                    <a:pt x="390" y="586"/>
                  </a:lnTo>
                  <a:lnTo>
                    <a:pt x="390" y="576"/>
                  </a:lnTo>
                  <a:lnTo>
                    <a:pt x="400" y="576"/>
                  </a:lnTo>
                  <a:lnTo>
                    <a:pt x="400" y="566"/>
                  </a:lnTo>
                  <a:lnTo>
                    <a:pt x="410" y="557"/>
                  </a:lnTo>
                  <a:lnTo>
                    <a:pt x="429" y="547"/>
                  </a:lnTo>
                  <a:lnTo>
                    <a:pt x="439" y="518"/>
                  </a:lnTo>
                  <a:lnTo>
                    <a:pt x="449" y="508"/>
                  </a:lnTo>
                  <a:lnTo>
                    <a:pt x="458" y="488"/>
                  </a:lnTo>
                  <a:lnTo>
                    <a:pt x="468" y="488"/>
                  </a:lnTo>
                  <a:lnTo>
                    <a:pt x="488" y="478"/>
                  </a:lnTo>
                  <a:lnTo>
                    <a:pt x="507" y="469"/>
                  </a:lnTo>
                  <a:lnTo>
                    <a:pt x="517" y="469"/>
                  </a:lnTo>
                  <a:lnTo>
                    <a:pt x="527" y="459"/>
                  </a:lnTo>
                  <a:lnTo>
                    <a:pt x="536" y="420"/>
                  </a:lnTo>
                  <a:lnTo>
                    <a:pt x="527" y="400"/>
                  </a:lnTo>
                  <a:lnTo>
                    <a:pt x="497" y="391"/>
                  </a:lnTo>
                  <a:lnTo>
                    <a:pt x="488" y="381"/>
                  </a:lnTo>
                  <a:lnTo>
                    <a:pt x="468" y="381"/>
                  </a:lnTo>
                  <a:lnTo>
                    <a:pt x="449" y="371"/>
                  </a:lnTo>
                  <a:lnTo>
                    <a:pt x="449" y="352"/>
                  </a:lnTo>
                  <a:lnTo>
                    <a:pt x="439" y="342"/>
                  </a:lnTo>
                  <a:lnTo>
                    <a:pt x="439" y="322"/>
                  </a:lnTo>
                  <a:lnTo>
                    <a:pt x="429" y="313"/>
                  </a:lnTo>
                  <a:lnTo>
                    <a:pt x="419" y="293"/>
                  </a:lnTo>
                  <a:lnTo>
                    <a:pt x="410" y="293"/>
                  </a:lnTo>
                  <a:lnTo>
                    <a:pt x="410" y="264"/>
                  </a:lnTo>
                  <a:lnTo>
                    <a:pt x="390" y="244"/>
                  </a:lnTo>
                  <a:lnTo>
                    <a:pt x="390" y="235"/>
                  </a:lnTo>
                  <a:lnTo>
                    <a:pt x="390" y="215"/>
                  </a:lnTo>
                  <a:lnTo>
                    <a:pt x="400" y="205"/>
                  </a:lnTo>
                  <a:lnTo>
                    <a:pt x="410" y="205"/>
                  </a:lnTo>
                  <a:lnTo>
                    <a:pt x="419" y="205"/>
                  </a:lnTo>
                  <a:lnTo>
                    <a:pt x="429" y="205"/>
                  </a:lnTo>
                  <a:lnTo>
                    <a:pt x="458" y="215"/>
                  </a:lnTo>
                  <a:lnTo>
                    <a:pt x="468" y="205"/>
                  </a:lnTo>
                  <a:lnTo>
                    <a:pt x="478" y="196"/>
                  </a:lnTo>
                  <a:lnTo>
                    <a:pt x="488" y="196"/>
                  </a:lnTo>
                  <a:lnTo>
                    <a:pt x="497" y="186"/>
                  </a:lnTo>
                  <a:lnTo>
                    <a:pt x="497" y="176"/>
                  </a:lnTo>
                  <a:lnTo>
                    <a:pt x="488" y="166"/>
                  </a:lnTo>
                  <a:lnTo>
                    <a:pt x="497" y="157"/>
                  </a:lnTo>
                  <a:lnTo>
                    <a:pt x="497" y="147"/>
                  </a:lnTo>
                  <a:lnTo>
                    <a:pt x="488" y="147"/>
                  </a:lnTo>
                  <a:lnTo>
                    <a:pt x="478" y="157"/>
                  </a:lnTo>
                  <a:lnTo>
                    <a:pt x="458" y="137"/>
                  </a:lnTo>
                  <a:lnTo>
                    <a:pt x="468" y="127"/>
                  </a:lnTo>
                  <a:lnTo>
                    <a:pt x="468" y="117"/>
                  </a:lnTo>
                  <a:lnTo>
                    <a:pt x="449" y="117"/>
                  </a:lnTo>
                  <a:lnTo>
                    <a:pt x="449" y="88"/>
                  </a:lnTo>
                  <a:lnTo>
                    <a:pt x="458" y="88"/>
                  </a:lnTo>
                  <a:lnTo>
                    <a:pt x="458" y="59"/>
                  </a:lnTo>
                  <a:lnTo>
                    <a:pt x="468" y="49"/>
                  </a:lnTo>
                  <a:lnTo>
                    <a:pt x="458" y="39"/>
                  </a:lnTo>
                  <a:lnTo>
                    <a:pt x="458" y="30"/>
                  </a:lnTo>
                  <a:lnTo>
                    <a:pt x="478" y="20"/>
                  </a:lnTo>
                  <a:lnTo>
                    <a:pt x="488" y="20"/>
                  </a:lnTo>
                  <a:lnTo>
                    <a:pt x="507" y="20"/>
                  </a:lnTo>
                  <a:lnTo>
                    <a:pt x="536" y="20"/>
                  </a:lnTo>
                  <a:lnTo>
                    <a:pt x="546" y="10"/>
                  </a:lnTo>
                  <a:lnTo>
                    <a:pt x="546" y="0"/>
                  </a:lnTo>
                  <a:lnTo>
                    <a:pt x="556" y="20"/>
                  </a:lnTo>
                  <a:lnTo>
                    <a:pt x="566" y="39"/>
                  </a:lnTo>
                  <a:lnTo>
                    <a:pt x="566" y="59"/>
                  </a:lnTo>
                  <a:lnTo>
                    <a:pt x="566" y="69"/>
                  </a:lnTo>
                  <a:lnTo>
                    <a:pt x="575" y="69"/>
                  </a:lnTo>
                  <a:lnTo>
                    <a:pt x="575" y="78"/>
                  </a:lnTo>
                  <a:lnTo>
                    <a:pt x="566" y="88"/>
                  </a:lnTo>
                  <a:lnTo>
                    <a:pt x="575" y="88"/>
                  </a:lnTo>
                  <a:lnTo>
                    <a:pt x="595" y="69"/>
                  </a:lnTo>
                  <a:lnTo>
                    <a:pt x="605" y="78"/>
                  </a:lnTo>
                  <a:lnTo>
                    <a:pt x="605" y="98"/>
                  </a:lnTo>
                  <a:lnTo>
                    <a:pt x="634" y="137"/>
                  </a:lnTo>
                  <a:lnTo>
                    <a:pt x="653" y="147"/>
                  </a:lnTo>
                  <a:lnTo>
                    <a:pt x="653" y="157"/>
                  </a:lnTo>
                  <a:lnTo>
                    <a:pt x="673" y="186"/>
                  </a:lnTo>
                  <a:lnTo>
                    <a:pt x="692" y="196"/>
                  </a:lnTo>
                  <a:lnTo>
                    <a:pt x="712" y="205"/>
                  </a:lnTo>
                  <a:lnTo>
                    <a:pt x="692" y="215"/>
                  </a:lnTo>
                  <a:lnTo>
                    <a:pt x="683" y="225"/>
                  </a:lnTo>
                  <a:lnTo>
                    <a:pt x="692" y="235"/>
                  </a:lnTo>
                  <a:lnTo>
                    <a:pt x="702" y="244"/>
                  </a:lnTo>
                  <a:lnTo>
                    <a:pt x="731" y="225"/>
                  </a:lnTo>
                  <a:lnTo>
                    <a:pt x="751" y="215"/>
                  </a:lnTo>
                  <a:lnTo>
                    <a:pt x="770" y="225"/>
                  </a:lnTo>
                  <a:lnTo>
                    <a:pt x="780" y="254"/>
                  </a:lnTo>
                  <a:lnTo>
                    <a:pt x="780" y="264"/>
                  </a:lnTo>
                  <a:lnTo>
                    <a:pt x="790" y="274"/>
                  </a:lnTo>
                  <a:lnTo>
                    <a:pt x="809" y="254"/>
                  </a:lnTo>
                  <a:lnTo>
                    <a:pt x="829" y="264"/>
                  </a:lnTo>
                  <a:lnTo>
                    <a:pt x="829" y="283"/>
                  </a:lnTo>
                  <a:lnTo>
                    <a:pt x="839" y="293"/>
                  </a:lnTo>
                  <a:lnTo>
                    <a:pt x="839" y="313"/>
                  </a:lnTo>
                  <a:lnTo>
                    <a:pt x="839" y="332"/>
                  </a:lnTo>
                  <a:lnTo>
                    <a:pt x="839" y="342"/>
                  </a:lnTo>
                  <a:lnTo>
                    <a:pt x="858" y="342"/>
                  </a:lnTo>
                  <a:lnTo>
                    <a:pt x="858" y="352"/>
                  </a:lnTo>
                  <a:lnTo>
                    <a:pt x="878" y="371"/>
                  </a:lnTo>
                  <a:lnTo>
                    <a:pt x="858" y="371"/>
                  </a:lnTo>
                  <a:lnTo>
                    <a:pt x="858" y="391"/>
                  </a:lnTo>
                  <a:lnTo>
                    <a:pt x="858" y="400"/>
                  </a:lnTo>
                  <a:lnTo>
                    <a:pt x="858" y="430"/>
                  </a:lnTo>
                  <a:lnTo>
                    <a:pt x="887" y="430"/>
                  </a:lnTo>
                  <a:lnTo>
                    <a:pt x="917" y="488"/>
                  </a:lnTo>
                  <a:lnTo>
                    <a:pt x="897" y="498"/>
                  </a:lnTo>
                  <a:lnTo>
                    <a:pt x="878" y="508"/>
                  </a:lnTo>
                  <a:lnTo>
                    <a:pt x="848" y="527"/>
                  </a:lnTo>
                  <a:lnTo>
                    <a:pt x="839" y="547"/>
                  </a:lnTo>
                  <a:lnTo>
                    <a:pt x="819" y="566"/>
                  </a:lnTo>
                  <a:lnTo>
                    <a:pt x="809" y="605"/>
                  </a:lnTo>
                  <a:lnTo>
                    <a:pt x="829" y="605"/>
                  </a:lnTo>
                  <a:lnTo>
                    <a:pt x="848" y="596"/>
                  </a:lnTo>
                  <a:lnTo>
                    <a:pt x="848" y="605"/>
                  </a:lnTo>
                  <a:lnTo>
                    <a:pt x="868" y="615"/>
                  </a:lnTo>
                  <a:lnTo>
                    <a:pt x="868" y="635"/>
                  </a:lnTo>
                  <a:lnTo>
                    <a:pt x="878" y="644"/>
                  </a:lnTo>
                  <a:lnTo>
                    <a:pt x="878" y="654"/>
                  </a:lnTo>
                  <a:lnTo>
                    <a:pt x="878" y="674"/>
                  </a:lnTo>
                  <a:lnTo>
                    <a:pt x="868" y="683"/>
                  </a:lnTo>
                  <a:lnTo>
                    <a:pt x="858" y="703"/>
                  </a:lnTo>
                  <a:lnTo>
                    <a:pt x="848" y="722"/>
                  </a:lnTo>
                  <a:lnTo>
                    <a:pt x="848" y="742"/>
                  </a:lnTo>
                  <a:lnTo>
                    <a:pt x="848" y="761"/>
                  </a:lnTo>
                  <a:lnTo>
                    <a:pt x="848" y="791"/>
                  </a:lnTo>
                  <a:lnTo>
                    <a:pt x="839" y="820"/>
                  </a:lnTo>
                  <a:lnTo>
                    <a:pt x="839" y="830"/>
                  </a:lnTo>
                  <a:lnTo>
                    <a:pt x="829" y="839"/>
                  </a:lnTo>
                  <a:lnTo>
                    <a:pt x="829" y="859"/>
                  </a:lnTo>
                  <a:lnTo>
                    <a:pt x="839" y="869"/>
                  </a:lnTo>
                  <a:lnTo>
                    <a:pt x="848" y="879"/>
                  </a:lnTo>
                  <a:lnTo>
                    <a:pt x="848" y="898"/>
                  </a:lnTo>
                  <a:lnTo>
                    <a:pt x="839" y="908"/>
                  </a:lnTo>
                  <a:lnTo>
                    <a:pt x="839" y="918"/>
                  </a:lnTo>
                  <a:lnTo>
                    <a:pt x="809" y="927"/>
                  </a:lnTo>
                  <a:lnTo>
                    <a:pt x="790" y="957"/>
                  </a:lnTo>
                  <a:lnTo>
                    <a:pt x="770" y="976"/>
                  </a:lnTo>
                  <a:lnTo>
                    <a:pt x="770" y="996"/>
                  </a:lnTo>
                  <a:lnTo>
                    <a:pt x="761" y="996"/>
                  </a:lnTo>
                  <a:lnTo>
                    <a:pt x="722" y="996"/>
                  </a:lnTo>
                  <a:lnTo>
                    <a:pt x="683" y="986"/>
                  </a:lnTo>
                  <a:lnTo>
                    <a:pt x="653" y="976"/>
                  </a:lnTo>
                  <a:lnTo>
                    <a:pt x="624" y="966"/>
                  </a:lnTo>
                  <a:lnTo>
                    <a:pt x="614" y="976"/>
                  </a:lnTo>
                  <a:lnTo>
                    <a:pt x="605" y="996"/>
                  </a:lnTo>
                  <a:lnTo>
                    <a:pt x="585" y="996"/>
                  </a:lnTo>
                  <a:lnTo>
                    <a:pt x="556" y="986"/>
                  </a:lnTo>
                  <a:lnTo>
                    <a:pt x="527" y="976"/>
                  </a:lnTo>
                  <a:lnTo>
                    <a:pt x="488" y="976"/>
                  </a:lnTo>
                  <a:lnTo>
                    <a:pt x="478" y="947"/>
                  </a:lnTo>
                  <a:lnTo>
                    <a:pt x="497" y="937"/>
                  </a:lnTo>
                  <a:lnTo>
                    <a:pt x="517" y="927"/>
                  </a:lnTo>
                  <a:lnTo>
                    <a:pt x="556" y="918"/>
                  </a:lnTo>
                  <a:lnTo>
                    <a:pt x="566" y="898"/>
                  </a:lnTo>
                  <a:lnTo>
                    <a:pt x="575" y="888"/>
                  </a:lnTo>
                  <a:lnTo>
                    <a:pt x="556" y="888"/>
                  </a:lnTo>
                  <a:lnTo>
                    <a:pt x="536" y="888"/>
                  </a:lnTo>
                  <a:lnTo>
                    <a:pt x="536" y="859"/>
                  </a:lnTo>
                  <a:lnTo>
                    <a:pt x="546" y="859"/>
                  </a:lnTo>
                  <a:lnTo>
                    <a:pt x="566" y="859"/>
                  </a:lnTo>
                  <a:lnTo>
                    <a:pt x="566" y="839"/>
                  </a:lnTo>
                  <a:lnTo>
                    <a:pt x="556" y="839"/>
                  </a:lnTo>
                  <a:lnTo>
                    <a:pt x="546" y="820"/>
                  </a:lnTo>
                  <a:lnTo>
                    <a:pt x="527" y="820"/>
                  </a:lnTo>
                  <a:lnTo>
                    <a:pt x="517" y="810"/>
                  </a:lnTo>
                  <a:lnTo>
                    <a:pt x="507" y="800"/>
                  </a:lnTo>
                  <a:lnTo>
                    <a:pt x="488" y="800"/>
                  </a:lnTo>
                  <a:lnTo>
                    <a:pt x="478" y="810"/>
                  </a:lnTo>
                  <a:lnTo>
                    <a:pt x="458" y="820"/>
                  </a:lnTo>
                  <a:lnTo>
                    <a:pt x="458" y="830"/>
                  </a:lnTo>
                  <a:lnTo>
                    <a:pt x="449" y="839"/>
                  </a:lnTo>
                  <a:lnTo>
                    <a:pt x="410" y="839"/>
                  </a:lnTo>
                  <a:lnTo>
                    <a:pt x="390" y="859"/>
                  </a:lnTo>
                  <a:lnTo>
                    <a:pt x="400" y="879"/>
                  </a:lnTo>
                  <a:lnTo>
                    <a:pt x="410" y="879"/>
                  </a:lnTo>
                  <a:lnTo>
                    <a:pt x="390" y="888"/>
                  </a:lnTo>
                  <a:lnTo>
                    <a:pt x="380" y="888"/>
                  </a:lnTo>
                  <a:lnTo>
                    <a:pt x="361" y="898"/>
                  </a:lnTo>
                  <a:lnTo>
                    <a:pt x="351" y="918"/>
                  </a:lnTo>
                  <a:lnTo>
                    <a:pt x="341" y="927"/>
                  </a:lnTo>
                  <a:lnTo>
                    <a:pt x="341" y="937"/>
                  </a:lnTo>
                  <a:lnTo>
                    <a:pt x="331" y="937"/>
                  </a:lnTo>
                  <a:lnTo>
                    <a:pt x="331" y="918"/>
                  </a:lnTo>
                  <a:lnTo>
                    <a:pt x="331" y="908"/>
                  </a:lnTo>
                  <a:lnTo>
                    <a:pt x="322" y="908"/>
                  </a:lnTo>
                  <a:lnTo>
                    <a:pt x="322" y="918"/>
                  </a:lnTo>
                  <a:lnTo>
                    <a:pt x="322" y="937"/>
                  </a:lnTo>
                  <a:lnTo>
                    <a:pt x="322" y="947"/>
                  </a:lnTo>
                  <a:lnTo>
                    <a:pt x="322" y="957"/>
                  </a:lnTo>
                  <a:lnTo>
                    <a:pt x="341" y="966"/>
                  </a:lnTo>
                  <a:lnTo>
                    <a:pt x="351" y="976"/>
                  </a:lnTo>
                  <a:lnTo>
                    <a:pt x="371" y="957"/>
                  </a:lnTo>
                  <a:lnTo>
                    <a:pt x="380" y="957"/>
                  </a:lnTo>
                  <a:lnTo>
                    <a:pt x="390" y="976"/>
                  </a:lnTo>
                  <a:lnTo>
                    <a:pt x="400" y="976"/>
                  </a:lnTo>
                  <a:lnTo>
                    <a:pt x="439" y="966"/>
                  </a:lnTo>
                  <a:lnTo>
                    <a:pt x="449" y="947"/>
                  </a:lnTo>
                  <a:lnTo>
                    <a:pt x="478" y="947"/>
                  </a:lnTo>
                  <a:lnTo>
                    <a:pt x="488" y="976"/>
                  </a:lnTo>
                  <a:lnTo>
                    <a:pt x="458" y="986"/>
                  </a:lnTo>
                  <a:lnTo>
                    <a:pt x="410" y="1044"/>
                  </a:lnTo>
                  <a:lnTo>
                    <a:pt x="410" y="1074"/>
                  </a:lnTo>
                  <a:lnTo>
                    <a:pt x="390" y="1083"/>
                  </a:lnTo>
                  <a:lnTo>
                    <a:pt x="371" y="1083"/>
                  </a:lnTo>
                  <a:lnTo>
                    <a:pt x="351" y="1093"/>
                  </a:lnTo>
                  <a:lnTo>
                    <a:pt x="331" y="1113"/>
                  </a:lnTo>
                  <a:lnTo>
                    <a:pt x="302" y="1122"/>
                  </a:lnTo>
                  <a:lnTo>
                    <a:pt x="292" y="1132"/>
                  </a:lnTo>
                  <a:lnTo>
                    <a:pt x="273" y="1152"/>
                  </a:lnTo>
                  <a:lnTo>
                    <a:pt x="244" y="1152"/>
                  </a:lnTo>
                  <a:lnTo>
                    <a:pt x="224" y="1152"/>
                  </a:lnTo>
                  <a:lnTo>
                    <a:pt x="195" y="1152"/>
                  </a:lnTo>
                  <a:lnTo>
                    <a:pt x="175" y="1152"/>
                  </a:lnTo>
                  <a:lnTo>
                    <a:pt x="156" y="1152"/>
                  </a:lnTo>
                  <a:lnTo>
                    <a:pt x="146" y="1142"/>
                  </a:lnTo>
                  <a:lnTo>
                    <a:pt x="88" y="1152"/>
                  </a:lnTo>
                  <a:lnTo>
                    <a:pt x="68" y="1142"/>
                  </a:lnTo>
                  <a:lnTo>
                    <a:pt x="58" y="1132"/>
                  </a:lnTo>
                  <a:lnTo>
                    <a:pt x="39" y="1122"/>
                  </a:lnTo>
                  <a:lnTo>
                    <a:pt x="29" y="1113"/>
                  </a:lnTo>
                  <a:lnTo>
                    <a:pt x="19" y="1093"/>
                  </a:lnTo>
                  <a:lnTo>
                    <a:pt x="10" y="1093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Freeform 310"/>
            <p:cNvSpPr>
              <a:spLocks/>
            </p:cNvSpPr>
            <p:nvPr/>
          </p:nvSpPr>
          <p:spPr bwMode="auto">
            <a:xfrm>
              <a:off x="6613" y="3093"/>
              <a:ext cx="1120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42 w 1122"/>
                <a:gd name="T21" fmla="*/ 693 h 761"/>
                <a:gd name="T22" fmla="*/ 800 w 1122"/>
                <a:gd name="T23" fmla="*/ 741 h 761"/>
                <a:gd name="T24" fmla="*/ 869 w 1122"/>
                <a:gd name="T25" fmla="*/ 75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51 h 761"/>
                <a:gd name="T32" fmla="*/ 1083 w 1122"/>
                <a:gd name="T33" fmla="*/ 69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7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7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36 h 761"/>
                <a:gd name="T86" fmla="*/ 488 w 1122"/>
                <a:gd name="T87" fmla="*/ 15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10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42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5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44" y="751"/>
                  </a:lnTo>
                  <a:lnTo>
                    <a:pt x="1064" y="75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9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44" y="605"/>
                  </a:lnTo>
                  <a:lnTo>
                    <a:pt x="104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47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51"/>
                  </a:lnTo>
                  <a:lnTo>
                    <a:pt x="1025" y="351"/>
                  </a:lnTo>
                  <a:lnTo>
                    <a:pt x="1044" y="341"/>
                  </a:lnTo>
                  <a:lnTo>
                    <a:pt x="1064" y="33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7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5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7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36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59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36"/>
                  </a:lnTo>
                  <a:lnTo>
                    <a:pt x="537" y="136"/>
                  </a:lnTo>
                  <a:lnTo>
                    <a:pt x="527" y="136"/>
                  </a:lnTo>
                  <a:lnTo>
                    <a:pt x="517" y="136"/>
                  </a:lnTo>
                  <a:lnTo>
                    <a:pt x="517" y="156"/>
                  </a:lnTo>
                  <a:lnTo>
                    <a:pt x="498" y="156"/>
                  </a:lnTo>
                  <a:lnTo>
                    <a:pt x="498" y="146"/>
                  </a:lnTo>
                  <a:lnTo>
                    <a:pt x="488" y="15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19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56"/>
                  </a:lnTo>
                  <a:lnTo>
                    <a:pt x="137" y="136"/>
                  </a:lnTo>
                  <a:lnTo>
                    <a:pt x="117" y="156"/>
                  </a:lnTo>
                  <a:lnTo>
                    <a:pt x="108" y="146"/>
                  </a:lnTo>
                  <a:lnTo>
                    <a:pt x="88" y="136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10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3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65" name="Group 307"/>
            <p:cNvGrpSpPr>
              <a:grpSpLocks/>
            </p:cNvGrpSpPr>
            <p:nvPr/>
          </p:nvGrpSpPr>
          <p:grpSpPr bwMode="auto">
            <a:xfrm>
              <a:off x="6612" y="3093"/>
              <a:ext cx="1122" cy="761"/>
              <a:chOff x="6613" y="3093"/>
              <a:chExt cx="1122" cy="761"/>
            </a:xfrm>
          </p:grpSpPr>
          <p:sp>
            <p:nvSpPr>
              <p:cNvPr id="750" name="Freeform 309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  <a:lnTo>
                      <a:pt x="205" y="361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1" name="Freeform 308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66" name="Freeform 306"/>
            <p:cNvSpPr>
              <a:spLocks/>
            </p:cNvSpPr>
            <p:nvPr/>
          </p:nvSpPr>
          <p:spPr bwMode="auto">
            <a:xfrm>
              <a:off x="7237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7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17 h 1883"/>
                <a:gd name="T32" fmla="*/ 98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34 w 1112"/>
                <a:gd name="T73" fmla="*/ 263 h 1883"/>
                <a:gd name="T74" fmla="*/ 702 w 1112"/>
                <a:gd name="T75" fmla="*/ 244 h 1883"/>
                <a:gd name="T76" fmla="*/ 682 w 1112"/>
                <a:gd name="T77" fmla="*/ 14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44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39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8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36" y="167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78"/>
                  </a:lnTo>
                  <a:lnTo>
                    <a:pt x="624" y="1688"/>
                  </a:lnTo>
                  <a:lnTo>
                    <a:pt x="643" y="167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78"/>
                  </a:lnTo>
                  <a:lnTo>
                    <a:pt x="741" y="167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1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85" y="1756"/>
                  </a:lnTo>
                  <a:lnTo>
                    <a:pt x="98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8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24" y="1571"/>
                  </a:lnTo>
                  <a:lnTo>
                    <a:pt x="102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1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85" y="1229"/>
                  </a:lnTo>
                  <a:lnTo>
                    <a:pt x="985" y="120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22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82" y="1024"/>
                  </a:lnTo>
                  <a:lnTo>
                    <a:pt x="682" y="1034"/>
                  </a:lnTo>
                  <a:lnTo>
                    <a:pt x="682" y="1053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3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1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8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3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82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2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82" y="14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34" y="146"/>
                  </a:lnTo>
                  <a:lnTo>
                    <a:pt x="614" y="14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8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9"/>
                  </a:lnTo>
                  <a:lnTo>
                    <a:pt x="458" y="0"/>
                  </a:lnTo>
                  <a:lnTo>
                    <a:pt x="448" y="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68"/>
                  </a:lnTo>
                  <a:lnTo>
                    <a:pt x="38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68"/>
                  </a:lnTo>
                  <a:lnTo>
                    <a:pt x="331" y="8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44"/>
                  </a:lnTo>
                  <a:lnTo>
                    <a:pt x="48" y="644"/>
                  </a:lnTo>
                  <a:lnTo>
                    <a:pt x="29" y="653"/>
                  </a:lnTo>
                  <a:lnTo>
                    <a:pt x="29" y="683"/>
                  </a:lnTo>
                  <a:lnTo>
                    <a:pt x="29" y="70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61"/>
                  </a:lnTo>
                  <a:lnTo>
                    <a:pt x="19" y="770"/>
                  </a:lnTo>
                  <a:lnTo>
                    <a:pt x="29" y="78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3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87" y="975"/>
                  </a:lnTo>
                  <a:lnTo>
                    <a:pt x="78" y="985"/>
                  </a:lnTo>
                  <a:lnTo>
                    <a:pt x="7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7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3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75" y="1190"/>
                  </a:lnTo>
                  <a:lnTo>
                    <a:pt x="175" y="120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3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7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3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39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8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31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67" name="Group 303"/>
            <p:cNvGrpSpPr>
              <a:grpSpLocks/>
            </p:cNvGrpSpPr>
            <p:nvPr/>
          </p:nvGrpSpPr>
          <p:grpSpPr bwMode="auto">
            <a:xfrm>
              <a:off x="7237" y="2059"/>
              <a:ext cx="1112" cy="1883"/>
              <a:chOff x="7238" y="2059"/>
              <a:chExt cx="1112" cy="1883"/>
            </a:xfrm>
          </p:grpSpPr>
          <p:sp>
            <p:nvSpPr>
              <p:cNvPr id="748" name="Freeform 305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331 w 1112"/>
                  <a:gd name="T125" fmla="*/ 1590 h 188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12"/>
                  <a:gd name="T190" fmla="*/ 0 h 1883"/>
                  <a:gd name="T191" fmla="*/ 1112 w 1112"/>
                  <a:gd name="T192" fmla="*/ 1883 h 188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  <a:lnTo>
                      <a:pt x="331" y="1590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9" name="Freeform 304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12"/>
                  <a:gd name="T187" fmla="*/ 0 h 1883"/>
                  <a:gd name="T188" fmla="*/ 1112 w 1112"/>
                  <a:gd name="T189" fmla="*/ 1883 h 188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68" name="Freeform 302"/>
            <p:cNvSpPr>
              <a:spLocks/>
            </p:cNvSpPr>
            <p:nvPr/>
          </p:nvSpPr>
          <p:spPr bwMode="auto">
            <a:xfrm>
              <a:off x="7716" y="3006"/>
              <a:ext cx="29" cy="28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69" name="Group 299"/>
            <p:cNvGrpSpPr>
              <a:grpSpLocks/>
            </p:cNvGrpSpPr>
            <p:nvPr/>
          </p:nvGrpSpPr>
          <p:grpSpPr bwMode="auto">
            <a:xfrm>
              <a:off x="7715" y="3005"/>
              <a:ext cx="29" cy="29"/>
              <a:chOff x="7716" y="3005"/>
              <a:chExt cx="29" cy="29"/>
            </a:xfrm>
          </p:grpSpPr>
          <p:sp>
            <p:nvSpPr>
              <p:cNvPr id="746" name="Freeform 301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7" name="Freeform 300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70" name="Freeform 298"/>
            <p:cNvSpPr>
              <a:spLocks/>
            </p:cNvSpPr>
            <p:nvPr/>
          </p:nvSpPr>
          <p:spPr bwMode="auto">
            <a:xfrm>
              <a:off x="7754" y="2978"/>
              <a:ext cx="58" cy="47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2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2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71" name="Group 295"/>
            <p:cNvGrpSpPr>
              <a:grpSpLocks/>
            </p:cNvGrpSpPr>
            <p:nvPr/>
          </p:nvGrpSpPr>
          <p:grpSpPr bwMode="auto">
            <a:xfrm>
              <a:off x="7754" y="2976"/>
              <a:ext cx="58" cy="49"/>
              <a:chOff x="7755" y="2976"/>
              <a:chExt cx="58" cy="49"/>
            </a:xfrm>
          </p:grpSpPr>
          <p:sp>
            <p:nvSpPr>
              <p:cNvPr id="744" name="Freeform 297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5" name="Freeform 296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72" name="Freeform 294"/>
            <p:cNvSpPr>
              <a:spLocks/>
            </p:cNvSpPr>
            <p:nvPr/>
          </p:nvSpPr>
          <p:spPr bwMode="auto">
            <a:xfrm>
              <a:off x="8083" y="2858"/>
              <a:ext cx="646" cy="818"/>
            </a:xfrm>
            <a:custGeom>
              <a:avLst/>
              <a:gdLst>
                <a:gd name="T0" fmla="*/ 127 w 644"/>
                <a:gd name="T1" fmla="*/ 273 h 819"/>
                <a:gd name="T2" fmla="*/ 147 w 644"/>
                <a:gd name="T3" fmla="*/ 292 h 819"/>
                <a:gd name="T4" fmla="*/ 176 w 644"/>
                <a:gd name="T5" fmla="*/ 302 h 819"/>
                <a:gd name="T6" fmla="*/ 215 w 644"/>
                <a:gd name="T7" fmla="*/ 331 h 819"/>
                <a:gd name="T8" fmla="*/ 234 w 644"/>
                <a:gd name="T9" fmla="*/ 370 h 819"/>
                <a:gd name="T10" fmla="*/ 293 w 644"/>
                <a:gd name="T11" fmla="*/ 439 h 819"/>
                <a:gd name="T12" fmla="*/ 332 w 644"/>
                <a:gd name="T13" fmla="*/ 507 h 819"/>
                <a:gd name="T14" fmla="*/ 351 w 644"/>
                <a:gd name="T15" fmla="*/ 566 h 819"/>
                <a:gd name="T16" fmla="*/ 410 w 644"/>
                <a:gd name="T17" fmla="*/ 595 h 819"/>
                <a:gd name="T18" fmla="*/ 439 w 644"/>
                <a:gd name="T19" fmla="*/ 624 h 819"/>
                <a:gd name="T20" fmla="*/ 459 w 644"/>
                <a:gd name="T21" fmla="*/ 683 h 819"/>
                <a:gd name="T22" fmla="*/ 488 w 644"/>
                <a:gd name="T23" fmla="*/ 722 h 819"/>
                <a:gd name="T24" fmla="*/ 527 w 644"/>
                <a:gd name="T25" fmla="*/ 780 h 819"/>
                <a:gd name="T26" fmla="*/ 556 w 644"/>
                <a:gd name="T27" fmla="*/ 810 h 819"/>
                <a:gd name="T28" fmla="*/ 566 w 644"/>
                <a:gd name="T29" fmla="*/ 800 h 819"/>
                <a:gd name="T30" fmla="*/ 547 w 644"/>
                <a:gd name="T31" fmla="*/ 741 h 819"/>
                <a:gd name="T32" fmla="*/ 547 w 644"/>
                <a:gd name="T33" fmla="*/ 712 h 819"/>
                <a:gd name="T34" fmla="*/ 605 w 644"/>
                <a:gd name="T35" fmla="*/ 702 h 819"/>
                <a:gd name="T36" fmla="*/ 634 w 644"/>
                <a:gd name="T37" fmla="*/ 731 h 819"/>
                <a:gd name="T38" fmla="*/ 644 w 644"/>
                <a:gd name="T39" fmla="*/ 722 h 819"/>
                <a:gd name="T40" fmla="*/ 625 w 644"/>
                <a:gd name="T41" fmla="*/ 692 h 819"/>
                <a:gd name="T42" fmla="*/ 595 w 644"/>
                <a:gd name="T43" fmla="*/ 663 h 819"/>
                <a:gd name="T44" fmla="*/ 576 w 644"/>
                <a:gd name="T45" fmla="*/ 673 h 819"/>
                <a:gd name="T46" fmla="*/ 537 w 644"/>
                <a:gd name="T47" fmla="*/ 653 h 819"/>
                <a:gd name="T48" fmla="*/ 478 w 644"/>
                <a:gd name="T49" fmla="*/ 624 h 819"/>
                <a:gd name="T50" fmla="*/ 429 w 644"/>
                <a:gd name="T51" fmla="*/ 546 h 819"/>
                <a:gd name="T52" fmla="*/ 410 w 644"/>
                <a:gd name="T53" fmla="*/ 488 h 819"/>
                <a:gd name="T54" fmla="*/ 410 w 644"/>
                <a:gd name="T55" fmla="*/ 449 h 819"/>
                <a:gd name="T56" fmla="*/ 449 w 644"/>
                <a:gd name="T57" fmla="*/ 429 h 819"/>
                <a:gd name="T58" fmla="*/ 527 w 644"/>
                <a:gd name="T59" fmla="*/ 439 h 819"/>
                <a:gd name="T60" fmla="*/ 527 w 644"/>
                <a:gd name="T61" fmla="*/ 429 h 819"/>
                <a:gd name="T62" fmla="*/ 488 w 644"/>
                <a:gd name="T63" fmla="*/ 419 h 819"/>
                <a:gd name="T64" fmla="*/ 449 w 644"/>
                <a:gd name="T65" fmla="*/ 380 h 819"/>
                <a:gd name="T66" fmla="*/ 429 w 644"/>
                <a:gd name="T67" fmla="*/ 361 h 819"/>
                <a:gd name="T68" fmla="*/ 390 w 644"/>
                <a:gd name="T69" fmla="*/ 341 h 819"/>
                <a:gd name="T70" fmla="*/ 322 w 644"/>
                <a:gd name="T71" fmla="*/ 292 h 819"/>
                <a:gd name="T72" fmla="*/ 283 w 644"/>
                <a:gd name="T73" fmla="*/ 273 h 819"/>
                <a:gd name="T74" fmla="*/ 254 w 644"/>
                <a:gd name="T75" fmla="*/ 244 h 819"/>
                <a:gd name="T76" fmla="*/ 234 w 644"/>
                <a:gd name="T77" fmla="*/ 234 h 819"/>
                <a:gd name="T78" fmla="*/ 225 w 644"/>
                <a:gd name="T79" fmla="*/ 214 h 819"/>
                <a:gd name="T80" fmla="*/ 205 w 644"/>
                <a:gd name="T81" fmla="*/ 205 h 819"/>
                <a:gd name="T82" fmla="*/ 195 w 644"/>
                <a:gd name="T83" fmla="*/ 185 h 819"/>
                <a:gd name="T84" fmla="*/ 176 w 644"/>
                <a:gd name="T85" fmla="*/ 156 h 819"/>
                <a:gd name="T86" fmla="*/ 186 w 644"/>
                <a:gd name="T87" fmla="*/ 156 h 819"/>
                <a:gd name="T88" fmla="*/ 147 w 644"/>
                <a:gd name="T89" fmla="*/ 117 h 819"/>
                <a:gd name="T90" fmla="*/ 117 w 644"/>
                <a:gd name="T91" fmla="*/ 97 h 819"/>
                <a:gd name="T92" fmla="*/ 137 w 644"/>
                <a:gd name="T93" fmla="*/ 97 h 819"/>
                <a:gd name="T94" fmla="*/ 88 w 644"/>
                <a:gd name="T95" fmla="*/ 78 h 819"/>
                <a:gd name="T96" fmla="*/ 59 w 644"/>
                <a:gd name="T97" fmla="*/ 39 h 819"/>
                <a:gd name="T98" fmla="*/ 30 w 644"/>
                <a:gd name="T99" fmla="*/ 19 h 819"/>
                <a:gd name="T100" fmla="*/ 10 w 644"/>
                <a:gd name="T101" fmla="*/ 19 h 819"/>
                <a:gd name="T102" fmla="*/ 0 w 644"/>
                <a:gd name="T103" fmla="*/ 39 h 819"/>
                <a:gd name="T104" fmla="*/ 30 w 644"/>
                <a:gd name="T105" fmla="*/ 58 h 819"/>
                <a:gd name="T106" fmla="*/ 59 w 644"/>
                <a:gd name="T107" fmla="*/ 68 h 819"/>
                <a:gd name="T108" fmla="*/ 69 w 644"/>
                <a:gd name="T109" fmla="*/ 78 h 819"/>
                <a:gd name="T110" fmla="*/ 69 w 644"/>
                <a:gd name="T111" fmla="*/ 88 h 819"/>
                <a:gd name="T112" fmla="*/ 59 w 644"/>
                <a:gd name="T113" fmla="*/ 117 h 819"/>
                <a:gd name="T114" fmla="*/ 39 w 644"/>
                <a:gd name="T115" fmla="*/ 117 h 819"/>
                <a:gd name="T116" fmla="*/ 49 w 644"/>
                <a:gd name="T117" fmla="*/ 156 h 819"/>
                <a:gd name="T118" fmla="*/ 78 w 644"/>
                <a:gd name="T119" fmla="*/ 185 h 819"/>
                <a:gd name="T120" fmla="*/ 98 w 644"/>
                <a:gd name="T121" fmla="*/ 234 h 81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4"/>
                <a:gd name="T184" fmla="*/ 0 h 819"/>
                <a:gd name="T185" fmla="*/ 644 w 644"/>
                <a:gd name="T186" fmla="*/ 819 h 81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4" h="819">
                  <a:moveTo>
                    <a:pt x="117" y="253"/>
                  </a:moveTo>
                  <a:lnTo>
                    <a:pt x="117" y="273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83"/>
                  </a:lnTo>
                  <a:lnTo>
                    <a:pt x="147" y="292"/>
                  </a:lnTo>
                  <a:lnTo>
                    <a:pt x="137" y="292"/>
                  </a:lnTo>
                  <a:lnTo>
                    <a:pt x="166" y="302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95" y="322"/>
                  </a:lnTo>
                  <a:lnTo>
                    <a:pt x="215" y="331"/>
                  </a:lnTo>
                  <a:lnTo>
                    <a:pt x="225" y="341"/>
                  </a:lnTo>
                  <a:lnTo>
                    <a:pt x="225" y="370"/>
                  </a:lnTo>
                  <a:lnTo>
                    <a:pt x="234" y="370"/>
                  </a:lnTo>
                  <a:lnTo>
                    <a:pt x="254" y="400"/>
                  </a:lnTo>
                  <a:lnTo>
                    <a:pt x="273" y="419"/>
                  </a:lnTo>
                  <a:lnTo>
                    <a:pt x="293" y="439"/>
                  </a:lnTo>
                  <a:lnTo>
                    <a:pt x="312" y="458"/>
                  </a:lnTo>
                  <a:lnTo>
                    <a:pt x="322" y="488"/>
                  </a:lnTo>
                  <a:lnTo>
                    <a:pt x="332" y="507"/>
                  </a:lnTo>
                  <a:lnTo>
                    <a:pt x="342" y="517"/>
                  </a:lnTo>
                  <a:lnTo>
                    <a:pt x="351" y="546"/>
                  </a:lnTo>
                  <a:lnTo>
                    <a:pt x="351" y="566"/>
                  </a:lnTo>
                  <a:lnTo>
                    <a:pt x="371" y="585"/>
                  </a:lnTo>
                  <a:lnTo>
                    <a:pt x="390" y="585"/>
                  </a:lnTo>
                  <a:lnTo>
                    <a:pt x="410" y="595"/>
                  </a:lnTo>
                  <a:lnTo>
                    <a:pt x="420" y="605"/>
                  </a:lnTo>
                  <a:lnTo>
                    <a:pt x="429" y="605"/>
                  </a:lnTo>
                  <a:lnTo>
                    <a:pt x="439" y="624"/>
                  </a:lnTo>
                  <a:lnTo>
                    <a:pt x="439" y="644"/>
                  </a:lnTo>
                  <a:lnTo>
                    <a:pt x="449" y="673"/>
                  </a:lnTo>
                  <a:lnTo>
                    <a:pt x="459" y="683"/>
                  </a:lnTo>
                  <a:lnTo>
                    <a:pt x="468" y="692"/>
                  </a:lnTo>
                  <a:lnTo>
                    <a:pt x="478" y="702"/>
                  </a:lnTo>
                  <a:lnTo>
                    <a:pt x="488" y="722"/>
                  </a:lnTo>
                  <a:lnTo>
                    <a:pt x="488" y="751"/>
                  </a:lnTo>
                  <a:lnTo>
                    <a:pt x="508" y="771"/>
                  </a:lnTo>
                  <a:lnTo>
                    <a:pt x="527" y="780"/>
                  </a:lnTo>
                  <a:lnTo>
                    <a:pt x="537" y="800"/>
                  </a:lnTo>
                  <a:lnTo>
                    <a:pt x="547" y="810"/>
                  </a:lnTo>
                  <a:lnTo>
                    <a:pt x="556" y="810"/>
                  </a:lnTo>
                  <a:lnTo>
                    <a:pt x="576" y="819"/>
                  </a:lnTo>
                  <a:lnTo>
                    <a:pt x="576" y="810"/>
                  </a:lnTo>
                  <a:lnTo>
                    <a:pt x="566" y="800"/>
                  </a:lnTo>
                  <a:lnTo>
                    <a:pt x="566" y="780"/>
                  </a:lnTo>
                  <a:lnTo>
                    <a:pt x="556" y="771"/>
                  </a:lnTo>
                  <a:lnTo>
                    <a:pt x="547" y="741"/>
                  </a:lnTo>
                  <a:lnTo>
                    <a:pt x="537" y="731"/>
                  </a:lnTo>
                  <a:lnTo>
                    <a:pt x="547" y="712"/>
                  </a:lnTo>
                  <a:lnTo>
                    <a:pt x="566" y="712"/>
                  </a:lnTo>
                  <a:lnTo>
                    <a:pt x="586" y="702"/>
                  </a:lnTo>
                  <a:lnTo>
                    <a:pt x="605" y="702"/>
                  </a:lnTo>
                  <a:lnTo>
                    <a:pt x="615" y="712"/>
                  </a:lnTo>
                  <a:lnTo>
                    <a:pt x="634" y="722"/>
                  </a:lnTo>
                  <a:lnTo>
                    <a:pt x="634" y="731"/>
                  </a:lnTo>
                  <a:lnTo>
                    <a:pt x="644" y="741"/>
                  </a:lnTo>
                  <a:lnTo>
                    <a:pt x="644" y="731"/>
                  </a:lnTo>
                  <a:lnTo>
                    <a:pt x="644" y="722"/>
                  </a:lnTo>
                  <a:lnTo>
                    <a:pt x="644" y="702"/>
                  </a:lnTo>
                  <a:lnTo>
                    <a:pt x="634" y="702"/>
                  </a:lnTo>
                  <a:lnTo>
                    <a:pt x="625" y="692"/>
                  </a:lnTo>
                  <a:lnTo>
                    <a:pt x="615" y="683"/>
                  </a:lnTo>
                  <a:lnTo>
                    <a:pt x="605" y="673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76" y="673"/>
                  </a:lnTo>
                  <a:lnTo>
                    <a:pt x="566" y="673"/>
                  </a:lnTo>
                  <a:lnTo>
                    <a:pt x="556" y="653"/>
                  </a:lnTo>
                  <a:lnTo>
                    <a:pt x="537" y="653"/>
                  </a:lnTo>
                  <a:lnTo>
                    <a:pt x="517" y="644"/>
                  </a:lnTo>
                  <a:lnTo>
                    <a:pt x="488" y="644"/>
                  </a:lnTo>
                  <a:lnTo>
                    <a:pt x="478" y="624"/>
                  </a:lnTo>
                  <a:lnTo>
                    <a:pt x="459" y="595"/>
                  </a:lnTo>
                  <a:lnTo>
                    <a:pt x="439" y="566"/>
                  </a:lnTo>
                  <a:lnTo>
                    <a:pt x="429" y="546"/>
                  </a:lnTo>
                  <a:lnTo>
                    <a:pt x="429" y="517"/>
                  </a:lnTo>
                  <a:lnTo>
                    <a:pt x="420" y="497"/>
                  </a:lnTo>
                  <a:lnTo>
                    <a:pt x="410" y="488"/>
                  </a:lnTo>
                  <a:lnTo>
                    <a:pt x="400" y="478"/>
                  </a:lnTo>
                  <a:lnTo>
                    <a:pt x="400" y="468"/>
                  </a:lnTo>
                  <a:lnTo>
                    <a:pt x="410" y="449"/>
                  </a:lnTo>
                  <a:lnTo>
                    <a:pt x="410" y="439"/>
                  </a:lnTo>
                  <a:lnTo>
                    <a:pt x="429" y="429"/>
                  </a:lnTo>
                  <a:lnTo>
                    <a:pt x="449" y="429"/>
                  </a:lnTo>
                  <a:lnTo>
                    <a:pt x="478" y="429"/>
                  </a:lnTo>
                  <a:lnTo>
                    <a:pt x="517" y="429"/>
                  </a:lnTo>
                  <a:lnTo>
                    <a:pt x="527" y="439"/>
                  </a:lnTo>
                  <a:lnTo>
                    <a:pt x="537" y="449"/>
                  </a:lnTo>
                  <a:lnTo>
                    <a:pt x="537" y="439"/>
                  </a:lnTo>
                  <a:lnTo>
                    <a:pt x="527" y="429"/>
                  </a:lnTo>
                  <a:lnTo>
                    <a:pt x="517" y="419"/>
                  </a:lnTo>
                  <a:lnTo>
                    <a:pt x="498" y="419"/>
                  </a:lnTo>
                  <a:lnTo>
                    <a:pt x="488" y="419"/>
                  </a:lnTo>
                  <a:lnTo>
                    <a:pt x="478" y="410"/>
                  </a:lnTo>
                  <a:lnTo>
                    <a:pt x="468" y="400"/>
                  </a:lnTo>
                  <a:lnTo>
                    <a:pt x="449" y="380"/>
                  </a:lnTo>
                  <a:lnTo>
                    <a:pt x="439" y="380"/>
                  </a:lnTo>
                  <a:lnTo>
                    <a:pt x="429" y="370"/>
                  </a:lnTo>
                  <a:lnTo>
                    <a:pt x="429" y="361"/>
                  </a:lnTo>
                  <a:lnTo>
                    <a:pt x="410" y="361"/>
                  </a:lnTo>
                  <a:lnTo>
                    <a:pt x="400" y="351"/>
                  </a:lnTo>
                  <a:lnTo>
                    <a:pt x="390" y="341"/>
                  </a:lnTo>
                  <a:lnTo>
                    <a:pt x="371" y="331"/>
                  </a:lnTo>
                  <a:lnTo>
                    <a:pt x="342" y="312"/>
                  </a:lnTo>
                  <a:lnTo>
                    <a:pt x="322" y="292"/>
                  </a:lnTo>
                  <a:lnTo>
                    <a:pt x="293" y="273"/>
                  </a:lnTo>
                  <a:lnTo>
                    <a:pt x="283" y="263"/>
                  </a:lnTo>
                  <a:lnTo>
                    <a:pt x="283" y="273"/>
                  </a:lnTo>
                  <a:lnTo>
                    <a:pt x="273" y="263"/>
                  </a:lnTo>
                  <a:lnTo>
                    <a:pt x="273" y="253"/>
                  </a:lnTo>
                  <a:lnTo>
                    <a:pt x="254" y="244"/>
                  </a:lnTo>
                  <a:lnTo>
                    <a:pt x="244" y="244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25" y="214"/>
                  </a:lnTo>
                  <a:lnTo>
                    <a:pt x="215" y="21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195" y="205"/>
                  </a:lnTo>
                  <a:lnTo>
                    <a:pt x="195" y="195"/>
                  </a:lnTo>
                  <a:lnTo>
                    <a:pt x="195" y="185"/>
                  </a:lnTo>
                  <a:lnTo>
                    <a:pt x="186" y="185"/>
                  </a:lnTo>
                  <a:lnTo>
                    <a:pt x="176" y="185"/>
                  </a:lnTo>
                  <a:lnTo>
                    <a:pt x="176" y="156"/>
                  </a:lnTo>
                  <a:lnTo>
                    <a:pt x="186" y="166"/>
                  </a:lnTo>
                  <a:lnTo>
                    <a:pt x="186" y="156"/>
                  </a:lnTo>
                  <a:lnTo>
                    <a:pt x="176" y="146"/>
                  </a:lnTo>
                  <a:lnTo>
                    <a:pt x="166" y="127"/>
                  </a:lnTo>
                  <a:lnTo>
                    <a:pt x="147" y="117"/>
                  </a:lnTo>
                  <a:lnTo>
                    <a:pt x="127" y="117"/>
                  </a:lnTo>
                  <a:lnTo>
                    <a:pt x="117" y="107"/>
                  </a:lnTo>
                  <a:lnTo>
                    <a:pt x="117" y="97"/>
                  </a:lnTo>
                  <a:lnTo>
                    <a:pt x="117" y="88"/>
                  </a:lnTo>
                  <a:lnTo>
                    <a:pt x="127" y="97"/>
                  </a:lnTo>
                  <a:lnTo>
                    <a:pt x="137" y="97"/>
                  </a:lnTo>
                  <a:lnTo>
                    <a:pt x="127" y="88"/>
                  </a:lnTo>
                  <a:lnTo>
                    <a:pt x="108" y="78"/>
                  </a:lnTo>
                  <a:lnTo>
                    <a:pt x="88" y="78"/>
                  </a:lnTo>
                  <a:lnTo>
                    <a:pt x="88" y="68"/>
                  </a:lnTo>
                  <a:lnTo>
                    <a:pt x="69" y="49"/>
                  </a:lnTo>
                  <a:lnTo>
                    <a:pt x="59" y="39"/>
                  </a:lnTo>
                  <a:lnTo>
                    <a:pt x="59" y="19"/>
                  </a:lnTo>
                  <a:lnTo>
                    <a:pt x="49" y="19"/>
                  </a:lnTo>
                  <a:lnTo>
                    <a:pt x="30" y="19"/>
                  </a:lnTo>
                  <a:lnTo>
                    <a:pt x="2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10" y="2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58"/>
                  </a:lnTo>
                  <a:lnTo>
                    <a:pt x="49" y="58"/>
                  </a:lnTo>
                  <a:lnTo>
                    <a:pt x="59" y="58"/>
                  </a:lnTo>
                  <a:lnTo>
                    <a:pt x="59" y="68"/>
                  </a:lnTo>
                  <a:lnTo>
                    <a:pt x="69" y="68"/>
                  </a:lnTo>
                  <a:lnTo>
                    <a:pt x="69" y="78"/>
                  </a:lnTo>
                  <a:lnTo>
                    <a:pt x="59" y="88"/>
                  </a:lnTo>
                  <a:lnTo>
                    <a:pt x="69" y="88"/>
                  </a:lnTo>
                  <a:lnTo>
                    <a:pt x="69" y="97"/>
                  </a:lnTo>
                  <a:lnTo>
                    <a:pt x="69" y="117"/>
                  </a:lnTo>
                  <a:lnTo>
                    <a:pt x="59" y="117"/>
                  </a:lnTo>
                  <a:lnTo>
                    <a:pt x="49" y="107"/>
                  </a:lnTo>
                  <a:lnTo>
                    <a:pt x="39" y="107"/>
                  </a:lnTo>
                  <a:lnTo>
                    <a:pt x="39" y="117"/>
                  </a:lnTo>
                  <a:lnTo>
                    <a:pt x="30" y="127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69" y="166"/>
                  </a:lnTo>
                  <a:lnTo>
                    <a:pt x="69" y="17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8" y="234"/>
                  </a:lnTo>
                  <a:lnTo>
                    <a:pt x="108" y="253"/>
                  </a:lnTo>
                  <a:lnTo>
                    <a:pt x="117" y="25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73" name="Group 291"/>
            <p:cNvGrpSpPr>
              <a:grpSpLocks/>
            </p:cNvGrpSpPr>
            <p:nvPr/>
          </p:nvGrpSpPr>
          <p:grpSpPr bwMode="auto">
            <a:xfrm>
              <a:off x="8085" y="2859"/>
              <a:ext cx="644" cy="819"/>
              <a:chOff x="8086" y="2859"/>
              <a:chExt cx="644" cy="819"/>
            </a:xfrm>
          </p:grpSpPr>
          <p:sp>
            <p:nvSpPr>
              <p:cNvPr id="742" name="Freeform 293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3" name="Freeform 292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74" name="Freeform 290"/>
            <p:cNvSpPr>
              <a:spLocks/>
            </p:cNvSpPr>
            <p:nvPr/>
          </p:nvSpPr>
          <p:spPr bwMode="auto">
            <a:xfrm>
              <a:off x="9109" y="2527"/>
              <a:ext cx="22" cy="28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75" name="Group 287"/>
            <p:cNvGrpSpPr>
              <a:grpSpLocks/>
            </p:cNvGrpSpPr>
            <p:nvPr/>
          </p:nvGrpSpPr>
          <p:grpSpPr bwMode="auto">
            <a:xfrm>
              <a:off x="9109" y="2527"/>
              <a:ext cx="20" cy="29"/>
              <a:chOff x="9110" y="2527"/>
              <a:chExt cx="20" cy="29"/>
            </a:xfrm>
          </p:grpSpPr>
          <p:sp>
            <p:nvSpPr>
              <p:cNvPr id="740" name="Freeform 289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1" name="Freeform 288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76" name="Freeform 286"/>
            <p:cNvSpPr>
              <a:spLocks/>
            </p:cNvSpPr>
            <p:nvPr/>
          </p:nvSpPr>
          <p:spPr bwMode="auto">
            <a:xfrm>
              <a:off x="1532" y="1436"/>
              <a:ext cx="518" cy="378"/>
            </a:xfrm>
            <a:custGeom>
              <a:avLst/>
              <a:gdLst>
                <a:gd name="T0" fmla="*/ 478 w 517"/>
                <a:gd name="T1" fmla="*/ 244 h 381"/>
                <a:gd name="T2" fmla="*/ 449 w 517"/>
                <a:gd name="T3" fmla="*/ 244 h 381"/>
                <a:gd name="T4" fmla="*/ 439 w 517"/>
                <a:gd name="T5" fmla="*/ 283 h 381"/>
                <a:gd name="T6" fmla="*/ 420 w 517"/>
                <a:gd name="T7" fmla="*/ 322 h 381"/>
                <a:gd name="T8" fmla="*/ 420 w 517"/>
                <a:gd name="T9" fmla="*/ 342 h 381"/>
                <a:gd name="T10" fmla="*/ 391 w 517"/>
                <a:gd name="T11" fmla="*/ 361 h 381"/>
                <a:gd name="T12" fmla="*/ 361 w 517"/>
                <a:gd name="T13" fmla="*/ 361 h 381"/>
                <a:gd name="T14" fmla="*/ 361 w 517"/>
                <a:gd name="T15" fmla="*/ 342 h 381"/>
                <a:gd name="T16" fmla="*/ 342 w 517"/>
                <a:gd name="T17" fmla="*/ 322 h 381"/>
                <a:gd name="T18" fmla="*/ 322 w 517"/>
                <a:gd name="T19" fmla="*/ 332 h 381"/>
                <a:gd name="T20" fmla="*/ 303 w 517"/>
                <a:gd name="T21" fmla="*/ 332 h 381"/>
                <a:gd name="T22" fmla="*/ 293 w 517"/>
                <a:gd name="T23" fmla="*/ 312 h 381"/>
                <a:gd name="T24" fmla="*/ 235 w 517"/>
                <a:gd name="T25" fmla="*/ 293 h 381"/>
                <a:gd name="T26" fmla="*/ 235 w 517"/>
                <a:gd name="T27" fmla="*/ 254 h 381"/>
                <a:gd name="T28" fmla="*/ 195 w 517"/>
                <a:gd name="T29" fmla="*/ 264 h 381"/>
                <a:gd name="T30" fmla="*/ 166 w 517"/>
                <a:gd name="T31" fmla="*/ 264 h 381"/>
                <a:gd name="T32" fmla="*/ 147 w 517"/>
                <a:gd name="T33" fmla="*/ 244 h 381"/>
                <a:gd name="T34" fmla="*/ 147 w 517"/>
                <a:gd name="T35" fmla="*/ 205 h 381"/>
                <a:gd name="T36" fmla="*/ 117 w 517"/>
                <a:gd name="T37" fmla="*/ 205 h 381"/>
                <a:gd name="T38" fmla="*/ 59 w 517"/>
                <a:gd name="T39" fmla="*/ 176 h 381"/>
                <a:gd name="T40" fmla="*/ 10 w 517"/>
                <a:gd name="T41" fmla="*/ 108 h 381"/>
                <a:gd name="T42" fmla="*/ 30 w 517"/>
                <a:gd name="T43" fmla="*/ 88 h 381"/>
                <a:gd name="T44" fmla="*/ 59 w 517"/>
                <a:gd name="T45" fmla="*/ 69 h 381"/>
                <a:gd name="T46" fmla="*/ 78 w 517"/>
                <a:gd name="T47" fmla="*/ 49 h 381"/>
                <a:gd name="T48" fmla="*/ 88 w 517"/>
                <a:gd name="T49" fmla="*/ 20 h 381"/>
                <a:gd name="T50" fmla="*/ 98 w 517"/>
                <a:gd name="T51" fmla="*/ 0 h 381"/>
                <a:gd name="T52" fmla="*/ 127 w 517"/>
                <a:gd name="T53" fmla="*/ 0 h 381"/>
                <a:gd name="T54" fmla="*/ 147 w 517"/>
                <a:gd name="T55" fmla="*/ 10 h 381"/>
                <a:gd name="T56" fmla="*/ 156 w 517"/>
                <a:gd name="T57" fmla="*/ 10 h 381"/>
                <a:gd name="T58" fmla="*/ 186 w 517"/>
                <a:gd name="T59" fmla="*/ 30 h 381"/>
                <a:gd name="T60" fmla="*/ 205 w 517"/>
                <a:gd name="T61" fmla="*/ 39 h 381"/>
                <a:gd name="T62" fmla="*/ 235 w 517"/>
                <a:gd name="T63" fmla="*/ 49 h 381"/>
                <a:gd name="T64" fmla="*/ 244 w 517"/>
                <a:gd name="T65" fmla="*/ 78 h 381"/>
                <a:gd name="T66" fmla="*/ 293 w 517"/>
                <a:gd name="T67" fmla="*/ 69 h 381"/>
                <a:gd name="T68" fmla="*/ 313 w 517"/>
                <a:gd name="T69" fmla="*/ 69 h 381"/>
                <a:gd name="T70" fmla="*/ 332 w 517"/>
                <a:gd name="T71" fmla="*/ 49 h 381"/>
                <a:gd name="T72" fmla="*/ 352 w 517"/>
                <a:gd name="T73" fmla="*/ 98 h 381"/>
                <a:gd name="T74" fmla="*/ 371 w 517"/>
                <a:gd name="T75" fmla="*/ 108 h 381"/>
                <a:gd name="T76" fmla="*/ 400 w 517"/>
                <a:gd name="T77" fmla="*/ 117 h 381"/>
                <a:gd name="T78" fmla="*/ 459 w 517"/>
                <a:gd name="T79" fmla="*/ 166 h 381"/>
                <a:gd name="T80" fmla="*/ 488 w 517"/>
                <a:gd name="T81" fmla="*/ 166 h 381"/>
                <a:gd name="T82" fmla="*/ 517 w 517"/>
                <a:gd name="T83" fmla="*/ 186 h 381"/>
                <a:gd name="T84" fmla="*/ 508 w 517"/>
                <a:gd name="T85" fmla="*/ 215 h 381"/>
                <a:gd name="T86" fmla="*/ 469 w 517"/>
                <a:gd name="T87" fmla="*/ 234 h 38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17"/>
                <a:gd name="T133" fmla="*/ 0 h 381"/>
                <a:gd name="T134" fmla="*/ 517 w 517"/>
                <a:gd name="T135" fmla="*/ 381 h 38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17" h="381">
                  <a:moveTo>
                    <a:pt x="469" y="234"/>
                  </a:moveTo>
                  <a:lnTo>
                    <a:pt x="478" y="244"/>
                  </a:lnTo>
                  <a:lnTo>
                    <a:pt x="469" y="244"/>
                  </a:lnTo>
                  <a:lnTo>
                    <a:pt x="449" y="244"/>
                  </a:lnTo>
                  <a:lnTo>
                    <a:pt x="449" y="264"/>
                  </a:lnTo>
                  <a:lnTo>
                    <a:pt x="439" y="283"/>
                  </a:lnTo>
                  <a:lnTo>
                    <a:pt x="420" y="303"/>
                  </a:lnTo>
                  <a:lnTo>
                    <a:pt x="420" y="322"/>
                  </a:lnTo>
                  <a:lnTo>
                    <a:pt x="430" y="332"/>
                  </a:lnTo>
                  <a:lnTo>
                    <a:pt x="420" y="342"/>
                  </a:lnTo>
                  <a:lnTo>
                    <a:pt x="410" y="342"/>
                  </a:lnTo>
                  <a:lnTo>
                    <a:pt x="391" y="361"/>
                  </a:lnTo>
                  <a:lnTo>
                    <a:pt x="361" y="381"/>
                  </a:lnTo>
                  <a:lnTo>
                    <a:pt x="361" y="361"/>
                  </a:lnTo>
                  <a:lnTo>
                    <a:pt x="361" y="351"/>
                  </a:lnTo>
                  <a:lnTo>
                    <a:pt x="361" y="342"/>
                  </a:lnTo>
                  <a:lnTo>
                    <a:pt x="352" y="342"/>
                  </a:lnTo>
                  <a:lnTo>
                    <a:pt x="342" y="322"/>
                  </a:lnTo>
                  <a:lnTo>
                    <a:pt x="332" y="322"/>
                  </a:lnTo>
                  <a:lnTo>
                    <a:pt x="322" y="332"/>
                  </a:lnTo>
                  <a:lnTo>
                    <a:pt x="303" y="332"/>
                  </a:lnTo>
                  <a:lnTo>
                    <a:pt x="293" y="332"/>
                  </a:lnTo>
                  <a:lnTo>
                    <a:pt x="293" y="312"/>
                  </a:lnTo>
                  <a:lnTo>
                    <a:pt x="274" y="303"/>
                  </a:lnTo>
                  <a:lnTo>
                    <a:pt x="235" y="293"/>
                  </a:lnTo>
                  <a:lnTo>
                    <a:pt x="235" y="273"/>
                  </a:lnTo>
                  <a:lnTo>
                    <a:pt x="235" y="254"/>
                  </a:lnTo>
                  <a:lnTo>
                    <a:pt x="215" y="254"/>
                  </a:lnTo>
                  <a:lnTo>
                    <a:pt x="195" y="264"/>
                  </a:lnTo>
                  <a:lnTo>
                    <a:pt x="176" y="254"/>
                  </a:lnTo>
                  <a:lnTo>
                    <a:pt x="166" y="264"/>
                  </a:lnTo>
                  <a:lnTo>
                    <a:pt x="156" y="254"/>
                  </a:lnTo>
                  <a:lnTo>
                    <a:pt x="147" y="244"/>
                  </a:lnTo>
                  <a:lnTo>
                    <a:pt x="147" y="225"/>
                  </a:lnTo>
                  <a:lnTo>
                    <a:pt x="147" y="205"/>
                  </a:lnTo>
                  <a:lnTo>
                    <a:pt x="147" y="195"/>
                  </a:lnTo>
                  <a:lnTo>
                    <a:pt x="117" y="205"/>
                  </a:lnTo>
                  <a:lnTo>
                    <a:pt x="88" y="195"/>
                  </a:lnTo>
                  <a:lnTo>
                    <a:pt x="59" y="176"/>
                  </a:lnTo>
                  <a:lnTo>
                    <a:pt x="30" y="147"/>
                  </a:lnTo>
                  <a:lnTo>
                    <a:pt x="10" y="108"/>
                  </a:lnTo>
                  <a:lnTo>
                    <a:pt x="0" y="98"/>
                  </a:lnTo>
                  <a:lnTo>
                    <a:pt x="30" y="88"/>
                  </a:lnTo>
                  <a:lnTo>
                    <a:pt x="49" y="78"/>
                  </a:lnTo>
                  <a:lnTo>
                    <a:pt x="59" y="69"/>
                  </a:lnTo>
                  <a:lnTo>
                    <a:pt x="69" y="49"/>
                  </a:lnTo>
                  <a:lnTo>
                    <a:pt x="78" y="49"/>
                  </a:lnTo>
                  <a:lnTo>
                    <a:pt x="8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8" y="0"/>
                  </a:lnTo>
                  <a:lnTo>
                    <a:pt x="108" y="0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7" y="10"/>
                  </a:lnTo>
                  <a:lnTo>
                    <a:pt x="147" y="20"/>
                  </a:lnTo>
                  <a:lnTo>
                    <a:pt x="156" y="10"/>
                  </a:lnTo>
                  <a:lnTo>
                    <a:pt x="166" y="10"/>
                  </a:lnTo>
                  <a:lnTo>
                    <a:pt x="186" y="30"/>
                  </a:lnTo>
                  <a:lnTo>
                    <a:pt x="205" y="30"/>
                  </a:lnTo>
                  <a:lnTo>
                    <a:pt x="205" y="39"/>
                  </a:lnTo>
                  <a:lnTo>
                    <a:pt x="205" y="49"/>
                  </a:lnTo>
                  <a:lnTo>
                    <a:pt x="235" y="49"/>
                  </a:lnTo>
                  <a:lnTo>
                    <a:pt x="244" y="59"/>
                  </a:lnTo>
                  <a:lnTo>
                    <a:pt x="244" y="78"/>
                  </a:lnTo>
                  <a:lnTo>
                    <a:pt x="264" y="69"/>
                  </a:lnTo>
                  <a:lnTo>
                    <a:pt x="293" y="69"/>
                  </a:lnTo>
                  <a:lnTo>
                    <a:pt x="313" y="69"/>
                  </a:lnTo>
                  <a:lnTo>
                    <a:pt x="322" y="59"/>
                  </a:lnTo>
                  <a:lnTo>
                    <a:pt x="332" y="49"/>
                  </a:lnTo>
                  <a:lnTo>
                    <a:pt x="342" y="59"/>
                  </a:lnTo>
                  <a:lnTo>
                    <a:pt x="352" y="98"/>
                  </a:lnTo>
                  <a:lnTo>
                    <a:pt x="361" y="108"/>
                  </a:lnTo>
                  <a:lnTo>
                    <a:pt x="371" y="108"/>
                  </a:lnTo>
                  <a:lnTo>
                    <a:pt x="391" y="117"/>
                  </a:lnTo>
                  <a:lnTo>
                    <a:pt x="400" y="117"/>
                  </a:lnTo>
                  <a:lnTo>
                    <a:pt x="430" y="147"/>
                  </a:lnTo>
                  <a:lnTo>
                    <a:pt x="459" y="166"/>
                  </a:lnTo>
                  <a:lnTo>
                    <a:pt x="469" y="166"/>
                  </a:lnTo>
                  <a:lnTo>
                    <a:pt x="488" y="166"/>
                  </a:lnTo>
                  <a:lnTo>
                    <a:pt x="498" y="166"/>
                  </a:lnTo>
                  <a:lnTo>
                    <a:pt x="517" y="186"/>
                  </a:lnTo>
                  <a:lnTo>
                    <a:pt x="508" y="205"/>
                  </a:lnTo>
                  <a:lnTo>
                    <a:pt x="508" y="215"/>
                  </a:lnTo>
                  <a:lnTo>
                    <a:pt x="488" y="225"/>
                  </a:lnTo>
                  <a:lnTo>
                    <a:pt x="469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7" name="Freeform 285"/>
            <p:cNvSpPr>
              <a:spLocks/>
            </p:cNvSpPr>
            <p:nvPr/>
          </p:nvSpPr>
          <p:spPr bwMode="auto">
            <a:xfrm>
              <a:off x="5616" y="905"/>
              <a:ext cx="2196" cy="2374"/>
            </a:xfrm>
            <a:custGeom>
              <a:avLst/>
              <a:gdLst>
                <a:gd name="T0" fmla="*/ 878 w 2195"/>
                <a:gd name="T1" fmla="*/ 2186 h 2371"/>
                <a:gd name="T2" fmla="*/ 761 w 2195"/>
                <a:gd name="T3" fmla="*/ 2098 h 2371"/>
                <a:gd name="T4" fmla="*/ 615 w 2195"/>
                <a:gd name="T5" fmla="*/ 2059 h 2371"/>
                <a:gd name="T6" fmla="*/ 488 w 2195"/>
                <a:gd name="T7" fmla="*/ 2186 h 2371"/>
                <a:gd name="T8" fmla="*/ 303 w 2195"/>
                <a:gd name="T9" fmla="*/ 2205 h 2371"/>
                <a:gd name="T10" fmla="*/ 293 w 2195"/>
                <a:gd name="T11" fmla="*/ 1991 h 2371"/>
                <a:gd name="T12" fmla="*/ 254 w 2195"/>
                <a:gd name="T13" fmla="*/ 1844 h 2371"/>
                <a:gd name="T14" fmla="*/ 186 w 2195"/>
                <a:gd name="T15" fmla="*/ 1688 h 2371"/>
                <a:gd name="T16" fmla="*/ 30 w 2195"/>
                <a:gd name="T17" fmla="*/ 1649 h 2371"/>
                <a:gd name="T18" fmla="*/ 39 w 2195"/>
                <a:gd name="T19" fmla="*/ 1415 h 2371"/>
                <a:gd name="T20" fmla="*/ 30 w 2195"/>
                <a:gd name="T21" fmla="*/ 1152 h 2371"/>
                <a:gd name="T22" fmla="*/ 127 w 2195"/>
                <a:gd name="T23" fmla="*/ 1015 h 2371"/>
                <a:gd name="T24" fmla="*/ 196 w 2195"/>
                <a:gd name="T25" fmla="*/ 839 h 2371"/>
                <a:gd name="T26" fmla="*/ 117 w 2195"/>
                <a:gd name="T27" fmla="*/ 605 h 2371"/>
                <a:gd name="T28" fmla="*/ 205 w 2195"/>
                <a:gd name="T29" fmla="*/ 596 h 2371"/>
                <a:gd name="T30" fmla="*/ 303 w 2195"/>
                <a:gd name="T31" fmla="*/ 566 h 2371"/>
                <a:gd name="T32" fmla="*/ 517 w 2195"/>
                <a:gd name="T33" fmla="*/ 586 h 2371"/>
                <a:gd name="T34" fmla="*/ 547 w 2195"/>
                <a:gd name="T35" fmla="*/ 488 h 2371"/>
                <a:gd name="T36" fmla="*/ 654 w 2195"/>
                <a:gd name="T37" fmla="*/ 478 h 2371"/>
                <a:gd name="T38" fmla="*/ 752 w 2195"/>
                <a:gd name="T39" fmla="*/ 488 h 2371"/>
                <a:gd name="T40" fmla="*/ 781 w 2195"/>
                <a:gd name="T41" fmla="*/ 537 h 2371"/>
                <a:gd name="T42" fmla="*/ 752 w 2195"/>
                <a:gd name="T43" fmla="*/ 576 h 2371"/>
                <a:gd name="T44" fmla="*/ 810 w 2195"/>
                <a:gd name="T45" fmla="*/ 596 h 2371"/>
                <a:gd name="T46" fmla="*/ 869 w 2195"/>
                <a:gd name="T47" fmla="*/ 674 h 2371"/>
                <a:gd name="T48" fmla="*/ 947 w 2195"/>
                <a:gd name="T49" fmla="*/ 674 h 2371"/>
                <a:gd name="T50" fmla="*/ 995 w 2195"/>
                <a:gd name="T51" fmla="*/ 576 h 2371"/>
                <a:gd name="T52" fmla="*/ 1132 w 2195"/>
                <a:gd name="T53" fmla="*/ 517 h 2371"/>
                <a:gd name="T54" fmla="*/ 1132 w 2195"/>
                <a:gd name="T55" fmla="*/ 508 h 2371"/>
                <a:gd name="T56" fmla="*/ 1190 w 2195"/>
                <a:gd name="T57" fmla="*/ 439 h 2371"/>
                <a:gd name="T58" fmla="*/ 1122 w 2195"/>
                <a:gd name="T59" fmla="*/ 400 h 2371"/>
                <a:gd name="T60" fmla="*/ 1122 w 2195"/>
                <a:gd name="T61" fmla="*/ 303 h 2371"/>
                <a:gd name="T62" fmla="*/ 1288 w 2195"/>
                <a:gd name="T63" fmla="*/ 254 h 2371"/>
                <a:gd name="T64" fmla="*/ 1347 w 2195"/>
                <a:gd name="T65" fmla="*/ 264 h 2371"/>
                <a:gd name="T66" fmla="*/ 1317 w 2195"/>
                <a:gd name="T67" fmla="*/ 303 h 2371"/>
                <a:gd name="T68" fmla="*/ 1464 w 2195"/>
                <a:gd name="T69" fmla="*/ 176 h 2371"/>
                <a:gd name="T70" fmla="*/ 1512 w 2195"/>
                <a:gd name="T71" fmla="*/ 196 h 2371"/>
                <a:gd name="T72" fmla="*/ 1639 w 2195"/>
                <a:gd name="T73" fmla="*/ 176 h 2371"/>
                <a:gd name="T74" fmla="*/ 1854 w 2195"/>
                <a:gd name="T75" fmla="*/ 30 h 2371"/>
                <a:gd name="T76" fmla="*/ 1981 w 2195"/>
                <a:gd name="T77" fmla="*/ 59 h 2371"/>
                <a:gd name="T78" fmla="*/ 2068 w 2195"/>
                <a:gd name="T79" fmla="*/ 49 h 2371"/>
                <a:gd name="T80" fmla="*/ 2029 w 2195"/>
                <a:gd name="T81" fmla="*/ 235 h 2371"/>
                <a:gd name="T82" fmla="*/ 2185 w 2195"/>
                <a:gd name="T83" fmla="*/ 371 h 2371"/>
                <a:gd name="T84" fmla="*/ 2068 w 2195"/>
                <a:gd name="T85" fmla="*/ 517 h 2371"/>
                <a:gd name="T86" fmla="*/ 2098 w 2195"/>
                <a:gd name="T87" fmla="*/ 674 h 2371"/>
                <a:gd name="T88" fmla="*/ 2068 w 2195"/>
                <a:gd name="T89" fmla="*/ 820 h 2371"/>
                <a:gd name="T90" fmla="*/ 2010 w 2195"/>
                <a:gd name="T91" fmla="*/ 869 h 2371"/>
                <a:gd name="T92" fmla="*/ 1951 w 2195"/>
                <a:gd name="T93" fmla="*/ 976 h 2371"/>
                <a:gd name="T94" fmla="*/ 2020 w 2195"/>
                <a:gd name="T95" fmla="*/ 1191 h 2371"/>
                <a:gd name="T96" fmla="*/ 1951 w 2195"/>
                <a:gd name="T97" fmla="*/ 1269 h 2371"/>
                <a:gd name="T98" fmla="*/ 1825 w 2195"/>
                <a:gd name="T99" fmla="*/ 1347 h 2371"/>
                <a:gd name="T100" fmla="*/ 1873 w 2195"/>
                <a:gd name="T101" fmla="*/ 1591 h 2371"/>
                <a:gd name="T102" fmla="*/ 1766 w 2195"/>
                <a:gd name="T103" fmla="*/ 1747 h 2371"/>
                <a:gd name="T104" fmla="*/ 1649 w 2195"/>
                <a:gd name="T105" fmla="*/ 1854 h 2371"/>
                <a:gd name="T106" fmla="*/ 1649 w 2195"/>
                <a:gd name="T107" fmla="*/ 1981 h 2371"/>
                <a:gd name="T108" fmla="*/ 1698 w 2195"/>
                <a:gd name="T109" fmla="*/ 2157 h 2371"/>
                <a:gd name="T110" fmla="*/ 1532 w 2195"/>
                <a:gd name="T111" fmla="*/ 2322 h 2371"/>
                <a:gd name="T112" fmla="*/ 1405 w 2195"/>
                <a:gd name="T113" fmla="*/ 2342 h 2371"/>
                <a:gd name="T114" fmla="*/ 1181 w 2195"/>
                <a:gd name="T115" fmla="*/ 2332 h 2371"/>
                <a:gd name="T116" fmla="*/ 995 w 2195"/>
                <a:gd name="T117" fmla="*/ 2352 h 23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5"/>
                <a:gd name="T178" fmla="*/ 0 h 2371"/>
                <a:gd name="T179" fmla="*/ 2195 w 2195"/>
                <a:gd name="T180" fmla="*/ 2371 h 23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5" h="2371">
                  <a:moveTo>
                    <a:pt x="937" y="2283"/>
                  </a:moveTo>
                  <a:lnTo>
                    <a:pt x="917" y="2303"/>
                  </a:lnTo>
                  <a:lnTo>
                    <a:pt x="908" y="2293"/>
                  </a:lnTo>
                  <a:lnTo>
                    <a:pt x="917" y="2283"/>
                  </a:lnTo>
                  <a:lnTo>
                    <a:pt x="917" y="2274"/>
                  </a:lnTo>
                  <a:lnTo>
                    <a:pt x="908" y="2274"/>
                  </a:lnTo>
                  <a:lnTo>
                    <a:pt x="908" y="2264"/>
                  </a:lnTo>
                  <a:lnTo>
                    <a:pt x="908" y="2244"/>
                  </a:lnTo>
                  <a:lnTo>
                    <a:pt x="898" y="2225"/>
                  </a:lnTo>
                  <a:lnTo>
                    <a:pt x="888" y="2205"/>
                  </a:lnTo>
                  <a:lnTo>
                    <a:pt x="888" y="2196"/>
                  </a:lnTo>
                  <a:lnTo>
                    <a:pt x="878" y="2186"/>
                  </a:lnTo>
                  <a:lnTo>
                    <a:pt x="859" y="2186"/>
                  </a:lnTo>
                  <a:lnTo>
                    <a:pt x="859" y="2166"/>
                  </a:lnTo>
                  <a:lnTo>
                    <a:pt x="859" y="2147"/>
                  </a:lnTo>
                  <a:lnTo>
                    <a:pt x="859" y="2127"/>
                  </a:lnTo>
                  <a:lnTo>
                    <a:pt x="839" y="2127"/>
                  </a:lnTo>
                  <a:lnTo>
                    <a:pt x="839" y="2108"/>
                  </a:lnTo>
                  <a:lnTo>
                    <a:pt x="830" y="2098"/>
                  </a:lnTo>
                  <a:lnTo>
                    <a:pt x="820" y="2108"/>
                  </a:lnTo>
                  <a:lnTo>
                    <a:pt x="791" y="2088"/>
                  </a:lnTo>
                  <a:lnTo>
                    <a:pt x="791" y="2098"/>
                  </a:lnTo>
                  <a:lnTo>
                    <a:pt x="781" y="2108"/>
                  </a:lnTo>
                  <a:lnTo>
                    <a:pt x="761" y="2098"/>
                  </a:lnTo>
                  <a:lnTo>
                    <a:pt x="761" y="2108"/>
                  </a:lnTo>
                  <a:lnTo>
                    <a:pt x="742" y="2118"/>
                  </a:lnTo>
                  <a:lnTo>
                    <a:pt x="732" y="2098"/>
                  </a:lnTo>
                  <a:lnTo>
                    <a:pt x="732" y="2079"/>
                  </a:lnTo>
                  <a:lnTo>
                    <a:pt x="732" y="2059"/>
                  </a:lnTo>
                  <a:lnTo>
                    <a:pt x="732" y="2049"/>
                  </a:lnTo>
                  <a:lnTo>
                    <a:pt x="703" y="2030"/>
                  </a:lnTo>
                  <a:lnTo>
                    <a:pt x="683" y="2030"/>
                  </a:lnTo>
                  <a:lnTo>
                    <a:pt x="644" y="2020"/>
                  </a:lnTo>
                  <a:lnTo>
                    <a:pt x="615" y="2040"/>
                  </a:lnTo>
                  <a:lnTo>
                    <a:pt x="615" y="2059"/>
                  </a:lnTo>
                  <a:lnTo>
                    <a:pt x="595" y="2079"/>
                  </a:lnTo>
                  <a:lnTo>
                    <a:pt x="586" y="2127"/>
                  </a:lnTo>
                  <a:lnTo>
                    <a:pt x="556" y="2157"/>
                  </a:lnTo>
                  <a:lnTo>
                    <a:pt x="547" y="2166"/>
                  </a:lnTo>
                  <a:lnTo>
                    <a:pt x="547" y="2205"/>
                  </a:lnTo>
                  <a:lnTo>
                    <a:pt x="527" y="2215"/>
                  </a:lnTo>
                  <a:lnTo>
                    <a:pt x="517" y="2225"/>
                  </a:lnTo>
                  <a:lnTo>
                    <a:pt x="508" y="2244"/>
                  </a:lnTo>
                  <a:lnTo>
                    <a:pt x="498" y="2225"/>
                  </a:lnTo>
                  <a:lnTo>
                    <a:pt x="498" y="2215"/>
                  </a:lnTo>
                  <a:lnTo>
                    <a:pt x="498" y="2186"/>
                  </a:lnTo>
                  <a:lnTo>
                    <a:pt x="488" y="2186"/>
                  </a:lnTo>
                  <a:lnTo>
                    <a:pt x="478" y="2166"/>
                  </a:lnTo>
                  <a:lnTo>
                    <a:pt x="459" y="2196"/>
                  </a:lnTo>
                  <a:lnTo>
                    <a:pt x="439" y="2215"/>
                  </a:lnTo>
                  <a:lnTo>
                    <a:pt x="420" y="2225"/>
                  </a:lnTo>
                  <a:lnTo>
                    <a:pt x="400" y="2225"/>
                  </a:lnTo>
                  <a:lnTo>
                    <a:pt x="381" y="2225"/>
                  </a:lnTo>
                  <a:lnTo>
                    <a:pt x="371" y="2244"/>
                  </a:lnTo>
                  <a:lnTo>
                    <a:pt x="361" y="2254"/>
                  </a:lnTo>
                  <a:lnTo>
                    <a:pt x="332" y="2254"/>
                  </a:lnTo>
                  <a:lnTo>
                    <a:pt x="313" y="2235"/>
                  </a:lnTo>
                  <a:lnTo>
                    <a:pt x="303" y="2225"/>
                  </a:lnTo>
                  <a:lnTo>
                    <a:pt x="303" y="2205"/>
                  </a:lnTo>
                  <a:lnTo>
                    <a:pt x="313" y="2176"/>
                  </a:lnTo>
                  <a:lnTo>
                    <a:pt x="313" y="2127"/>
                  </a:lnTo>
                  <a:lnTo>
                    <a:pt x="322" y="2069"/>
                  </a:lnTo>
                  <a:lnTo>
                    <a:pt x="332" y="2069"/>
                  </a:lnTo>
                  <a:lnTo>
                    <a:pt x="332" y="2059"/>
                  </a:lnTo>
                  <a:lnTo>
                    <a:pt x="332" y="2049"/>
                  </a:lnTo>
                  <a:lnTo>
                    <a:pt x="332" y="2040"/>
                  </a:lnTo>
                  <a:lnTo>
                    <a:pt x="342" y="2030"/>
                  </a:lnTo>
                  <a:lnTo>
                    <a:pt x="342" y="2020"/>
                  </a:lnTo>
                  <a:lnTo>
                    <a:pt x="332" y="2010"/>
                  </a:lnTo>
                  <a:lnTo>
                    <a:pt x="303" y="2001"/>
                  </a:lnTo>
                  <a:lnTo>
                    <a:pt x="293" y="1991"/>
                  </a:lnTo>
                  <a:lnTo>
                    <a:pt x="293" y="1971"/>
                  </a:lnTo>
                  <a:lnTo>
                    <a:pt x="293" y="1961"/>
                  </a:lnTo>
                  <a:lnTo>
                    <a:pt x="283" y="1961"/>
                  </a:lnTo>
                  <a:lnTo>
                    <a:pt x="283" y="1952"/>
                  </a:lnTo>
                  <a:lnTo>
                    <a:pt x="283" y="1932"/>
                  </a:lnTo>
                  <a:lnTo>
                    <a:pt x="283" y="1922"/>
                  </a:lnTo>
                  <a:lnTo>
                    <a:pt x="283" y="1874"/>
                  </a:lnTo>
                  <a:lnTo>
                    <a:pt x="274" y="1874"/>
                  </a:lnTo>
                  <a:lnTo>
                    <a:pt x="254" y="1874"/>
                  </a:lnTo>
                  <a:lnTo>
                    <a:pt x="244" y="1854"/>
                  </a:lnTo>
                  <a:lnTo>
                    <a:pt x="254" y="1844"/>
                  </a:lnTo>
                  <a:lnTo>
                    <a:pt x="264" y="1825"/>
                  </a:lnTo>
                  <a:lnTo>
                    <a:pt x="244" y="1786"/>
                  </a:lnTo>
                  <a:lnTo>
                    <a:pt x="225" y="1766"/>
                  </a:lnTo>
                  <a:lnTo>
                    <a:pt x="215" y="1757"/>
                  </a:lnTo>
                  <a:lnTo>
                    <a:pt x="186" y="1757"/>
                  </a:lnTo>
                  <a:lnTo>
                    <a:pt x="166" y="1747"/>
                  </a:lnTo>
                  <a:lnTo>
                    <a:pt x="166" y="1737"/>
                  </a:lnTo>
                  <a:lnTo>
                    <a:pt x="176" y="1727"/>
                  </a:lnTo>
                  <a:lnTo>
                    <a:pt x="186" y="1718"/>
                  </a:lnTo>
                  <a:lnTo>
                    <a:pt x="196" y="1718"/>
                  </a:lnTo>
                  <a:lnTo>
                    <a:pt x="196" y="1708"/>
                  </a:lnTo>
                  <a:lnTo>
                    <a:pt x="186" y="1688"/>
                  </a:lnTo>
                  <a:lnTo>
                    <a:pt x="176" y="1669"/>
                  </a:lnTo>
                  <a:lnTo>
                    <a:pt x="166" y="1669"/>
                  </a:lnTo>
                  <a:lnTo>
                    <a:pt x="166" y="1679"/>
                  </a:lnTo>
                  <a:lnTo>
                    <a:pt x="127" y="1669"/>
                  </a:lnTo>
                  <a:lnTo>
                    <a:pt x="117" y="1679"/>
                  </a:lnTo>
                  <a:lnTo>
                    <a:pt x="88" y="1669"/>
                  </a:lnTo>
                  <a:lnTo>
                    <a:pt x="78" y="1659"/>
                  </a:lnTo>
                  <a:lnTo>
                    <a:pt x="69" y="1659"/>
                  </a:lnTo>
                  <a:lnTo>
                    <a:pt x="69" y="1669"/>
                  </a:lnTo>
                  <a:lnTo>
                    <a:pt x="49" y="1659"/>
                  </a:lnTo>
                  <a:lnTo>
                    <a:pt x="30" y="1659"/>
                  </a:lnTo>
                  <a:lnTo>
                    <a:pt x="30" y="1649"/>
                  </a:lnTo>
                  <a:lnTo>
                    <a:pt x="39" y="1620"/>
                  </a:lnTo>
                  <a:lnTo>
                    <a:pt x="39" y="1591"/>
                  </a:lnTo>
                  <a:lnTo>
                    <a:pt x="59" y="1571"/>
                  </a:lnTo>
                  <a:lnTo>
                    <a:pt x="78" y="1552"/>
                  </a:lnTo>
                  <a:lnTo>
                    <a:pt x="78" y="1542"/>
                  </a:lnTo>
                  <a:lnTo>
                    <a:pt x="69" y="1532"/>
                  </a:lnTo>
                  <a:lnTo>
                    <a:pt x="59" y="1513"/>
                  </a:lnTo>
                  <a:lnTo>
                    <a:pt x="59" y="1483"/>
                  </a:lnTo>
                  <a:lnTo>
                    <a:pt x="49" y="1464"/>
                  </a:lnTo>
                  <a:lnTo>
                    <a:pt x="30" y="1454"/>
                  </a:lnTo>
                  <a:lnTo>
                    <a:pt x="30" y="1435"/>
                  </a:lnTo>
                  <a:lnTo>
                    <a:pt x="39" y="1415"/>
                  </a:lnTo>
                  <a:lnTo>
                    <a:pt x="30" y="1396"/>
                  </a:lnTo>
                  <a:lnTo>
                    <a:pt x="20" y="1386"/>
                  </a:lnTo>
                  <a:lnTo>
                    <a:pt x="0" y="1386"/>
                  </a:lnTo>
                  <a:lnTo>
                    <a:pt x="10" y="1366"/>
                  </a:lnTo>
                  <a:lnTo>
                    <a:pt x="20" y="1357"/>
                  </a:lnTo>
                  <a:lnTo>
                    <a:pt x="30" y="1347"/>
                  </a:lnTo>
                  <a:lnTo>
                    <a:pt x="39" y="1347"/>
                  </a:lnTo>
                  <a:lnTo>
                    <a:pt x="49" y="1327"/>
                  </a:lnTo>
                  <a:lnTo>
                    <a:pt x="39" y="1269"/>
                  </a:lnTo>
                  <a:lnTo>
                    <a:pt x="39" y="1220"/>
                  </a:lnTo>
                  <a:lnTo>
                    <a:pt x="30" y="1152"/>
                  </a:lnTo>
                  <a:lnTo>
                    <a:pt x="20" y="1122"/>
                  </a:lnTo>
                  <a:lnTo>
                    <a:pt x="0" y="1103"/>
                  </a:lnTo>
                  <a:lnTo>
                    <a:pt x="10" y="1083"/>
                  </a:lnTo>
                  <a:lnTo>
                    <a:pt x="30" y="1083"/>
                  </a:lnTo>
                  <a:lnTo>
                    <a:pt x="49" y="1074"/>
                  </a:lnTo>
                  <a:lnTo>
                    <a:pt x="69" y="1054"/>
                  </a:lnTo>
                  <a:lnTo>
                    <a:pt x="78" y="1044"/>
                  </a:lnTo>
                  <a:lnTo>
                    <a:pt x="88" y="1044"/>
                  </a:lnTo>
                  <a:lnTo>
                    <a:pt x="98" y="1044"/>
                  </a:lnTo>
                  <a:lnTo>
                    <a:pt x="117" y="1044"/>
                  </a:lnTo>
                  <a:lnTo>
                    <a:pt x="127" y="1025"/>
                  </a:lnTo>
                  <a:lnTo>
                    <a:pt x="127" y="1015"/>
                  </a:lnTo>
                  <a:lnTo>
                    <a:pt x="127" y="996"/>
                  </a:lnTo>
                  <a:lnTo>
                    <a:pt x="137" y="986"/>
                  </a:lnTo>
                  <a:lnTo>
                    <a:pt x="137" y="966"/>
                  </a:lnTo>
                  <a:lnTo>
                    <a:pt x="157" y="966"/>
                  </a:lnTo>
                  <a:lnTo>
                    <a:pt x="157" y="937"/>
                  </a:lnTo>
                  <a:lnTo>
                    <a:pt x="186" y="908"/>
                  </a:lnTo>
                  <a:lnTo>
                    <a:pt x="205" y="888"/>
                  </a:lnTo>
                  <a:lnTo>
                    <a:pt x="225" y="878"/>
                  </a:lnTo>
                  <a:lnTo>
                    <a:pt x="225" y="869"/>
                  </a:lnTo>
                  <a:lnTo>
                    <a:pt x="225" y="849"/>
                  </a:lnTo>
                  <a:lnTo>
                    <a:pt x="196" y="839"/>
                  </a:lnTo>
                  <a:lnTo>
                    <a:pt x="196" y="820"/>
                  </a:lnTo>
                  <a:lnTo>
                    <a:pt x="196" y="791"/>
                  </a:lnTo>
                  <a:lnTo>
                    <a:pt x="166" y="761"/>
                  </a:lnTo>
                  <a:lnTo>
                    <a:pt x="147" y="742"/>
                  </a:lnTo>
                  <a:lnTo>
                    <a:pt x="137" y="742"/>
                  </a:lnTo>
                  <a:lnTo>
                    <a:pt x="137" y="722"/>
                  </a:lnTo>
                  <a:lnTo>
                    <a:pt x="108" y="703"/>
                  </a:lnTo>
                  <a:lnTo>
                    <a:pt x="117" y="674"/>
                  </a:lnTo>
                  <a:lnTo>
                    <a:pt x="108" y="654"/>
                  </a:lnTo>
                  <a:lnTo>
                    <a:pt x="88" y="635"/>
                  </a:lnTo>
                  <a:lnTo>
                    <a:pt x="98" y="625"/>
                  </a:lnTo>
                  <a:lnTo>
                    <a:pt x="117" y="605"/>
                  </a:lnTo>
                  <a:lnTo>
                    <a:pt x="117" y="596"/>
                  </a:lnTo>
                  <a:lnTo>
                    <a:pt x="117" y="586"/>
                  </a:lnTo>
                  <a:lnTo>
                    <a:pt x="127" y="576"/>
                  </a:lnTo>
                  <a:lnTo>
                    <a:pt x="137" y="586"/>
                  </a:lnTo>
                  <a:lnTo>
                    <a:pt x="166" y="586"/>
                  </a:lnTo>
                  <a:lnTo>
                    <a:pt x="186" y="576"/>
                  </a:lnTo>
                  <a:lnTo>
                    <a:pt x="176" y="566"/>
                  </a:lnTo>
                  <a:lnTo>
                    <a:pt x="176" y="557"/>
                  </a:lnTo>
                  <a:lnTo>
                    <a:pt x="186" y="557"/>
                  </a:lnTo>
                  <a:lnTo>
                    <a:pt x="196" y="566"/>
                  </a:lnTo>
                  <a:lnTo>
                    <a:pt x="205" y="596"/>
                  </a:lnTo>
                  <a:lnTo>
                    <a:pt x="205" y="615"/>
                  </a:lnTo>
                  <a:lnTo>
                    <a:pt x="215" y="625"/>
                  </a:lnTo>
                  <a:lnTo>
                    <a:pt x="215" y="635"/>
                  </a:lnTo>
                  <a:lnTo>
                    <a:pt x="225" y="625"/>
                  </a:lnTo>
                  <a:lnTo>
                    <a:pt x="235" y="615"/>
                  </a:lnTo>
                  <a:lnTo>
                    <a:pt x="225" y="615"/>
                  </a:lnTo>
                  <a:lnTo>
                    <a:pt x="215" y="605"/>
                  </a:lnTo>
                  <a:lnTo>
                    <a:pt x="215" y="596"/>
                  </a:lnTo>
                  <a:lnTo>
                    <a:pt x="235" y="596"/>
                  </a:lnTo>
                  <a:lnTo>
                    <a:pt x="254" y="586"/>
                  </a:lnTo>
                  <a:lnTo>
                    <a:pt x="274" y="566"/>
                  </a:lnTo>
                  <a:lnTo>
                    <a:pt x="303" y="566"/>
                  </a:lnTo>
                  <a:lnTo>
                    <a:pt x="361" y="557"/>
                  </a:lnTo>
                  <a:lnTo>
                    <a:pt x="381" y="557"/>
                  </a:lnTo>
                  <a:lnTo>
                    <a:pt x="400" y="566"/>
                  </a:lnTo>
                  <a:lnTo>
                    <a:pt x="391" y="566"/>
                  </a:lnTo>
                  <a:lnTo>
                    <a:pt x="381" y="566"/>
                  </a:lnTo>
                  <a:lnTo>
                    <a:pt x="381" y="576"/>
                  </a:lnTo>
                  <a:lnTo>
                    <a:pt x="381" y="596"/>
                  </a:lnTo>
                  <a:lnTo>
                    <a:pt x="430" y="605"/>
                  </a:lnTo>
                  <a:lnTo>
                    <a:pt x="449" y="605"/>
                  </a:lnTo>
                  <a:lnTo>
                    <a:pt x="459" y="596"/>
                  </a:lnTo>
                  <a:lnTo>
                    <a:pt x="498" y="596"/>
                  </a:lnTo>
                  <a:lnTo>
                    <a:pt x="517" y="586"/>
                  </a:lnTo>
                  <a:lnTo>
                    <a:pt x="537" y="586"/>
                  </a:lnTo>
                  <a:lnTo>
                    <a:pt x="537" y="576"/>
                  </a:lnTo>
                  <a:lnTo>
                    <a:pt x="547" y="576"/>
                  </a:lnTo>
                  <a:lnTo>
                    <a:pt x="566" y="576"/>
                  </a:lnTo>
                  <a:lnTo>
                    <a:pt x="566" y="566"/>
                  </a:lnTo>
                  <a:lnTo>
                    <a:pt x="566" y="547"/>
                  </a:lnTo>
                  <a:lnTo>
                    <a:pt x="576" y="537"/>
                  </a:lnTo>
                  <a:lnTo>
                    <a:pt x="556" y="537"/>
                  </a:lnTo>
                  <a:lnTo>
                    <a:pt x="547" y="527"/>
                  </a:lnTo>
                  <a:lnTo>
                    <a:pt x="547" y="517"/>
                  </a:lnTo>
                  <a:lnTo>
                    <a:pt x="537" y="508"/>
                  </a:lnTo>
                  <a:lnTo>
                    <a:pt x="547" y="488"/>
                  </a:lnTo>
                  <a:lnTo>
                    <a:pt x="547" y="498"/>
                  </a:lnTo>
                  <a:lnTo>
                    <a:pt x="566" y="498"/>
                  </a:lnTo>
                  <a:lnTo>
                    <a:pt x="556" y="478"/>
                  </a:lnTo>
                  <a:lnTo>
                    <a:pt x="566" y="469"/>
                  </a:lnTo>
                  <a:lnTo>
                    <a:pt x="586" y="478"/>
                  </a:lnTo>
                  <a:lnTo>
                    <a:pt x="595" y="478"/>
                  </a:lnTo>
                  <a:lnTo>
                    <a:pt x="605" y="488"/>
                  </a:lnTo>
                  <a:lnTo>
                    <a:pt x="625" y="488"/>
                  </a:lnTo>
                  <a:lnTo>
                    <a:pt x="634" y="478"/>
                  </a:lnTo>
                  <a:lnTo>
                    <a:pt x="644" y="488"/>
                  </a:lnTo>
                  <a:lnTo>
                    <a:pt x="654" y="478"/>
                  </a:lnTo>
                  <a:lnTo>
                    <a:pt x="664" y="469"/>
                  </a:lnTo>
                  <a:lnTo>
                    <a:pt x="673" y="459"/>
                  </a:lnTo>
                  <a:lnTo>
                    <a:pt x="683" y="459"/>
                  </a:lnTo>
                  <a:lnTo>
                    <a:pt x="693" y="459"/>
                  </a:lnTo>
                  <a:lnTo>
                    <a:pt x="703" y="459"/>
                  </a:lnTo>
                  <a:lnTo>
                    <a:pt x="713" y="459"/>
                  </a:lnTo>
                  <a:lnTo>
                    <a:pt x="722" y="478"/>
                  </a:lnTo>
                  <a:lnTo>
                    <a:pt x="732" y="469"/>
                  </a:lnTo>
                  <a:lnTo>
                    <a:pt x="732" y="478"/>
                  </a:lnTo>
                  <a:lnTo>
                    <a:pt x="742" y="478"/>
                  </a:lnTo>
                  <a:lnTo>
                    <a:pt x="752" y="488"/>
                  </a:lnTo>
                  <a:lnTo>
                    <a:pt x="752" y="498"/>
                  </a:lnTo>
                  <a:lnTo>
                    <a:pt x="761" y="498"/>
                  </a:lnTo>
                  <a:lnTo>
                    <a:pt x="761" y="508"/>
                  </a:lnTo>
                  <a:lnTo>
                    <a:pt x="761" y="517"/>
                  </a:lnTo>
                  <a:lnTo>
                    <a:pt x="771" y="517"/>
                  </a:lnTo>
                  <a:lnTo>
                    <a:pt x="771" y="527"/>
                  </a:lnTo>
                  <a:lnTo>
                    <a:pt x="761" y="527"/>
                  </a:lnTo>
                  <a:lnTo>
                    <a:pt x="761" y="537"/>
                  </a:lnTo>
                  <a:lnTo>
                    <a:pt x="761" y="547"/>
                  </a:lnTo>
                  <a:lnTo>
                    <a:pt x="771" y="547"/>
                  </a:lnTo>
                  <a:lnTo>
                    <a:pt x="781" y="537"/>
                  </a:lnTo>
                  <a:lnTo>
                    <a:pt x="791" y="547"/>
                  </a:lnTo>
                  <a:lnTo>
                    <a:pt x="800" y="557"/>
                  </a:lnTo>
                  <a:lnTo>
                    <a:pt x="791" y="557"/>
                  </a:lnTo>
                  <a:lnTo>
                    <a:pt x="800" y="557"/>
                  </a:lnTo>
                  <a:lnTo>
                    <a:pt x="800" y="566"/>
                  </a:lnTo>
                  <a:lnTo>
                    <a:pt x="810" y="576"/>
                  </a:lnTo>
                  <a:lnTo>
                    <a:pt x="800" y="576"/>
                  </a:lnTo>
                  <a:lnTo>
                    <a:pt x="791" y="586"/>
                  </a:lnTo>
                  <a:lnTo>
                    <a:pt x="781" y="586"/>
                  </a:lnTo>
                  <a:lnTo>
                    <a:pt x="771" y="576"/>
                  </a:lnTo>
                  <a:lnTo>
                    <a:pt x="761" y="576"/>
                  </a:lnTo>
                  <a:lnTo>
                    <a:pt x="752" y="576"/>
                  </a:lnTo>
                  <a:lnTo>
                    <a:pt x="742" y="576"/>
                  </a:lnTo>
                  <a:lnTo>
                    <a:pt x="752" y="586"/>
                  </a:lnTo>
                  <a:lnTo>
                    <a:pt x="771" y="586"/>
                  </a:lnTo>
                  <a:lnTo>
                    <a:pt x="781" y="605"/>
                  </a:lnTo>
                  <a:lnTo>
                    <a:pt x="781" y="615"/>
                  </a:lnTo>
                  <a:lnTo>
                    <a:pt x="791" y="615"/>
                  </a:lnTo>
                  <a:lnTo>
                    <a:pt x="810" y="615"/>
                  </a:lnTo>
                  <a:lnTo>
                    <a:pt x="800" y="596"/>
                  </a:lnTo>
                  <a:lnTo>
                    <a:pt x="810" y="596"/>
                  </a:lnTo>
                  <a:lnTo>
                    <a:pt x="820" y="605"/>
                  </a:lnTo>
                  <a:lnTo>
                    <a:pt x="830" y="605"/>
                  </a:lnTo>
                  <a:lnTo>
                    <a:pt x="830" y="615"/>
                  </a:lnTo>
                  <a:lnTo>
                    <a:pt x="820" y="615"/>
                  </a:lnTo>
                  <a:lnTo>
                    <a:pt x="820" y="625"/>
                  </a:lnTo>
                  <a:lnTo>
                    <a:pt x="820" y="635"/>
                  </a:lnTo>
                  <a:lnTo>
                    <a:pt x="830" y="635"/>
                  </a:lnTo>
                  <a:lnTo>
                    <a:pt x="849" y="654"/>
                  </a:lnTo>
                  <a:lnTo>
                    <a:pt x="859" y="664"/>
                  </a:lnTo>
                  <a:lnTo>
                    <a:pt x="869" y="674"/>
                  </a:lnTo>
                  <a:lnTo>
                    <a:pt x="878" y="674"/>
                  </a:lnTo>
                  <a:lnTo>
                    <a:pt x="888" y="674"/>
                  </a:lnTo>
                  <a:lnTo>
                    <a:pt x="888" y="683"/>
                  </a:lnTo>
                  <a:lnTo>
                    <a:pt x="898" y="683"/>
                  </a:lnTo>
                  <a:lnTo>
                    <a:pt x="908" y="683"/>
                  </a:lnTo>
                  <a:lnTo>
                    <a:pt x="917" y="693"/>
                  </a:lnTo>
                  <a:lnTo>
                    <a:pt x="917" y="674"/>
                  </a:lnTo>
                  <a:lnTo>
                    <a:pt x="927" y="683"/>
                  </a:lnTo>
                  <a:lnTo>
                    <a:pt x="927" y="693"/>
                  </a:lnTo>
                  <a:lnTo>
                    <a:pt x="947" y="693"/>
                  </a:lnTo>
                  <a:lnTo>
                    <a:pt x="947" y="674"/>
                  </a:lnTo>
                  <a:lnTo>
                    <a:pt x="947" y="644"/>
                  </a:lnTo>
                  <a:lnTo>
                    <a:pt x="937" y="625"/>
                  </a:lnTo>
                  <a:lnTo>
                    <a:pt x="937" y="615"/>
                  </a:lnTo>
                  <a:lnTo>
                    <a:pt x="937" y="605"/>
                  </a:lnTo>
                  <a:lnTo>
                    <a:pt x="937" y="576"/>
                  </a:lnTo>
                  <a:lnTo>
                    <a:pt x="927" y="566"/>
                  </a:lnTo>
                  <a:lnTo>
                    <a:pt x="927" y="547"/>
                  </a:lnTo>
                  <a:lnTo>
                    <a:pt x="937" y="547"/>
                  </a:lnTo>
                  <a:lnTo>
                    <a:pt x="947" y="557"/>
                  </a:lnTo>
                  <a:lnTo>
                    <a:pt x="956" y="566"/>
                  </a:lnTo>
                  <a:lnTo>
                    <a:pt x="966" y="566"/>
                  </a:lnTo>
                  <a:lnTo>
                    <a:pt x="995" y="576"/>
                  </a:lnTo>
                  <a:lnTo>
                    <a:pt x="1015" y="566"/>
                  </a:lnTo>
                  <a:lnTo>
                    <a:pt x="1025" y="557"/>
                  </a:lnTo>
                  <a:lnTo>
                    <a:pt x="1025" y="537"/>
                  </a:lnTo>
                  <a:lnTo>
                    <a:pt x="1034" y="537"/>
                  </a:lnTo>
                  <a:lnTo>
                    <a:pt x="1034" y="517"/>
                  </a:lnTo>
                  <a:lnTo>
                    <a:pt x="1054" y="508"/>
                  </a:lnTo>
                  <a:lnTo>
                    <a:pt x="1073" y="508"/>
                  </a:lnTo>
                  <a:lnTo>
                    <a:pt x="1083" y="517"/>
                  </a:lnTo>
                  <a:lnTo>
                    <a:pt x="1093" y="508"/>
                  </a:lnTo>
                  <a:lnTo>
                    <a:pt x="1103" y="517"/>
                  </a:lnTo>
                  <a:lnTo>
                    <a:pt x="1122" y="517"/>
                  </a:lnTo>
                  <a:lnTo>
                    <a:pt x="1132" y="517"/>
                  </a:lnTo>
                  <a:lnTo>
                    <a:pt x="1132" y="527"/>
                  </a:lnTo>
                  <a:lnTo>
                    <a:pt x="1142" y="527"/>
                  </a:lnTo>
                  <a:lnTo>
                    <a:pt x="1151" y="517"/>
                  </a:lnTo>
                  <a:lnTo>
                    <a:pt x="1142" y="517"/>
                  </a:lnTo>
                  <a:lnTo>
                    <a:pt x="1151" y="508"/>
                  </a:lnTo>
                  <a:lnTo>
                    <a:pt x="1171" y="508"/>
                  </a:lnTo>
                  <a:lnTo>
                    <a:pt x="1181" y="517"/>
                  </a:lnTo>
                  <a:lnTo>
                    <a:pt x="1181" y="508"/>
                  </a:lnTo>
                  <a:lnTo>
                    <a:pt x="1181" y="498"/>
                  </a:lnTo>
                  <a:lnTo>
                    <a:pt x="1161" y="498"/>
                  </a:lnTo>
                  <a:lnTo>
                    <a:pt x="1151" y="498"/>
                  </a:lnTo>
                  <a:lnTo>
                    <a:pt x="1132" y="508"/>
                  </a:lnTo>
                  <a:lnTo>
                    <a:pt x="1132" y="498"/>
                  </a:lnTo>
                  <a:lnTo>
                    <a:pt x="1132" y="478"/>
                  </a:lnTo>
                  <a:lnTo>
                    <a:pt x="1132" y="469"/>
                  </a:lnTo>
                  <a:lnTo>
                    <a:pt x="1142" y="469"/>
                  </a:lnTo>
                  <a:lnTo>
                    <a:pt x="1142" y="459"/>
                  </a:lnTo>
                  <a:lnTo>
                    <a:pt x="1151" y="459"/>
                  </a:lnTo>
                  <a:lnTo>
                    <a:pt x="1171" y="469"/>
                  </a:lnTo>
                  <a:lnTo>
                    <a:pt x="1181" y="459"/>
                  </a:lnTo>
                  <a:lnTo>
                    <a:pt x="1190" y="449"/>
                  </a:lnTo>
                  <a:lnTo>
                    <a:pt x="1190" y="439"/>
                  </a:lnTo>
                  <a:lnTo>
                    <a:pt x="1181" y="439"/>
                  </a:lnTo>
                  <a:lnTo>
                    <a:pt x="1161" y="430"/>
                  </a:lnTo>
                  <a:lnTo>
                    <a:pt x="1151" y="420"/>
                  </a:lnTo>
                  <a:lnTo>
                    <a:pt x="1142" y="420"/>
                  </a:lnTo>
                  <a:lnTo>
                    <a:pt x="1142" y="410"/>
                  </a:lnTo>
                  <a:lnTo>
                    <a:pt x="1142" y="400"/>
                  </a:lnTo>
                  <a:lnTo>
                    <a:pt x="1142" y="391"/>
                  </a:lnTo>
                  <a:lnTo>
                    <a:pt x="1151" y="381"/>
                  </a:lnTo>
                  <a:lnTo>
                    <a:pt x="1142" y="381"/>
                  </a:lnTo>
                  <a:lnTo>
                    <a:pt x="1132" y="381"/>
                  </a:lnTo>
                  <a:lnTo>
                    <a:pt x="1132" y="391"/>
                  </a:lnTo>
                  <a:lnTo>
                    <a:pt x="1122" y="400"/>
                  </a:lnTo>
                  <a:lnTo>
                    <a:pt x="1112" y="400"/>
                  </a:lnTo>
                  <a:lnTo>
                    <a:pt x="1112" y="391"/>
                  </a:lnTo>
                  <a:lnTo>
                    <a:pt x="1112" y="371"/>
                  </a:lnTo>
                  <a:lnTo>
                    <a:pt x="1112" y="361"/>
                  </a:lnTo>
                  <a:lnTo>
                    <a:pt x="1112" y="352"/>
                  </a:lnTo>
                  <a:lnTo>
                    <a:pt x="1132" y="352"/>
                  </a:lnTo>
                  <a:lnTo>
                    <a:pt x="1132" y="342"/>
                  </a:lnTo>
                  <a:lnTo>
                    <a:pt x="1151" y="332"/>
                  </a:lnTo>
                  <a:lnTo>
                    <a:pt x="1142" y="322"/>
                  </a:lnTo>
                  <a:lnTo>
                    <a:pt x="1142" y="313"/>
                  </a:lnTo>
                  <a:lnTo>
                    <a:pt x="1132" y="313"/>
                  </a:lnTo>
                  <a:lnTo>
                    <a:pt x="1122" y="303"/>
                  </a:lnTo>
                  <a:lnTo>
                    <a:pt x="1132" y="293"/>
                  </a:lnTo>
                  <a:lnTo>
                    <a:pt x="1142" y="293"/>
                  </a:lnTo>
                  <a:lnTo>
                    <a:pt x="1161" y="293"/>
                  </a:lnTo>
                  <a:lnTo>
                    <a:pt x="1190" y="274"/>
                  </a:lnTo>
                  <a:lnTo>
                    <a:pt x="1229" y="254"/>
                  </a:lnTo>
                  <a:lnTo>
                    <a:pt x="1259" y="244"/>
                  </a:lnTo>
                  <a:lnTo>
                    <a:pt x="1288" y="225"/>
                  </a:lnTo>
                  <a:lnTo>
                    <a:pt x="1317" y="215"/>
                  </a:lnTo>
                  <a:lnTo>
                    <a:pt x="1337" y="215"/>
                  </a:lnTo>
                  <a:lnTo>
                    <a:pt x="1317" y="235"/>
                  </a:lnTo>
                  <a:lnTo>
                    <a:pt x="1298" y="244"/>
                  </a:lnTo>
                  <a:lnTo>
                    <a:pt x="1288" y="254"/>
                  </a:lnTo>
                  <a:lnTo>
                    <a:pt x="1278" y="254"/>
                  </a:lnTo>
                  <a:lnTo>
                    <a:pt x="1269" y="264"/>
                  </a:lnTo>
                  <a:lnTo>
                    <a:pt x="1278" y="274"/>
                  </a:lnTo>
                  <a:lnTo>
                    <a:pt x="1269" y="283"/>
                  </a:lnTo>
                  <a:lnTo>
                    <a:pt x="1278" y="293"/>
                  </a:lnTo>
                  <a:lnTo>
                    <a:pt x="1288" y="283"/>
                  </a:lnTo>
                  <a:lnTo>
                    <a:pt x="1288" y="264"/>
                  </a:lnTo>
                  <a:lnTo>
                    <a:pt x="1308" y="244"/>
                  </a:lnTo>
                  <a:lnTo>
                    <a:pt x="1327" y="235"/>
                  </a:lnTo>
                  <a:lnTo>
                    <a:pt x="1347" y="235"/>
                  </a:lnTo>
                  <a:lnTo>
                    <a:pt x="1347" y="244"/>
                  </a:lnTo>
                  <a:lnTo>
                    <a:pt x="1347" y="264"/>
                  </a:lnTo>
                  <a:lnTo>
                    <a:pt x="1347" y="283"/>
                  </a:lnTo>
                  <a:lnTo>
                    <a:pt x="1337" y="264"/>
                  </a:lnTo>
                  <a:lnTo>
                    <a:pt x="1337" y="254"/>
                  </a:lnTo>
                  <a:lnTo>
                    <a:pt x="1327" y="264"/>
                  </a:lnTo>
                  <a:lnTo>
                    <a:pt x="1317" y="254"/>
                  </a:lnTo>
                  <a:lnTo>
                    <a:pt x="1308" y="254"/>
                  </a:lnTo>
                  <a:lnTo>
                    <a:pt x="1317" y="274"/>
                  </a:lnTo>
                  <a:lnTo>
                    <a:pt x="1337" y="274"/>
                  </a:lnTo>
                  <a:lnTo>
                    <a:pt x="1337" y="283"/>
                  </a:lnTo>
                  <a:lnTo>
                    <a:pt x="1337" y="293"/>
                  </a:lnTo>
                  <a:lnTo>
                    <a:pt x="1317" y="293"/>
                  </a:lnTo>
                  <a:lnTo>
                    <a:pt x="1317" y="303"/>
                  </a:lnTo>
                  <a:lnTo>
                    <a:pt x="1327" y="303"/>
                  </a:lnTo>
                  <a:lnTo>
                    <a:pt x="1337" y="322"/>
                  </a:lnTo>
                  <a:lnTo>
                    <a:pt x="1347" y="313"/>
                  </a:lnTo>
                  <a:lnTo>
                    <a:pt x="1356" y="303"/>
                  </a:lnTo>
                  <a:lnTo>
                    <a:pt x="1356" y="274"/>
                  </a:lnTo>
                  <a:lnTo>
                    <a:pt x="1356" y="244"/>
                  </a:lnTo>
                  <a:lnTo>
                    <a:pt x="1347" y="235"/>
                  </a:lnTo>
                  <a:lnTo>
                    <a:pt x="1347" y="205"/>
                  </a:lnTo>
                  <a:lnTo>
                    <a:pt x="1386" y="186"/>
                  </a:lnTo>
                  <a:lnTo>
                    <a:pt x="1405" y="176"/>
                  </a:lnTo>
                  <a:lnTo>
                    <a:pt x="1444" y="176"/>
                  </a:lnTo>
                  <a:lnTo>
                    <a:pt x="1464" y="176"/>
                  </a:lnTo>
                  <a:lnTo>
                    <a:pt x="1464" y="186"/>
                  </a:lnTo>
                  <a:lnTo>
                    <a:pt x="1464" y="205"/>
                  </a:lnTo>
                  <a:lnTo>
                    <a:pt x="1454" y="205"/>
                  </a:lnTo>
                  <a:lnTo>
                    <a:pt x="1444" y="196"/>
                  </a:lnTo>
                  <a:lnTo>
                    <a:pt x="1444" y="215"/>
                  </a:lnTo>
                  <a:lnTo>
                    <a:pt x="1444" y="225"/>
                  </a:lnTo>
                  <a:lnTo>
                    <a:pt x="1464" y="215"/>
                  </a:lnTo>
                  <a:lnTo>
                    <a:pt x="1483" y="196"/>
                  </a:lnTo>
                  <a:lnTo>
                    <a:pt x="1493" y="205"/>
                  </a:lnTo>
                  <a:lnTo>
                    <a:pt x="1493" y="215"/>
                  </a:lnTo>
                  <a:lnTo>
                    <a:pt x="1503" y="205"/>
                  </a:lnTo>
                  <a:lnTo>
                    <a:pt x="1512" y="196"/>
                  </a:lnTo>
                  <a:lnTo>
                    <a:pt x="1522" y="215"/>
                  </a:lnTo>
                  <a:lnTo>
                    <a:pt x="1532" y="205"/>
                  </a:lnTo>
                  <a:lnTo>
                    <a:pt x="1532" y="196"/>
                  </a:lnTo>
                  <a:lnTo>
                    <a:pt x="1542" y="186"/>
                  </a:lnTo>
                  <a:lnTo>
                    <a:pt x="1571" y="196"/>
                  </a:lnTo>
                  <a:lnTo>
                    <a:pt x="1590" y="205"/>
                  </a:lnTo>
                  <a:lnTo>
                    <a:pt x="1590" y="215"/>
                  </a:lnTo>
                  <a:lnTo>
                    <a:pt x="1600" y="205"/>
                  </a:lnTo>
                  <a:lnTo>
                    <a:pt x="1629" y="196"/>
                  </a:lnTo>
                  <a:lnTo>
                    <a:pt x="1639" y="186"/>
                  </a:lnTo>
                  <a:lnTo>
                    <a:pt x="1639" y="176"/>
                  </a:lnTo>
                  <a:lnTo>
                    <a:pt x="1649" y="166"/>
                  </a:lnTo>
                  <a:lnTo>
                    <a:pt x="1659" y="156"/>
                  </a:lnTo>
                  <a:lnTo>
                    <a:pt x="1668" y="117"/>
                  </a:lnTo>
                  <a:lnTo>
                    <a:pt x="1688" y="98"/>
                  </a:lnTo>
                  <a:lnTo>
                    <a:pt x="1707" y="78"/>
                  </a:lnTo>
                  <a:lnTo>
                    <a:pt x="1727" y="59"/>
                  </a:lnTo>
                  <a:lnTo>
                    <a:pt x="1737" y="49"/>
                  </a:lnTo>
                  <a:lnTo>
                    <a:pt x="1776" y="30"/>
                  </a:lnTo>
                  <a:lnTo>
                    <a:pt x="1805" y="20"/>
                  </a:lnTo>
                  <a:lnTo>
                    <a:pt x="1825" y="20"/>
                  </a:lnTo>
                  <a:lnTo>
                    <a:pt x="1854" y="20"/>
                  </a:lnTo>
                  <a:lnTo>
                    <a:pt x="1854" y="30"/>
                  </a:lnTo>
                  <a:lnTo>
                    <a:pt x="1873" y="30"/>
                  </a:lnTo>
                  <a:lnTo>
                    <a:pt x="1883" y="39"/>
                  </a:lnTo>
                  <a:lnTo>
                    <a:pt x="1883" y="49"/>
                  </a:lnTo>
                  <a:lnTo>
                    <a:pt x="1893" y="59"/>
                  </a:lnTo>
                  <a:lnTo>
                    <a:pt x="1893" y="69"/>
                  </a:lnTo>
                  <a:lnTo>
                    <a:pt x="1903" y="69"/>
                  </a:lnTo>
                  <a:lnTo>
                    <a:pt x="1912" y="69"/>
                  </a:lnTo>
                  <a:lnTo>
                    <a:pt x="1932" y="69"/>
                  </a:lnTo>
                  <a:lnTo>
                    <a:pt x="1951" y="59"/>
                  </a:lnTo>
                  <a:lnTo>
                    <a:pt x="1971" y="69"/>
                  </a:lnTo>
                  <a:lnTo>
                    <a:pt x="1981" y="69"/>
                  </a:lnTo>
                  <a:lnTo>
                    <a:pt x="1981" y="59"/>
                  </a:lnTo>
                  <a:lnTo>
                    <a:pt x="1981" y="49"/>
                  </a:lnTo>
                  <a:lnTo>
                    <a:pt x="1990" y="49"/>
                  </a:lnTo>
                  <a:lnTo>
                    <a:pt x="2000" y="49"/>
                  </a:lnTo>
                  <a:lnTo>
                    <a:pt x="1990" y="30"/>
                  </a:lnTo>
                  <a:lnTo>
                    <a:pt x="1990" y="20"/>
                  </a:lnTo>
                  <a:lnTo>
                    <a:pt x="1990" y="0"/>
                  </a:lnTo>
                  <a:lnTo>
                    <a:pt x="2000" y="10"/>
                  </a:lnTo>
                  <a:lnTo>
                    <a:pt x="2010" y="30"/>
                  </a:lnTo>
                  <a:lnTo>
                    <a:pt x="2020" y="20"/>
                  </a:lnTo>
                  <a:lnTo>
                    <a:pt x="2039" y="30"/>
                  </a:lnTo>
                  <a:lnTo>
                    <a:pt x="2039" y="39"/>
                  </a:lnTo>
                  <a:lnTo>
                    <a:pt x="2068" y="49"/>
                  </a:lnTo>
                  <a:lnTo>
                    <a:pt x="2068" y="59"/>
                  </a:lnTo>
                  <a:lnTo>
                    <a:pt x="2088" y="69"/>
                  </a:lnTo>
                  <a:lnTo>
                    <a:pt x="2107" y="69"/>
                  </a:lnTo>
                  <a:lnTo>
                    <a:pt x="2107" y="88"/>
                  </a:lnTo>
                  <a:lnTo>
                    <a:pt x="2098" y="98"/>
                  </a:lnTo>
                  <a:lnTo>
                    <a:pt x="2078" y="117"/>
                  </a:lnTo>
                  <a:lnTo>
                    <a:pt x="2078" y="137"/>
                  </a:lnTo>
                  <a:lnTo>
                    <a:pt x="2078" y="166"/>
                  </a:lnTo>
                  <a:lnTo>
                    <a:pt x="2059" y="186"/>
                  </a:lnTo>
                  <a:lnTo>
                    <a:pt x="2059" y="196"/>
                  </a:lnTo>
                  <a:lnTo>
                    <a:pt x="2049" y="205"/>
                  </a:lnTo>
                  <a:lnTo>
                    <a:pt x="2029" y="235"/>
                  </a:lnTo>
                  <a:lnTo>
                    <a:pt x="2029" y="244"/>
                  </a:lnTo>
                  <a:lnTo>
                    <a:pt x="2029" y="264"/>
                  </a:lnTo>
                  <a:lnTo>
                    <a:pt x="2049" y="264"/>
                  </a:lnTo>
                  <a:lnTo>
                    <a:pt x="2039" y="293"/>
                  </a:lnTo>
                  <a:lnTo>
                    <a:pt x="2049" y="303"/>
                  </a:lnTo>
                  <a:lnTo>
                    <a:pt x="2078" y="313"/>
                  </a:lnTo>
                  <a:lnTo>
                    <a:pt x="2117" y="303"/>
                  </a:lnTo>
                  <a:lnTo>
                    <a:pt x="2146" y="303"/>
                  </a:lnTo>
                  <a:lnTo>
                    <a:pt x="2156" y="322"/>
                  </a:lnTo>
                  <a:lnTo>
                    <a:pt x="2166" y="352"/>
                  </a:lnTo>
                  <a:lnTo>
                    <a:pt x="2176" y="361"/>
                  </a:lnTo>
                  <a:lnTo>
                    <a:pt x="2185" y="371"/>
                  </a:lnTo>
                  <a:lnTo>
                    <a:pt x="2195" y="381"/>
                  </a:lnTo>
                  <a:lnTo>
                    <a:pt x="2185" y="400"/>
                  </a:lnTo>
                  <a:lnTo>
                    <a:pt x="2185" y="439"/>
                  </a:lnTo>
                  <a:lnTo>
                    <a:pt x="2146" y="439"/>
                  </a:lnTo>
                  <a:lnTo>
                    <a:pt x="2146" y="449"/>
                  </a:lnTo>
                  <a:lnTo>
                    <a:pt x="2146" y="459"/>
                  </a:lnTo>
                  <a:lnTo>
                    <a:pt x="2137" y="469"/>
                  </a:lnTo>
                  <a:lnTo>
                    <a:pt x="2107" y="488"/>
                  </a:lnTo>
                  <a:lnTo>
                    <a:pt x="2098" y="488"/>
                  </a:lnTo>
                  <a:lnTo>
                    <a:pt x="2098" y="508"/>
                  </a:lnTo>
                  <a:lnTo>
                    <a:pt x="2068" y="508"/>
                  </a:lnTo>
                  <a:lnTo>
                    <a:pt x="2068" y="517"/>
                  </a:lnTo>
                  <a:lnTo>
                    <a:pt x="2078" y="527"/>
                  </a:lnTo>
                  <a:lnTo>
                    <a:pt x="2098" y="537"/>
                  </a:lnTo>
                  <a:lnTo>
                    <a:pt x="2098" y="557"/>
                  </a:lnTo>
                  <a:lnTo>
                    <a:pt x="2078" y="566"/>
                  </a:lnTo>
                  <a:lnTo>
                    <a:pt x="2068" y="576"/>
                  </a:lnTo>
                  <a:lnTo>
                    <a:pt x="2107" y="596"/>
                  </a:lnTo>
                  <a:lnTo>
                    <a:pt x="2107" y="615"/>
                  </a:lnTo>
                  <a:lnTo>
                    <a:pt x="2098" y="625"/>
                  </a:lnTo>
                  <a:lnTo>
                    <a:pt x="2088" y="635"/>
                  </a:lnTo>
                  <a:lnTo>
                    <a:pt x="2088" y="654"/>
                  </a:lnTo>
                  <a:lnTo>
                    <a:pt x="2098" y="674"/>
                  </a:lnTo>
                  <a:lnTo>
                    <a:pt x="2127" y="683"/>
                  </a:lnTo>
                  <a:lnTo>
                    <a:pt x="2137" y="693"/>
                  </a:lnTo>
                  <a:lnTo>
                    <a:pt x="2137" y="722"/>
                  </a:lnTo>
                  <a:lnTo>
                    <a:pt x="2146" y="732"/>
                  </a:lnTo>
                  <a:lnTo>
                    <a:pt x="2146" y="742"/>
                  </a:lnTo>
                  <a:lnTo>
                    <a:pt x="2127" y="742"/>
                  </a:lnTo>
                  <a:lnTo>
                    <a:pt x="2117" y="791"/>
                  </a:lnTo>
                  <a:lnTo>
                    <a:pt x="2107" y="791"/>
                  </a:lnTo>
                  <a:lnTo>
                    <a:pt x="2098" y="800"/>
                  </a:lnTo>
                  <a:lnTo>
                    <a:pt x="2098" y="810"/>
                  </a:lnTo>
                  <a:lnTo>
                    <a:pt x="2088" y="830"/>
                  </a:lnTo>
                  <a:lnTo>
                    <a:pt x="2068" y="820"/>
                  </a:lnTo>
                  <a:lnTo>
                    <a:pt x="2068" y="810"/>
                  </a:lnTo>
                  <a:lnTo>
                    <a:pt x="2049" y="810"/>
                  </a:lnTo>
                  <a:lnTo>
                    <a:pt x="2049" y="830"/>
                  </a:lnTo>
                  <a:lnTo>
                    <a:pt x="2039" y="839"/>
                  </a:lnTo>
                  <a:lnTo>
                    <a:pt x="2020" y="839"/>
                  </a:lnTo>
                  <a:lnTo>
                    <a:pt x="2010" y="849"/>
                  </a:lnTo>
                  <a:lnTo>
                    <a:pt x="2000" y="849"/>
                  </a:lnTo>
                  <a:lnTo>
                    <a:pt x="1990" y="849"/>
                  </a:lnTo>
                  <a:lnTo>
                    <a:pt x="1990" y="859"/>
                  </a:lnTo>
                  <a:lnTo>
                    <a:pt x="2000" y="869"/>
                  </a:lnTo>
                  <a:lnTo>
                    <a:pt x="2010" y="869"/>
                  </a:lnTo>
                  <a:lnTo>
                    <a:pt x="2020" y="898"/>
                  </a:lnTo>
                  <a:lnTo>
                    <a:pt x="2020" y="908"/>
                  </a:lnTo>
                  <a:lnTo>
                    <a:pt x="2010" y="918"/>
                  </a:lnTo>
                  <a:lnTo>
                    <a:pt x="2000" y="908"/>
                  </a:lnTo>
                  <a:lnTo>
                    <a:pt x="1981" y="908"/>
                  </a:lnTo>
                  <a:lnTo>
                    <a:pt x="1981" y="927"/>
                  </a:lnTo>
                  <a:lnTo>
                    <a:pt x="1961" y="927"/>
                  </a:lnTo>
                  <a:lnTo>
                    <a:pt x="1951" y="937"/>
                  </a:lnTo>
                  <a:lnTo>
                    <a:pt x="1942" y="947"/>
                  </a:lnTo>
                  <a:lnTo>
                    <a:pt x="1942" y="966"/>
                  </a:lnTo>
                  <a:lnTo>
                    <a:pt x="1951" y="976"/>
                  </a:lnTo>
                  <a:lnTo>
                    <a:pt x="1942" y="996"/>
                  </a:lnTo>
                  <a:lnTo>
                    <a:pt x="1942" y="1005"/>
                  </a:lnTo>
                  <a:lnTo>
                    <a:pt x="1951" y="1025"/>
                  </a:lnTo>
                  <a:lnTo>
                    <a:pt x="1971" y="1064"/>
                  </a:lnTo>
                  <a:lnTo>
                    <a:pt x="1981" y="1083"/>
                  </a:lnTo>
                  <a:lnTo>
                    <a:pt x="2000" y="1093"/>
                  </a:lnTo>
                  <a:lnTo>
                    <a:pt x="2000" y="1103"/>
                  </a:lnTo>
                  <a:lnTo>
                    <a:pt x="2020" y="1122"/>
                  </a:lnTo>
                  <a:lnTo>
                    <a:pt x="2010" y="1132"/>
                  </a:lnTo>
                  <a:lnTo>
                    <a:pt x="2029" y="1152"/>
                  </a:lnTo>
                  <a:lnTo>
                    <a:pt x="2029" y="1181"/>
                  </a:lnTo>
                  <a:lnTo>
                    <a:pt x="2020" y="1191"/>
                  </a:lnTo>
                  <a:lnTo>
                    <a:pt x="2020" y="1210"/>
                  </a:lnTo>
                  <a:lnTo>
                    <a:pt x="2020" y="1230"/>
                  </a:lnTo>
                  <a:lnTo>
                    <a:pt x="2010" y="1230"/>
                  </a:lnTo>
                  <a:lnTo>
                    <a:pt x="2010" y="1220"/>
                  </a:lnTo>
                  <a:lnTo>
                    <a:pt x="2000" y="1210"/>
                  </a:lnTo>
                  <a:lnTo>
                    <a:pt x="1990" y="1220"/>
                  </a:lnTo>
                  <a:lnTo>
                    <a:pt x="1990" y="1230"/>
                  </a:lnTo>
                  <a:lnTo>
                    <a:pt x="1981" y="1239"/>
                  </a:lnTo>
                  <a:lnTo>
                    <a:pt x="1971" y="1220"/>
                  </a:lnTo>
                  <a:lnTo>
                    <a:pt x="1951" y="1239"/>
                  </a:lnTo>
                  <a:lnTo>
                    <a:pt x="1961" y="1259"/>
                  </a:lnTo>
                  <a:lnTo>
                    <a:pt x="1951" y="1269"/>
                  </a:lnTo>
                  <a:lnTo>
                    <a:pt x="1932" y="1279"/>
                  </a:lnTo>
                  <a:lnTo>
                    <a:pt x="1912" y="1269"/>
                  </a:lnTo>
                  <a:lnTo>
                    <a:pt x="1893" y="1279"/>
                  </a:lnTo>
                  <a:lnTo>
                    <a:pt x="1873" y="1269"/>
                  </a:lnTo>
                  <a:lnTo>
                    <a:pt x="1854" y="1269"/>
                  </a:lnTo>
                  <a:lnTo>
                    <a:pt x="1844" y="1279"/>
                  </a:lnTo>
                  <a:lnTo>
                    <a:pt x="1834" y="1279"/>
                  </a:lnTo>
                  <a:lnTo>
                    <a:pt x="1825" y="1269"/>
                  </a:lnTo>
                  <a:lnTo>
                    <a:pt x="1815" y="1279"/>
                  </a:lnTo>
                  <a:lnTo>
                    <a:pt x="1825" y="1288"/>
                  </a:lnTo>
                  <a:lnTo>
                    <a:pt x="1815" y="1308"/>
                  </a:lnTo>
                  <a:lnTo>
                    <a:pt x="1825" y="1347"/>
                  </a:lnTo>
                  <a:lnTo>
                    <a:pt x="1834" y="1357"/>
                  </a:lnTo>
                  <a:lnTo>
                    <a:pt x="1834" y="1386"/>
                  </a:lnTo>
                  <a:lnTo>
                    <a:pt x="1825" y="1405"/>
                  </a:lnTo>
                  <a:lnTo>
                    <a:pt x="1815" y="1425"/>
                  </a:lnTo>
                  <a:lnTo>
                    <a:pt x="1815" y="1444"/>
                  </a:lnTo>
                  <a:lnTo>
                    <a:pt x="1805" y="1454"/>
                  </a:lnTo>
                  <a:lnTo>
                    <a:pt x="1805" y="1483"/>
                  </a:lnTo>
                  <a:lnTo>
                    <a:pt x="1805" y="1513"/>
                  </a:lnTo>
                  <a:lnTo>
                    <a:pt x="1834" y="1532"/>
                  </a:lnTo>
                  <a:lnTo>
                    <a:pt x="1844" y="1571"/>
                  </a:lnTo>
                  <a:lnTo>
                    <a:pt x="1854" y="1581"/>
                  </a:lnTo>
                  <a:lnTo>
                    <a:pt x="1873" y="1591"/>
                  </a:lnTo>
                  <a:lnTo>
                    <a:pt x="1873" y="1610"/>
                  </a:lnTo>
                  <a:lnTo>
                    <a:pt x="1873" y="1620"/>
                  </a:lnTo>
                  <a:lnTo>
                    <a:pt x="1864" y="1630"/>
                  </a:lnTo>
                  <a:lnTo>
                    <a:pt x="1864" y="1659"/>
                  </a:lnTo>
                  <a:lnTo>
                    <a:pt x="1854" y="1679"/>
                  </a:lnTo>
                  <a:lnTo>
                    <a:pt x="1834" y="1698"/>
                  </a:lnTo>
                  <a:lnTo>
                    <a:pt x="1815" y="1698"/>
                  </a:lnTo>
                  <a:lnTo>
                    <a:pt x="1805" y="1708"/>
                  </a:lnTo>
                  <a:lnTo>
                    <a:pt x="1785" y="1708"/>
                  </a:lnTo>
                  <a:lnTo>
                    <a:pt x="1776" y="1708"/>
                  </a:lnTo>
                  <a:lnTo>
                    <a:pt x="1766" y="1727"/>
                  </a:lnTo>
                  <a:lnTo>
                    <a:pt x="1766" y="1747"/>
                  </a:lnTo>
                  <a:lnTo>
                    <a:pt x="1766" y="1757"/>
                  </a:lnTo>
                  <a:lnTo>
                    <a:pt x="1756" y="1766"/>
                  </a:lnTo>
                  <a:lnTo>
                    <a:pt x="1737" y="1776"/>
                  </a:lnTo>
                  <a:lnTo>
                    <a:pt x="1727" y="1776"/>
                  </a:lnTo>
                  <a:lnTo>
                    <a:pt x="1717" y="1796"/>
                  </a:lnTo>
                  <a:lnTo>
                    <a:pt x="1698" y="1786"/>
                  </a:lnTo>
                  <a:lnTo>
                    <a:pt x="1688" y="1796"/>
                  </a:lnTo>
                  <a:lnTo>
                    <a:pt x="1668" y="1796"/>
                  </a:lnTo>
                  <a:lnTo>
                    <a:pt x="1649" y="1805"/>
                  </a:lnTo>
                  <a:lnTo>
                    <a:pt x="1649" y="1835"/>
                  </a:lnTo>
                  <a:lnTo>
                    <a:pt x="1649" y="1854"/>
                  </a:lnTo>
                  <a:lnTo>
                    <a:pt x="1639" y="1864"/>
                  </a:lnTo>
                  <a:lnTo>
                    <a:pt x="1649" y="1913"/>
                  </a:lnTo>
                  <a:lnTo>
                    <a:pt x="1639" y="1913"/>
                  </a:lnTo>
                  <a:lnTo>
                    <a:pt x="1639" y="1922"/>
                  </a:lnTo>
                  <a:lnTo>
                    <a:pt x="1649" y="1932"/>
                  </a:lnTo>
                  <a:lnTo>
                    <a:pt x="1649" y="1942"/>
                  </a:lnTo>
                  <a:lnTo>
                    <a:pt x="1649" y="1952"/>
                  </a:lnTo>
                  <a:lnTo>
                    <a:pt x="1649" y="1961"/>
                  </a:lnTo>
                  <a:lnTo>
                    <a:pt x="1629" y="1961"/>
                  </a:lnTo>
                  <a:lnTo>
                    <a:pt x="1620" y="1961"/>
                  </a:lnTo>
                  <a:lnTo>
                    <a:pt x="1629" y="1971"/>
                  </a:lnTo>
                  <a:lnTo>
                    <a:pt x="1649" y="1981"/>
                  </a:lnTo>
                  <a:lnTo>
                    <a:pt x="1659" y="1991"/>
                  </a:lnTo>
                  <a:lnTo>
                    <a:pt x="1678" y="2001"/>
                  </a:lnTo>
                  <a:lnTo>
                    <a:pt x="1668" y="2020"/>
                  </a:lnTo>
                  <a:lnTo>
                    <a:pt x="1659" y="2049"/>
                  </a:lnTo>
                  <a:lnTo>
                    <a:pt x="1659" y="2069"/>
                  </a:lnTo>
                  <a:lnTo>
                    <a:pt x="1678" y="2069"/>
                  </a:lnTo>
                  <a:lnTo>
                    <a:pt x="1698" y="2088"/>
                  </a:lnTo>
                  <a:lnTo>
                    <a:pt x="1707" y="2098"/>
                  </a:lnTo>
                  <a:lnTo>
                    <a:pt x="1707" y="2108"/>
                  </a:lnTo>
                  <a:lnTo>
                    <a:pt x="1707" y="2127"/>
                  </a:lnTo>
                  <a:lnTo>
                    <a:pt x="1698" y="2137"/>
                  </a:lnTo>
                  <a:lnTo>
                    <a:pt x="1698" y="2157"/>
                  </a:lnTo>
                  <a:lnTo>
                    <a:pt x="1698" y="2166"/>
                  </a:lnTo>
                  <a:lnTo>
                    <a:pt x="1688" y="2186"/>
                  </a:lnTo>
                  <a:lnTo>
                    <a:pt x="1688" y="2205"/>
                  </a:lnTo>
                  <a:lnTo>
                    <a:pt x="1707" y="2225"/>
                  </a:lnTo>
                  <a:lnTo>
                    <a:pt x="1659" y="2244"/>
                  </a:lnTo>
                  <a:lnTo>
                    <a:pt x="1629" y="2254"/>
                  </a:lnTo>
                  <a:lnTo>
                    <a:pt x="1590" y="2274"/>
                  </a:lnTo>
                  <a:lnTo>
                    <a:pt x="1590" y="2293"/>
                  </a:lnTo>
                  <a:lnTo>
                    <a:pt x="1600" y="2303"/>
                  </a:lnTo>
                  <a:lnTo>
                    <a:pt x="1590" y="2313"/>
                  </a:lnTo>
                  <a:lnTo>
                    <a:pt x="1551" y="2322"/>
                  </a:lnTo>
                  <a:lnTo>
                    <a:pt x="1532" y="2322"/>
                  </a:lnTo>
                  <a:lnTo>
                    <a:pt x="1522" y="2322"/>
                  </a:lnTo>
                  <a:lnTo>
                    <a:pt x="1512" y="2322"/>
                  </a:lnTo>
                  <a:lnTo>
                    <a:pt x="1512" y="2342"/>
                  </a:lnTo>
                  <a:lnTo>
                    <a:pt x="1493" y="2342"/>
                  </a:lnTo>
                  <a:lnTo>
                    <a:pt x="1493" y="2332"/>
                  </a:lnTo>
                  <a:lnTo>
                    <a:pt x="1483" y="2342"/>
                  </a:lnTo>
                  <a:lnTo>
                    <a:pt x="1473" y="2342"/>
                  </a:lnTo>
                  <a:lnTo>
                    <a:pt x="1454" y="2342"/>
                  </a:lnTo>
                  <a:lnTo>
                    <a:pt x="1444" y="2362"/>
                  </a:lnTo>
                  <a:lnTo>
                    <a:pt x="1425" y="2362"/>
                  </a:lnTo>
                  <a:lnTo>
                    <a:pt x="1415" y="2352"/>
                  </a:lnTo>
                  <a:lnTo>
                    <a:pt x="1405" y="2342"/>
                  </a:lnTo>
                  <a:lnTo>
                    <a:pt x="1395" y="2352"/>
                  </a:lnTo>
                  <a:lnTo>
                    <a:pt x="1386" y="2352"/>
                  </a:lnTo>
                  <a:lnTo>
                    <a:pt x="1356" y="2352"/>
                  </a:lnTo>
                  <a:lnTo>
                    <a:pt x="1327" y="2362"/>
                  </a:lnTo>
                  <a:lnTo>
                    <a:pt x="1308" y="2371"/>
                  </a:lnTo>
                  <a:lnTo>
                    <a:pt x="1298" y="2362"/>
                  </a:lnTo>
                  <a:lnTo>
                    <a:pt x="1278" y="2342"/>
                  </a:lnTo>
                  <a:lnTo>
                    <a:pt x="1259" y="2332"/>
                  </a:lnTo>
                  <a:lnTo>
                    <a:pt x="1239" y="2332"/>
                  </a:lnTo>
                  <a:lnTo>
                    <a:pt x="1220" y="2332"/>
                  </a:lnTo>
                  <a:lnTo>
                    <a:pt x="1190" y="2332"/>
                  </a:lnTo>
                  <a:lnTo>
                    <a:pt x="1181" y="2332"/>
                  </a:lnTo>
                  <a:lnTo>
                    <a:pt x="1181" y="2352"/>
                  </a:lnTo>
                  <a:lnTo>
                    <a:pt x="1161" y="2352"/>
                  </a:lnTo>
                  <a:lnTo>
                    <a:pt x="1142" y="2342"/>
                  </a:lnTo>
                  <a:lnTo>
                    <a:pt x="1132" y="2322"/>
                  </a:lnTo>
                  <a:lnTo>
                    <a:pt x="1112" y="2342"/>
                  </a:lnTo>
                  <a:lnTo>
                    <a:pt x="1093" y="2332"/>
                  </a:lnTo>
                  <a:lnTo>
                    <a:pt x="1083" y="2322"/>
                  </a:lnTo>
                  <a:lnTo>
                    <a:pt x="1064" y="2322"/>
                  </a:lnTo>
                  <a:lnTo>
                    <a:pt x="1044" y="2322"/>
                  </a:lnTo>
                  <a:lnTo>
                    <a:pt x="1015" y="2332"/>
                  </a:lnTo>
                  <a:lnTo>
                    <a:pt x="1005" y="2342"/>
                  </a:lnTo>
                  <a:lnTo>
                    <a:pt x="995" y="2352"/>
                  </a:lnTo>
                  <a:lnTo>
                    <a:pt x="976" y="2342"/>
                  </a:lnTo>
                  <a:lnTo>
                    <a:pt x="947" y="2303"/>
                  </a:lnTo>
                  <a:lnTo>
                    <a:pt x="947" y="2283"/>
                  </a:lnTo>
                  <a:lnTo>
                    <a:pt x="937" y="2283"/>
                  </a:lnTo>
                  <a:close/>
                </a:path>
              </a:pathLst>
            </a:custGeom>
            <a:solidFill>
              <a:srgbClr val="FEE950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8" name="Freeform 284"/>
            <p:cNvSpPr>
              <a:spLocks/>
            </p:cNvSpPr>
            <p:nvPr/>
          </p:nvSpPr>
          <p:spPr bwMode="auto">
            <a:xfrm>
              <a:off x="7551" y="1220"/>
              <a:ext cx="839" cy="1046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97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9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3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5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20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3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29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87"/>
                  </a:lnTo>
                  <a:lnTo>
                    <a:pt x="117" y="48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58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97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4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83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29"/>
                  </a:lnTo>
                  <a:lnTo>
                    <a:pt x="64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90" y="38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819" y="23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7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39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5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79" name="Group 281"/>
            <p:cNvGrpSpPr>
              <a:grpSpLocks/>
            </p:cNvGrpSpPr>
            <p:nvPr/>
          </p:nvGrpSpPr>
          <p:grpSpPr bwMode="auto">
            <a:xfrm>
              <a:off x="7549" y="1220"/>
              <a:ext cx="839" cy="1044"/>
              <a:chOff x="7550" y="1220"/>
              <a:chExt cx="839" cy="1044"/>
            </a:xfrm>
          </p:grpSpPr>
          <p:sp>
            <p:nvSpPr>
              <p:cNvPr id="738" name="Freeform 283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  <a:lnTo>
                      <a:pt x="253" y="48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9" name="Freeform 282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0" name="Freeform 280"/>
            <p:cNvSpPr>
              <a:spLocks/>
            </p:cNvSpPr>
            <p:nvPr/>
          </p:nvSpPr>
          <p:spPr bwMode="auto">
            <a:xfrm>
              <a:off x="8136" y="2139"/>
              <a:ext cx="7" cy="16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81" name="Group 277"/>
            <p:cNvGrpSpPr>
              <a:grpSpLocks/>
            </p:cNvGrpSpPr>
            <p:nvPr/>
          </p:nvGrpSpPr>
          <p:grpSpPr bwMode="auto">
            <a:xfrm>
              <a:off x="8134" y="2137"/>
              <a:ext cx="10" cy="19"/>
              <a:chOff x="8135" y="2137"/>
              <a:chExt cx="10" cy="19"/>
            </a:xfrm>
          </p:grpSpPr>
          <p:sp>
            <p:nvSpPr>
              <p:cNvPr id="736" name="Freeform 279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7" name="Freeform 278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2" name="Freeform 276"/>
            <p:cNvSpPr>
              <a:spLocks/>
            </p:cNvSpPr>
            <p:nvPr/>
          </p:nvSpPr>
          <p:spPr bwMode="auto">
            <a:xfrm>
              <a:off x="8632" y="1737"/>
              <a:ext cx="489" cy="771"/>
            </a:xfrm>
            <a:custGeom>
              <a:avLst/>
              <a:gdLst>
                <a:gd name="T0" fmla="*/ 29 w 487"/>
                <a:gd name="T1" fmla="*/ 449 h 770"/>
                <a:gd name="T2" fmla="*/ 5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8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5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3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5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61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58" y="31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51" y="283"/>
                  </a:lnTo>
                  <a:lnTo>
                    <a:pt x="35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8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51"/>
                  </a:lnTo>
                  <a:lnTo>
                    <a:pt x="448" y="75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3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83" name="Group 273"/>
            <p:cNvGrpSpPr>
              <a:grpSpLocks/>
            </p:cNvGrpSpPr>
            <p:nvPr/>
          </p:nvGrpSpPr>
          <p:grpSpPr bwMode="auto">
            <a:xfrm>
              <a:off x="8632" y="1737"/>
              <a:ext cx="487" cy="770"/>
              <a:chOff x="8633" y="1737"/>
              <a:chExt cx="487" cy="770"/>
            </a:xfrm>
          </p:grpSpPr>
          <p:sp>
            <p:nvSpPr>
              <p:cNvPr id="734" name="Freeform 275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5" name="Freeform 274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4" name="Freeform 272"/>
            <p:cNvSpPr>
              <a:spLocks/>
            </p:cNvSpPr>
            <p:nvPr/>
          </p:nvSpPr>
          <p:spPr bwMode="auto">
            <a:xfrm>
              <a:off x="2995" y="1171"/>
              <a:ext cx="948" cy="635"/>
            </a:xfrm>
            <a:custGeom>
              <a:avLst/>
              <a:gdLst>
                <a:gd name="T0" fmla="*/ 282 w 946"/>
                <a:gd name="T1" fmla="*/ 390 h 634"/>
                <a:gd name="T2" fmla="*/ 370 w 946"/>
                <a:gd name="T3" fmla="*/ 429 h 634"/>
                <a:gd name="T4" fmla="*/ 497 w 946"/>
                <a:gd name="T5" fmla="*/ 527 h 634"/>
                <a:gd name="T6" fmla="*/ 663 w 946"/>
                <a:gd name="T7" fmla="*/ 634 h 634"/>
                <a:gd name="T8" fmla="*/ 741 w 946"/>
                <a:gd name="T9" fmla="*/ 614 h 634"/>
                <a:gd name="T10" fmla="*/ 790 w 946"/>
                <a:gd name="T11" fmla="*/ 595 h 634"/>
                <a:gd name="T12" fmla="*/ 838 w 946"/>
                <a:gd name="T13" fmla="*/ 585 h 634"/>
                <a:gd name="T14" fmla="*/ 897 w 946"/>
                <a:gd name="T15" fmla="*/ 585 h 634"/>
                <a:gd name="T16" fmla="*/ 907 w 946"/>
                <a:gd name="T17" fmla="*/ 517 h 634"/>
                <a:gd name="T18" fmla="*/ 946 w 946"/>
                <a:gd name="T19" fmla="*/ 517 h 634"/>
                <a:gd name="T20" fmla="*/ 946 w 946"/>
                <a:gd name="T21" fmla="*/ 497 h 634"/>
                <a:gd name="T22" fmla="*/ 916 w 946"/>
                <a:gd name="T23" fmla="*/ 439 h 634"/>
                <a:gd name="T24" fmla="*/ 829 w 946"/>
                <a:gd name="T25" fmla="*/ 361 h 634"/>
                <a:gd name="T26" fmla="*/ 780 w 946"/>
                <a:gd name="T27" fmla="*/ 371 h 634"/>
                <a:gd name="T28" fmla="*/ 770 w 946"/>
                <a:gd name="T29" fmla="*/ 419 h 634"/>
                <a:gd name="T30" fmla="*/ 731 w 946"/>
                <a:gd name="T31" fmla="*/ 458 h 634"/>
                <a:gd name="T32" fmla="*/ 702 w 946"/>
                <a:gd name="T33" fmla="*/ 458 h 634"/>
                <a:gd name="T34" fmla="*/ 673 w 946"/>
                <a:gd name="T35" fmla="*/ 458 h 634"/>
                <a:gd name="T36" fmla="*/ 702 w 946"/>
                <a:gd name="T37" fmla="*/ 429 h 634"/>
                <a:gd name="T38" fmla="*/ 712 w 946"/>
                <a:gd name="T39" fmla="*/ 400 h 634"/>
                <a:gd name="T40" fmla="*/ 673 w 946"/>
                <a:gd name="T41" fmla="*/ 400 h 634"/>
                <a:gd name="T42" fmla="*/ 653 w 946"/>
                <a:gd name="T43" fmla="*/ 390 h 634"/>
                <a:gd name="T44" fmla="*/ 624 w 946"/>
                <a:gd name="T45" fmla="*/ 400 h 634"/>
                <a:gd name="T46" fmla="*/ 585 w 946"/>
                <a:gd name="T47" fmla="*/ 361 h 634"/>
                <a:gd name="T48" fmla="*/ 526 w 946"/>
                <a:gd name="T49" fmla="*/ 341 h 634"/>
                <a:gd name="T50" fmla="*/ 497 w 946"/>
                <a:gd name="T51" fmla="*/ 341 h 634"/>
                <a:gd name="T52" fmla="*/ 458 w 946"/>
                <a:gd name="T53" fmla="*/ 312 h 634"/>
                <a:gd name="T54" fmla="*/ 497 w 946"/>
                <a:gd name="T55" fmla="*/ 312 h 634"/>
                <a:gd name="T56" fmla="*/ 517 w 946"/>
                <a:gd name="T57" fmla="*/ 273 h 634"/>
                <a:gd name="T58" fmla="*/ 507 w 946"/>
                <a:gd name="T59" fmla="*/ 253 h 634"/>
                <a:gd name="T60" fmla="*/ 448 w 946"/>
                <a:gd name="T61" fmla="*/ 263 h 634"/>
                <a:gd name="T62" fmla="*/ 419 w 946"/>
                <a:gd name="T63" fmla="*/ 283 h 634"/>
                <a:gd name="T64" fmla="*/ 409 w 946"/>
                <a:gd name="T65" fmla="*/ 244 h 634"/>
                <a:gd name="T66" fmla="*/ 321 w 946"/>
                <a:gd name="T67" fmla="*/ 234 h 634"/>
                <a:gd name="T68" fmla="*/ 263 w 946"/>
                <a:gd name="T69" fmla="*/ 224 h 634"/>
                <a:gd name="T70" fmla="*/ 214 w 946"/>
                <a:gd name="T71" fmla="*/ 214 h 634"/>
                <a:gd name="T72" fmla="*/ 156 w 946"/>
                <a:gd name="T73" fmla="*/ 253 h 634"/>
                <a:gd name="T74" fmla="*/ 87 w 946"/>
                <a:gd name="T75" fmla="*/ 205 h 634"/>
                <a:gd name="T76" fmla="*/ 107 w 946"/>
                <a:gd name="T77" fmla="*/ 156 h 634"/>
                <a:gd name="T78" fmla="*/ 136 w 946"/>
                <a:gd name="T79" fmla="*/ 136 h 634"/>
                <a:gd name="T80" fmla="*/ 185 w 946"/>
                <a:gd name="T81" fmla="*/ 146 h 634"/>
                <a:gd name="T82" fmla="*/ 224 w 946"/>
                <a:gd name="T83" fmla="*/ 117 h 634"/>
                <a:gd name="T84" fmla="*/ 224 w 946"/>
                <a:gd name="T85" fmla="*/ 58 h 634"/>
                <a:gd name="T86" fmla="*/ 185 w 946"/>
                <a:gd name="T87" fmla="*/ 0 h 634"/>
                <a:gd name="T88" fmla="*/ 165 w 946"/>
                <a:gd name="T89" fmla="*/ 29 h 634"/>
                <a:gd name="T90" fmla="*/ 126 w 946"/>
                <a:gd name="T91" fmla="*/ 68 h 634"/>
                <a:gd name="T92" fmla="*/ 97 w 946"/>
                <a:gd name="T93" fmla="*/ 88 h 634"/>
                <a:gd name="T94" fmla="*/ 58 w 946"/>
                <a:gd name="T95" fmla="*/ 117 h 634"/>
                <a:gd name="T96" fmla="*/ 48 w 946"/>
                <a:gd name="T97" fmla="*/ 166 h 634"/>
                <a:gd name="T98" fmla="*/ 0 w 946"/>
                <a:gd name="T99" fmla="*/ 185 h 634"/>
                <a:gd name="T100" fmla="*/ 29 w 946"/>
                <a:gd name="T101" fmla="*/ 302 h 634"/>
                <a:gd name="T102" fmla="*/ 97 w 946"/>
                <a:gd name="T103" fmla="*/ 332 h 63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6"/>
                <a:gd name="T157" fmla="*/ 0 h 634"/>
                <a:gd name="T158" fmla="*/ 946 w 946"/>
                <a:gd name="T159" fmla="*/ 634 h 63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6" h="634">
                  <a:moveTo>
                    <a:pt x="136" y="361"/>
                  </a:moveTo>
                  <a:lnTo>
                    <a:pt x="185" y="371"/>
                  </a:lnTo>
                  <a:lnTo>
                    <a:pt x="253" y="380"/>
                  </a:lnTo>
                  <a:lnTo>
                    <a:pt x="282" y="390"/>
                  </a:lnTo>
                  <a:lnTo>
                    <a:pt x="302" y="380"/>
                  </a:lnTo>
                  <a:lnTo>
                    <a:pt x="331" y="390"/>
                  </a:lnTo>
                  <a:lnTo>
                    <a:pt x="351" y="410"/>
                  </a:lnTo>
                  <a:lnTo>
                    <a:pt x="370" y="429"/>
                  </a:lnTo>
                  <a:lnTo>
                    <a:pt x="409" y="458"/>
                  </a:lnTo>
                  <a:lnTo>
                    <a:pt x="419" y="478"/>
                  </a:lnTo>
                  <a:lnTo>
                    <a:pt x="438" y="488"/>
                  </a:lnTo>
                  <a:lnTo>
                    <a:pt x="497" y="527"/>
                  </a:lnTo>
                  <a:lnTo>
                    <a:pt x="546" y="556"/>
                  </a:lnTo>
                  <a:lnTo>
                    <a:pt x="595" y="595"/>
                  </a:lnTo>
                  <a:lnTo>
                    <a:pt x="643" y="634"/>
                  </a:lnTo>
                  <a:lnTo>
                    <a:pt x="663" y="634"/>
                  </a:lnTo>
                  <a:lnTo>
                    <a:pt x="682" y="634"/>
                  </a:lnTo>
                  <a:lnTo>
                    <a:pt x="702" y="634"/>
                  </a:lnTo>
                  <a:lnTo>
                    <a:pt x="721" y="624"/>
                  </a:lnTo>
                  <a:lnTo>
                    <a:pt x="741" y="614"/>
                  </a:lnTo>
                  <a:lnTo>
                    <a:pt x="751" y="614"/>
                  </a:lnTo>
                  <a:lnTo>
                    <a:pt x="760" y="595"/>
                  </a:lnTo>
                  <a:lnTo>
                    <a:pt x="770" y="595"/>
                  </a:lnTo>
                  <a:lnTo>
                    <a:pt x="790" y="595"/>
                  </a:lnTo>
                  <a:lnTo>
                    <a:pt x="799" y="605"/>
                  </a:lnTo>
                  <a:lnTo>
                    <a:pt x="819" y="605"/>
                  </a:lnTo>
                  <a:lnTo>
                    <a:pt x="819" y="595"/>
                  </a:lnTo>
                  <a:lnTo>
                    <a:pt x="838" y="585"/>
                  </a:lnTo>
                  <a:lnTo>
                    <a:pt x="848" y="575"/>
                  </a:lnTo>
                  <a:lnTo>
                    <a:pt x="858" y="575"/>
                  </a:lnTo>
                  <a:lnTo>
                    <a:pt x="887" y="575"/>
                  </a:lnTo>
                  <a:lnTo>
                    <a:pt x="897" y="585"/>
                  </a:lnTo>
                  <a:lnTo>
                    <a:pt x="907" y="575"/>
                  </a:lnTo>
                  <a:lnTo>
                    <a:pt x="916" y="556"/>
                  </a:lnTo>
                  <a:lnTo>
                    <a:pt x="916" y="536"/>
                  </a:lnTo>
                  <a:lnTo>
                    <a:pt x="907" y="517"/>
                  </a:lnTo>
                  <a:lnTo>
                    <a:pt x="916" y="507"/>
                  </a:lnTo>
                  <a:lnTo>
                    <a:pt x="936" y="517"/>
                  </a:lnTo>
                  <a:lnTo>
                    <a:pt x="946" y="517"/>
                  </a:lnTo>
                  <a:lnTo>
                    <a:pt x="946" y="507"/>
                  </a:lnTo>
                  <a:lnTo>
                    <a:pt x="926" y="497"/>
                  </a:lnTo>
                  <a:lnTo>
                    <a:pt x="946" y="497"/>
                  </a:lnTo>
                  <a:lnTo>
                    <a:pt x="926" y="478"/>
                  </a:lnTo>
                  <a:lnTo>
                    <a:pt x="926" y="458"/>
                  </a:lnTo>
                  <a:lnTo>
                    <a:pt x="916" y="458"/>
                  </a:lnTo>
                  <a:lnTo>
                    <a:pt x="916" y="439"/>
                  </a:lnTo>
                  <a:lnTo>
                    <a:pt x="877" y="410"/>
                  </a:lnTo>
                  <a:lnTo>
                    <a:pt x="848" y="380"/>
                  </a:lnTo>
                  <a:lnTo>
                    <a:pt x="848" y="371"/>
                  </a:lnTo>
                  <a:lnTo>
                    <a:pt x="829" y="361"/>
                  </a:lnTo>
                  <a:lnTo>
                    <a:pt x="819" y="361"/>
                  </a:lnTo>
                  <a:lnTo>
                    <a:pt x="809" y="371"/>
                  </a:lnTo>
                  <a:lnTo>
                    <a:pt x="799" y="361"/>
                  </a:lnTo>
                  <a:lnTo>
                    <a:pt x="780" y="371"/>
                  </a:lnTo>
                  <a:lnTo>
                    <a:pt x="780" y="390"/>
                  </a:lnTo>
                  <a:lnTo>
                    <a:pt x="780" y="400"/>
                  </a:lnTo>
                  <a:lnTo>
                    <a:pt x="770" y="410"/>
                  </a:lnTo>
                  <a:lnTo>
                    <a:pt x="770" y="419"/>
                  </a:lnTo>
                  <a:lnTo>
                    <a:pt x="780" y="429"/>
                  </a:lnTo>
                  <a:lnTo>
                    <a:pt x="770" y="439"/>
                  </a:lnTo>
                  <a:lnTo>
                    <a:pt x="770" y="449"/>
                  </a:lnTo>
                  <a:lnTo>
                    <a:pt x="731" y="458"/>
                  </a:lnTo>
                  <a:lnTo>
                    <a:pt x="721" y="439"/>
                  </a:lnTo>
                  <a:lnTo>
                    <a:pt x="712" y="439"/>
                  </a:lnTo>
                  <a:lnTo>
                    <a:pt x="702" y="449"/>
                  </a:lnTo>
                  <a:lnTo>
                    <a:pt x="702" y="458"/>
                  </a:lnTo>
                  <a:lnTo>
                    <a:pt x="702" y="468"/>
                  </a:lnTo>
                  <a:lnTo>
                    <a:pt x="682" y="468"/>
                  </a:lnTo>
                  <a:lnTo>
                    <a:pt x="673" y="458"/>
                  </a:lnTo>
                  <a:lnTo>
                    <a:pt x="673" y="449"/>
                  </a:lnTo>
                  <a:lnTo>
                    <a:pt x="673" y="429"/>
                  </a:lnTo>
                  <a:lnTo>
                    <a:pt x="692" y="429"/>
                  </a:lnTo>
                  <a:lnTo>
                    <a:pt x="702" y="429"/>
                  </a:lnTo>
                  <a:lnTo>
                    <a:pt x="702" y="419"/>
                  </a:lnTo>
                  <a:lnTo>
                    <a:pt x="702" y="400"/>
                  </a:lnTo>
                  <a:lnTo>
                    <a:pt x="712" y="400"/>
                  </a:lnTo>
                  <a:lnTo>
                    <a:pt x="702" y="390"/>
                  </a:lnTo>
                  <a:lnTo>
                    <a:pt x="682" y="380"/>
                  </a:lnTo>
                  <a:lnTo>
                    <a:pt x="673" y="380"/>
                  </a:lnTo>
                  <a:lnTo>
                    <a:pt x="673" y="400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53" y="390"/>
                  </a:lnTo>
                  <a:lnTo>
                    <a:pt x="643" y="400"/>
                  </a:lnTo>
                  <a:lnTo>
                    <a:pt x="643" y="390"/>
                  </a:lnTo>
                  <a:lnTo>
                    <a:pt x="634" y="390"/>
                  </a:lnTo>
                  <a:lnTo>
                    <a:pt x="624" y="400"/>
                  </a:lnTo>
                  <a:lnTo>
                    <a:pt x="614" y="390"/>
                  </a:lnTo>
                  <a:lnTo>
                    <a:pt x="604" y="380"/>
                  </a:lnTo>
                  <a:lnTo>
                    <a:pt x="595" y="371"/>
                  </a:lnTo>
                  <a:lnTo>
                    <a:pt x="585" y="361"/>
                  </a:lnTo>
                  <a:lnTo>
                    <a:pt x="575" y="351"/>
                  </a:lnTo>
                  <a:lnTo>
                    <a:pt x="565" y="351"/>
                  </a:lnTo>
                  <a:lnTo>
                    <a:pt x="546" y="341"/>
                  </a:lnTo>
                  <a:lnTo>
                    <a:pt x="526" y="341"/>
                  </a:lnTo>
                  <a:lnTo>
                    <a:pt x="517" y="351"/>
                  </a:lnTo>
                  <a:lnTo>
                    <a:pt x="507" y="361"/>
                  </a:lnTo>
                  <a:lnTo>
                    <a:pt x="497" y="361"/>
                  </a:lnTo>
                  <a:lnTo>
                    <a:pt x="497" y="341"/>
                  </a:lnTo>
                  <a:lnTo>
                    <a:pt x="478" y="341"/>
                  </a:lnTo>
                  <a:lnTo>
                    <a:pt x="468" y="332"/>
                  </a:lnTo>
                  <a:lnTo>
                    <a:pt x="458" y="312"/>
                  </a:lnTo>
                  <a:lnTo>
                    <a:pt x="468" y="312"/>
                  </a:lnTo>
                  <a:lnTo>
                    <a:pt x="478" y="312"/>
                  </a:lnTo>
                  <a:lnTo>
                    <a:pt x="487" y="322"/>
                  </a:lnTo>
                  <a:lnTo>
                    <a:pt x="497" y="312"/>
                  </a:lnTo>
                  <a:lnTo>
                    <a:pt x="497" y="302"/>
                  </a:lnTo>
                  <a:lnTo>
                    <a:pt x="517" y="283"/>
                  </a:lnTo>
                  <a:lnTo>
                    <a:pt x="517" y="273"/>
                  </a:lnTo>
                  <a:lnTo>
                    <a:pt x="536" y="283"/>
                  </a:lnTo>
                  <a:lnTo>
                    <a:pt x="546" y="283"/>
                  </a:lnTo>
                  <a:lnTo>
                    <a:pt x="526" y="263"/>
                  </a:lnTo>
                  <a:lnTo>
                    <a:pt x="507" y="253"/>
                  </a:lnTo>
                  <a:lnTo>
                    <a:pt x="458" y="253"/>
                  </a:lnTo>
                  <a:lnTo>
                    <a:pt x="448" y="253"/>
                  </a:lnTo>
                  <a:lnTo>
                    <a:pt x="458" y="263"/>
                  </a:lnTo>
                  <a:lnTo>
                    <a:pt x="448" y="263"/>
                  </a:lnTo>
                  <a:lnTo>
                    <a:pt x="458" y="283"/>
                  </a:lnTo>
                  <a:lnTo>
                    <a:pt x="448" y="283"/>
                  </a:lnTo>
                  <a:lnTo>
                    <a:pt x="438" y="283"/>
                  </a:lnTo>
                  <a:lnTo>
                    <a:pt x="419" y="283"/>
                  </a:lnTo>
                  <a:lnTo>
                    <a:pt x="438" y="273"/>
                  </a:lnTo>
                  <a:lnTo>
                    <a:pt x="438" y="253"/>
                  </a:lnTo>
                  <a:lnTo>
                    <a:pt x="419" y="253"/>
                  </a:lnTo>
                  <a:lnTo>
                    <a:pt x="409" y="244"/>
                  </a:lnTo>
                  <a:lnTo>
                    <a:pt x="390" y="244"/>
                  </a:lnTo>
                  <a:lnTo>
                    <a:pt x="380" y="234"/>
                  </a:lnTo>
                  <a:lnTo>
                    <a:pt x="360" y="234"/>
                  </a:lnTo>
                  <a:lnTo>
                    <a:pt x="321" y="234"/>
                  </a:lnTo>
                  <a:lnTo>
                    <a:pt x="292" y="234"/>
                  </a:lnTo>
                  <a:lnTo>
                    <a:pt x="273" y="224"/>
                  </a:lnTo>
                  <a:lnTo>
                    <a:pt x="273" y="214"/>
                  </a:lnTo>
                  <a:lnTo>
                    <a:pt x="263" y="224"/>
                  </a:lnTo>
                  <a:lnTo>
                    <a:pt x="263" y="234"/>
                  </a:lnTo>
                  <a:lnTo>
                    <a:pt x="243" y="224"/>
                  </a:lnTo>
                  <a:lnTo>
                    <a:pt x="234" y="214"/>
                  </a:lnTo>
                  <a:lnTo>
                    <a:pt x="214" y="214"/>
                  </a:lnTo>
                  <a:lnTo>
                    <a:pt x="214" y="224"/>
                  </a:lnTo>
                  <a:lnTo>
                    <a:pt x="175" y="234"/>
                  </a:lnTo>
                  <a:lnTo>
                    <a:pt x="175" y="253"/>
                  </a:lnTo>
                  <a:lnTo>
                    <a:pt x="156" y="253"/>
                  </a:lnTo>
                  <a:lnTo>
                    <a:pt x="146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87" y="205"/>
                  </a:lnTo>
                  <a:lnTo>
                    <a:pt x="97" y="195"/>
                  </a:lnTo>
                  <a:lnTo>
                    <a:pt x="97" y="185"/>
                  </a:lnTo>
                  <a:lnTo>
                    <a:pt x="107" y="175"/>
                  </a:lnTo>
                  <a:lnTo>
                    <a:pt x="107" y="156"/>
                  </a:lnTo>
                  <a:lnTo>
                    <a:pt x="107" y="146"/>
                  </a:lnTo>
                  <a:lnTo>
                    <a:pt x="117" y="136"/>
                  </a:lnTo>
                  <a:lnTo>
                    <a:pt x="136" y="136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75" y="136"/>
                  </a:lnTo>
                  <a:lnTo>
                    <a:pt x="185" y="146"/>
                  </a:lnTo>
                  <a:lnTo>
                    <a:pt x="195" y="166"/>
                  </a:lnTo>
                  <a:lnTo>
                    <a:pt x="204" y="146"/>
                  </a:lnTo>
                  <a:lnTo>
                    <a:pt x="21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24" y="88"/>
                  </a:lnTo>
                  <a:lnTo>
                    <a:pt x="224" y="7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195" y="29"/>
                  </a:lnTo>
                  <a:lnTo>
                    <a:pt x="185" y="19"/>
                  </a:lnTo>
                  <a:lnTo>
                    <a:pt x="185" y="0"/>
                  </a:lnTo>
                  <a:lnTo>
                    <a:pt x="175" y="0"/>
                  </a:lnTo>
                  <a:lnTo>
                    <a:pt x="165" y="10"/>
                  </a:lnTo>
                  <a:lnTo>
                    <a:pt x="165" y="29"/>
                  </a:lnTo>
                  <a:lnTo>
                    <a:pt x="165" y="49"/>
                  </a:lnTo>
                  <a:lnTo>
                    <a:pt x="156" y="58"/>
                  </a:lnTo>
                  <a:lnTo>
                    <a:pt x="136" y="58"/>
                  </a:lnTo>
                  <a:lnTo>
                    <a:pt x="126" y="68"/>
                  </a:lnTo>
                  <a:lnTo>
                    <a:pt x="136" y="78"/>
                  </a:lnTo>
                  <a:lnTo>
                    <a:pt x="117" y="78"/>
                  </a:lnTo>
                  <a:lnTo>
                    <a:pt x="107" y="88"/>
                  </a:lnTo>
                  <a:lnTo>
                    <a:pt x="97" y="88"/>
                  </a:lnTo>
                  <a:lnTo>
                    <a:pt x="78" y="97"/>
                  </a:lnTo>
                  <a:lnTo>
                    <a:pt x="68" y="107"/>
                  </a:lnTo>
                  <a:lnTo>
                    <a:pt x="58" y="107"/>
                  </a:lnTo>
                  <a:lnTo>
                    <a:pt x="58" y="117"/>
                  </a:lnTo>
                  <a:lnTo>
                    <a:pt x="68" y="127"/>
                  </a:lnTo>
                  <a:lnTo>
                    <a:pt x="58" y="136"/>
                  </a:lnTo>
                  <a:lnTo>
                    <a:pt x="58" y="156"/>
                  </a:lnTo>
                  <a:lnTo>
                    <a:pt x="48" y="166"/>
                  </a:lnTo>
                  <a:lnTo>
                    <a:pt x="39" y="166"/>
                  </a:lnTo>
                  <a:lnTo>
                    <a:pt x="29" y="175"/>
                  </a:lnTo>
                  <a:lnTo>
                    <a:pt x="19" y="185"/>
                  </a:lnTo>
                  <a:lnTo>
                    <a:pt x="0" y="185"/>
                  </a:lnTo>
                  <a:lnTo>
                    <a:pt x="9" y="214"/>
                  </a:lnTo>
                  <a:lnTo>
                    <a:pt x="19" y="253"/>
                  </a:lnTo>
                  <a:lnTo>
                    <a:pt x="29" y="273"/>
                  </a:lnTo>
                  <a:lnTo>
                    <a:pt x="29" y="302"/>
                  </a:lnTo>
                  <a:lnTo>
                    <a:pt x="39" y="322"/>
                  </a:lnTo>
                  <a:lnTo>
                    <a:pt x="48" y="322"/>
                  </a:lnTo>
                  <a:lnTo>
                    <a:pt x="68" y="341"/>
                  </a:lnTo>
                  <a:lnTo>
                    <a:pt x="97" y="332"/>
                  </a:lnTo>
                  <a:lnTo>
                    <a:pt x="117" y="351"/>
                  </a:lnTo>
                  <a:lnTo>
                    <a:pt x="136" y="361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5" name="Freeform 271"/>
            <p:cNvSpPr>
              <a:spLocks/>
            </p:cNvSpPr>
            <p:nvPr/>
          </p:nvSpPr>
          <p:spPr bwMode="auto">
            <a:xfrm>
              <a:off x="772" y="2870"/>
              <a:ext cx="174" cy="134"/>
            </a:xfrm>
            <a:custGeom>
              <a:avLst/>
              <a:gdLst>
                <a:gd name="T0" fmla="*/ 68 w 175"/>
                <a:gd name="T1" fmla="*/ 137 h 137"/>
                <a:gd name="T2" fmla="*/ 97 w 175"/>
                <a:gd name="T3" fmla="*/ 127 h 137"/>
                <a:gd name="T4" fmla="*/ 107 w 175"/>
                <a:gd name="T5" fmla="*/ 127 h 137"/>
                <a:gd name="T6" fmla="*/ 146 w 175"/>
                <a:gd name="T7" fmla="*/ 127 h 137"/>
                <a:gd name="T8" fmla="*/ 146 w 175"/>
                <a:gd name="T9" fmla="*/ 108 h 137"/>
                <a:gd name="T10" fmla="*/ 146 w 175"/>
                <a:gd name="T11" fmla="*/ 98 h 137"/>
                <a:gd name="T12" fmla="*/ 136 w 175"/>
                <a:gd name="T13" fmla="*/ 88 h 137"/>
                <a:gd name="T14" fmla="*/ 136 w 175"/>
                <a:gd name="T15" fmla="*/ 79 h 137"/>
                <a:gd name="T16" fmla="*/ 136 w 175"/>
                <a:gd name="T17" fmla="*/ 79 h 137"/>
                <a:gd name="T18" fmla="*/ 156 w 175"/>
                <a:gd name="T19" fmla="*/ 79 h 137"/>
                <a:gd name="T20" fmla="*/ 175 w 175"/>
                <a:gd name="T21" fmla="*/ 79 h 137"/>
                <a:gd name="T22" fmla="*/ 175 w 175"/>
                <a:gd name="T23" fmla="*/ 59 h 137"/>
                <a:gd name="T24" fmla="*/ 165 w 175"/>
                <a:gd name="T25" fmla="*/ 49 h 137"/>
                <a:gd name="T26" fmla="*/ 156 w 175"/>
                <a:gd name="T27" fmla="*/ 49 h 137"/>
                <a:gd name="T28" fmla="*/ 146 w 175"/>
                <a:gd name="T29" fmla="*/ 30 h 137"/>
                <a:gd name="T30" fmla="*/ 146 w 175"/>
                <a:gd name="T31" fmla="*/ 10 h 137"/>
                <a:gd name="T32" fmla="*/ 126 w 175"/>
                <a:gd name="T33" fmla="*/ 10 h 137"/>
                <a:gd name="T34" fmla="*/ 126 w 175"/>
                <a:gd name="T35" fmla="*/ 30 h 137"/>
                <a:gd name="T36" fmla="*/ 97 w 175"/>
                <a:gd name="T37" fmla="*/ 30 h 137"/>
                <a:gd name="T38" fmla="*/ 87 w 175"/>
                <a:gd name="T39" fmla="*/ 40 h 137"/>
                <a:gd name="T40" fmla="*/ 78 w 175"/>
                <a:gd name="T41" fmla="*/ 30 h 137"/>
                <a:gd name="T42" fmla="*/ 87 w 175"/>
                <a:gd name="T43" fmla="*/ 10 h 137"/>
                <a:gd name="T44" fmla="*/ 68 w 175"/>
                <a:gd name="T45" fmla="*/ 0 h 137"/>
                <a:gd name="T46" fmla="*/ 48 w 175"/>
                <a:gd name="T47" fmla="*/ 0 h 137"/>
                <a:gd name="T48" fmla="*/ 29 w 175"/>
                <a:gd name="T49" fmla="*/ 0 h 137"/>
                <a:gd name="T50" fmla="*/ 0 w 175"/>
                <a:gd name="T51" fmla="*/ 20 h 137"/>
                <a:gd name="T52" fmla="*/ 9 w 175"/>
                <a:gd name="T53" fmla="*/ 40 h 137"/>
                <a:gd name="T54" fmla="*/ 19 w 175"/>
                <a:gd name="T55" fmla="*/ 59 h 137"/>
                <a:gd name="T56" fmla="*/ 29 w 175"/>
                <a:gd name="T57" fmla="*/ 79 h 137"/>
                <a:gd name="T58" fmla="*/ 29 w 175"/>
                <a:gd name="T59" fmla="*/ 98 h 137"/>
                <a:gd name="T60" fmla="*/ 39 w 175"/>
                <a:gd name="T61" fmla="*/ 108 h 137"/>
                <a:gd name="T62" fmla="*/ 48 w 175"/>
                <a:gd name="T63" fmla="*/ 108 h 137"/>
                <a:gd name="T64" fmla="*/ 58 w 175"/>
                <a:gd name="T65" fmla="*/ 118 h 137"/>
                <a:gd name="T66" fmla="*/ 68 w 175"/>
                <a:gd name="T67" fmla="*/ 137 h 13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5"/>
                <a:gd name="T103" fmla="*/ 0 h 137"/>
                <a:gd name="T104" fmla="*/ 175 w 175"/>
                <a:gd name="T105" fmla="*/ 137 h 13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5" h="137">
                  <a:moveTo>
                    <a:pt x="68" y="137"/>
                  </a:moveTo>
                  <a:lnTo>
                    <a:pt x="97" y="127"/>
                  </a:lnTo>
                  <a:lnTo>
                    <a:pt x="107" y="127"/>
                  </a:lnTo>
                  <a:lnTo>
                    <a:pt x="146" y="127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36" y="88"/>
                  </a:lnTo>
                  <a:lnTo>
                    <a:pt x="136" y="79"/>
                  </a:lnTo>
                  <a:lnTo>
                    <a:pt x="156" y="79"/>
                  </a:lnTo>
                  <a:lnTo>
                    <a:pt x="175" y="79"/>
                  </a:lnTo>
                  <a:lnTo>
                    <a:pt x="175" y="59"/>
                  </a:lnTo>
                  <a:lnTo>
                    <a:pt x="165" y="49"/>
                  </a:lnTo>
                  <a:lnTo>
                    <a:pt x="156" y="49"/>
                  </a:lnTo>
                  <a:lnTo>
                    <a:pt x="146" y="30"/>
                  </a:lnTo>
                  <a:lnTo>
                    <a:pt x="146" y="10"/>
                  </a:lnTo>
                  <a:lnTo>
                    <a:pt x="126" y="10"/>
                  </a:lnTo>
                  <a:lnTo>
                    <a:pt x="126" y="30"/>
                  </a:lnTo>
                  <a:lnTo>
                    <a:pt x="97" y="30"/>
                  </a:lnTo>
                  <a:lnTo>
                    <a:pt x="87" y="40"/>
                  </a:lnTo>
                  <a:lnTo>
                    <a:pt x="78" y="3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48" y="0"/>
                  </a:lnTo>
                  <a:lnTo>
                    <a:pt x="29" y="0"/>
                  </a:lnTo>
                  <a:lnTo>
                    <a:pt x="0" y="20"/>
                  </a:lnTo>
                  <a:lnTo>
                    <a:pt x="9" y="40"/>
                  </a:lnTo>
                  <a:lnTo>
                    <a:pt x="19" y="59"/>
                  </a:lnTo>
                  <a:lnTo>
                    <a:pt x="29" y="79"/>
                  </a:lnTo>
                  <a:lnTo>
                    <a:pt x="29" y="98"/>
                  </a:lnTo>
                  <a:lnTo>
                    <a:pt x="39" y="108"/>
                  </a:lnTo>
                  <a:lnTo>
                    <a:pt x="48" y="108"/>
                  </a:lnTo>
                  <a:lnTo>
                    <a:pt x="58" y="118"/>
                  </a:lnTo>
                  <a:lnTo>
                    <a:pt x="68" y="137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6" name="Freeform 270"/>
            <p:cNvSpPr>
              <a:spLocks/>
            </p:cNvSpPr>
            <p:nvPr/>
          </p:nvSpPr>
          <p:spPr bwMode="auto">
            <a:xfrm>
              <a:off x="2741" y="2069"/>
              <a:ext cx="215" cy="322"/>
            </a:xfrm>
            <a:custGeom>
              <a:avLst/>
              <a:gdLst>
                <a:gd name="T0" fmla="*/ 58 w 215"/>
                <a:gd name="T1" fmla="*/ 157 h 322"/>
                <a:gd name="T2" fmla="*/ 68 w 215"/>
                <a:gd name="T3" fmla="*/ 157 h 322"/>
                <a:gd name="T4" fmla="*/ 88 w 215"/>
                <a:gd name="T5" fmla="*/ 137 h 322"/>
                <a:gd name="T6" fmla="*/ 97 w 215"/>
                <a:gd name="T7" fmla="*/ 127 h 322"/>
                <a:gd name="T8" fmla="*/ 97 w 215"/>
                <a:gd name="T9" fmla="*/ 108 h 322"/>
                <a:gd name="T10" fmla="*/ 78 w 215"/>
                <a:gd name="T11" fmla="*/ 108 h 322"/>
                <a:gd name="T12" fmla="*/ 58 w 215"/>
                <a:gd name="T13" fmla="*/ 78 h 322"/>
                <a:gd name="T14" fmla="*/ 49 w 215"/>
                <a:gd name="T15" fmla="*/ 69 h 322"/>
                <a:gd name="T16" fmla="*/ 68 w 215"/>
                <a:gd name="T17" fmla="*/ 59 h 322"/>
                <a:gd name="T18" fmla="*/ 68 w 215"/>
                <a:gd name="T19" fmla="*/ 20 h 322"/>
                <a:gd name="T20" fmla="*/ 78 w 215"/>
                <a:gd name="T21" fmla="*/ 0 h 322"/>
                <a:gd name="T22" fmla="*/ 97 w 215"/>
                <a:gd name="T23" fmla="*/ 10 h 322"/>
                <a:gd name="T24" fmla="*/ 107 w 215"/>
                <a:gd name="T25" fmla="*/ 10 h 322"/>
                <a:gd name="T26" fmla="*/ 117 w 215"/>
                <a:gd name="T27" fmla="*/ 20 h 322"/>
                <a:gd name="T28" fmla="*/ 136 w 215"/>
                <a:gd name="T29" fmla="*/ 10 h 322"/>
                <a:gd name="T30" fmla="*/ 166 w 215"/>
                <a:gd name="T31" fmla="*/ 30 h 322"/>
                <a:gd name="T32" fmla="*/ 156 w 215"/>
                <a:gd name="T33" fmla="*/ 49 h 322"/>
                <a:gd name="T34" fmla="*/ 166 w 215"/>
                <a:gd name="T35" fmla="*/ 69 h 322"/>
                <a:gd name="T36" fmla="*/ 185 w 215"/>
                <a:gd name="T37" fmla="*/ 59 h 322"/>
                <a:gd name="T38" fmla="*/ 215 w 215"/>
                <a:gd name="T39" fmla="*/ 108 h 322"/>
                <a:gd name="T40" fmla="*/ 215 w 215"/>
                <a:gd name="T41" fmla="*/ 127 h 322"/>
                <a:gd name="T42" fmla="*/ 205 w 215"/>
                <a:gd name="T43" fmla="*/ 127 h 322"/>
                <a:gd name="T44" fmla="*/ 195 w 215"/>
                <a:gd name="T45" fmla="*/ 137 h 322"/>
                <a:gd name="T46" fmla="*/ 185 w 215"/>
                <a:gd name="T47" fmla="*/ 147 h 322"/>
                <a:gd name="T48" fmla="*/ 195 w 215"/>
                <a:gd name="T49" fmla="*/ 157 h 322"/>
                <a:gd name="T50" fmla="*/ 185 w 215"/>
                <a:gd name="T51" fmla="*/ 176 h 322"/>
                <a:gd name="T52" fmla="*/ 185 w 215"/>
                <a:gd name="T53" fmla="*/ 186 h 322"/>
                <a:gd name="T54" fmla="*/ 185 w 215"/>
                <a:gd name="T55" fmla="*/ 196 h 322"/>
                <a:gd name="T56" fmla="*/ 176 w 215"/>
                <a:gd name="T57" fmla="*/ 205 h 322"/>
                <a:gd name="T58" fmla="*/ 166 w 215"/>
                <a:gd name="T59" fmla="*/ 196 h 322"/>
                <a:gd name="T60" fmla="*/ 166 w 215"/>
                <a:gd name="T61" fmla="*/ 205 h 322"/>
                <a:gd name="T62" fmla="*/ 156 w 215"/>
                <a:gd name="T63" fmla="*/ 215 h 322"/>
                <a:gd name="T64" fmla="*/ 156 w 215"/>
                <a:gd name="T65" fmla="*/ 225 h 322"/>
                <a:gd name="T66" fmla="*/ 146 w 215"/>
                <a:gd name="T67" fmla="*/ 235 h 322"/>
                <a:gd name="T68" fmla="*/ 136 w 215"/>
                <a:gd name="T69" fmla="*/ 235 h 322"/>
                <a:gd name="T70" fmla="*/ 136 w 215"/>
                <a:gd name="T71" fmla="*/ 244 h 322"/>
                <a:gd name="T72" fmla="*/ 136 w 215"/>
                <a:gd name="T73" fmla="*/ 254 h 322"/>
                <a:gd name="T74" fmla="*/ 127 w 215"/>
                <a:gd name="T75" fmla="*/ 264 h 322"/>
                <a:gd name="T76" fmla="*/ 127 w 215"/>
                <a:gd name="T77" fmla="*/ 274 h 322"/>
                <a:gd name="T78" fmla="*/ 146 w 215"/>
                <a:gd name="T79" fmla="*/ 293 h 322"/>
                <a:gd name="T80" fmla="*/ 146 w 215"/>
                <a:gd name="T81" fmla="*/ 303 h 322"/>
                <a:gd name="T82" fmla="*/ 146 w 215"/>
                <a:gd name="T83" fmla="*/ 313 h 322"/>
                <a:gd name="T84" fmla="*/ 136 w 215"/>
                <a:gd name="T85" fmla="*/ 322 h 322"/>
                <a:gd name="T86" fmla="*/ 127 w 215"/>
                <a:gd name="T87" fmla="*/ 313 h 322"/>
                <a:gd name="T88" fmla="*/ 107 w 215"/>
                <a:gd name="T89" fmla="*/ 313 h 322"/>
                <a:gd name="T90" fmla="*/ 78 w 215"/>
                <a:gd name="T91" fmla="*/ 313 h 322"/>
                <a:gd name="T92" fmla="*/ 58 w 215"/>
                <a:gd name="T93" fmla="*/ 283 h 322"/>
                <a:gd name="T94" fmla="*/ 49 w 215"/>
                <a:gd name="T95" fmla="*/ 293 h 322"/>
                <a:gd name="T96" fmla="*/ 49 w 215"/>
                <a:gd name="T97" fmla="*/ 303 h 322"/>
                <a:gd name="T98" fmla="*/ 19 w 215"/>
                <a:gd name="T99" fmla="*/ 303 h 322"/>
                <a:gd name="T100" fmla="*/ 10 w 215"/>
                <a:gd name="T101" fmla="*/ 293 h 322"/>
                <a:gd name="T102" fmla="*/ 0 w 215"/>
                <a:gd name="T103" fmla="*/ 264 h 322"/>
                <a:gd name="T104" fmla="*/ 0 w 215"/>
                <a:gd name="T105" fmla="*/ 244 h 322"/>
                <a:gd name="T106" fmla="*/ 10 w 215"/>
                <a:gd name="T107" fmla="*/ 225 h 322"/>
                <a:gd name="T108" fmla="*/ 19 w 215"/>
                <a:gd name="T109" fmla="*/ 215 h 322"/>
                <a:gd name="T110" fmla="*/ 10 w 215"/>
                <a:gd name="T111" fmla="*/ 205 h 322"/>
                <a:gd name="T112" fmla="*/ 10 w 215"/>
                <a:gd name="T113" fmla="*/ 196 h 322"/>
                <a:gd name="T114" fmla="*/ 19 w 215"/>
                <a:gd name="T115" fmla="*/ 186 h 322"/>
                <a:gd name="T116" fmla="*/ 58 w 215"/>
                <a:gd name="T117" fmla="*/ 157 h 3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5"/>
                <a:gd name="T178" fmla="*/ 0 h 322"/>
                <a:gd name="T179" fmla="*/ 215 w 215"/>
                <a:gd name="T180" fmla="*/ 322 h 3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5" h="322">
                  <a:moveTo>
                    <a:pt x="58" y="157"/>
                  </a:moveTo>
                  <a:lnTo>
                    <a:pt x="68" y="157"/>
                  </a:lnTo>
                  <a:lnTo>
                    <a:pt x="88" y="137"/>
                  </a:lnTo>
                  <a:lnTo>
                    <a:pt x="97" y="127"/>
                  </a:lnTo>
                  <a:lnTo>
                    <a:pt x="97" y="108"/>
                  </a:lnTo>
                  <a:lnTo>
                    <a:pt x="78" y="108"/>
                  </a:lnTo>
                  <a:lnTo>
                    <a:pt x="58" y="78"/>
                  </a:lnTo>
                  <a:lnTo>
                    <a:pt x="49" y="69"/>
                  </a:lnTo>
                  <a:lnTo>
                    <a:pt x="68" y="59"/>
                  </a:lnTo>
                  <a:lnTo>
                    <a:pt x="68" y="2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10"/>
                  </a:lnTo>
                  <a:lnTo>
                    <a:pt x="117" y="20"/>
                  </a:lnTo>
                  <a:lnTo>
                    <a:pt x="136" y="10"/>
                  </a:lnTo>
                  <a:lnTo>
                    <a:pt x="166" y="30"/>
                  </a:lnTo>
                  <a:lnTo>
                    <a:pt x="156" y="49"/>
                  </a:lnTo>
                  <a:lnTo>
                    <a:pt x="166" y="69"/>
                  </a:lnTo>
                  <a:lnTo>
                    <a:pt x="185" y="59"/>
                  </a:lnTo>
                  <a:lnTo>
                    <a:pt x="215" y="108"/>
                  </a:lnTo>
                  <a:lnTo>
                    <a:pt x="215" y="127"/>
                  </a:lnTo>
                  <a:lnTo>
                    <a:pt x="205" y="127"/>
                  </a:lnTo>
                  <a:lnTo>
                    <a:pt x="195" y="137"/>
                  </a:lnTo>
                  <a:lnTo>
                    <a:pt x="185" y="147"/>
                  </a:lnTo>
                  <a:lnTo>
                    <a:pt x="195" y="157"/>
                  </a:lnTo>
                  <a:lnTo>
                    <a:pt x="185" y="176"/>
                  </a:lnTo>
                  <a:lnTo>
                    <a:pt x="185" y="186"/>
                  </a:lnTo>
                  <a:lnTo>
                    <a:pt x="185" y="196"/>
                  </a:lnTo>
                  <a:lnTo>
                    <a:pt x="176" y="205"/>
                  </a:lnTo>
                  <a:lnTo>
                    <a:pt x="166" y="196"/>
                  </a:lnTo>
                  <a:lnTo>
                    <a:pt x="166" y="205"/>
                  </a:lnTo>
                  <a:lnTo>
                    <a:pt x="156" y="215"/>
                  </a:lnTo>
                  <a:lnTo>
                    <a:pt x="156" y="225"/>
                  </a:lnTo>
                  <a:lnTo>
                    <a:pt x="146" y="235"/>
                  </a:lnTo>
                  <a:lnTo>
                    <a:pt x="136" y="235"/>
                  </a:lnTo>
                  <a:lnTo>
                    <a:pt x="136" y="244"/>
                  </a:lnTo>
                  <a:lnTo>
                    <a:pt x="136" y="254"/>
                  </a:lnTo>
                  <a:lnTo>
                    <a:pt x="127" y="264"/>
                  </a:lnTo>
                  <a:lnTo>
                    <a:pt x="127" y="274"/>
                  </a:lnTo>
                  <a:lnTo>
                    <a:pt x="146" y="293"/>
                  </a:lnTo>
                  <a:lnTo>
                    <a:pt x="146" y="303"/>
                  </a:lnTo>
                  <a:lnTo>
                    <a:pt x="146" y="313"/>
                  </a:lnTo>
                  <a:lnTo>
                    <a:pt x="136" y="322"/>
                  </a:lnTo>
                  <a:lnTo>
                    <a:pt x="127" y="313"/>
                  </a:lnTo>
                  <a:lnTo>
                    <a:pt x="107" y="313"/>
                  </a:lnTo>
                  <a:lnTo>
                    <a:pt x="78" y="313"/>
                  </a:lnTo>
                  <a:lnTo>
                    <a:pt x="58" y="283"/>
                  </a:lnTo>
                  <a:lnTo>
                    <a:pt x="49" y="293"/>
                  </a:lnTo>
                  <a:lnTo>
                    <a:pt x="49" y="303"/>
                  </a:lnTo>
                  <a:lnTo>
                    <a:pt x="19" y="303"/>
                  </a:lnTo>
                  <a:lnTo>
                    <a:pt x="10" y="293"/>
                  </a:lnTo>
                  <a:lnTo>
                    <a:pt x="0" y="264"/>
                  </a:lnTo>
                  <a:lnTo>
                    <a:pt x="0" y="244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10" y="205"/>
                  </a:lnTo>
                  <a:lnTo>
                    <a:pt x="10" y="196"/>
                  </a:lnTo>
                  <a:lnTo>
                    <a:pt x="19" y="186"/>
                  </a:lnTo>
                  <a:lnTo>
                    <a:pt x="58" y="15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7" name="Freeform 269"/>
            <p:cNvSpPr>
              <a:spLocks/>
            </p:cNvSpPr>
            <p:nvPr/>
          </p:nvSpPr>
          <p:spPr bwMode="auto">
            <a:xfrm>
              <a:off x="4156" y="3845"/>
              <a:ext cx="428" cy="388"/>
            </a:xfrm>
            <a:custGeom>
              <a:avLst/>
              <a:gdLst>
                <a:gd name="T0" fmla="*/ 293 w 429"/>
                <a:gd name="T1" fmla="*/ 29 h 390"/>
                <a:gd name="T2" fmla="*/ 322 w 429"/>
                <a:gd name="T3" fmla="*/ 20 h 390"/>
                <a:gd name="T4" fmla="*/ 351 w 429"/>
                <a:gd name="T5" fmla="*/ 49 h 390"/>
                <a:gd name="T6" fmla="*/ 332 w 429"/>
                <a:gd name="T7" fmla="*/ 68 h 390"/>
                <a:gd name="T8" fmla="*/ 312 w 429"/>
                <a:gd name="T9" fmla="*/ 78 h 390"/>
                <a:gd name="T10" fmla="*/ 312 w 429"/>
                <a:gd name="T11" fmla="*/ 98 h 390"/>
                <a:gd name="T12" fmla="*/ 312 w 429"/>
                <a:gd name="T13" fmla="*/ 117 h 390"/>
                <a:gd name="T14" fmla="*/ 332 w 429"/>
                <a:gd name="T15" fmla="*/ 147 h 390"/>
                <a:gd name="T16" fmla="*/ 371 w 429"/>
                <a:gd name="T17" fmla="*/ 147 h 390"/>
                <a:gd name="T18" fmla="*/ 371 w 429"/>
                <a:gd name="T19" fmla="*/ 166 h 390"/>
                <a:gd name="T20" fmla="*/ 371 w 429"/>
                <a:gd name="T21" fmla="*/ 205 h 390"/>
                <a:gd name="T22" fmla="*/ 400 w 429"/>
                <a:gd name="T23" fmla="*/ 234 h 390"/>
                <a:gd name="T24" fmla="*/ 429 w 429"/>
                <a:gd name="T25" fmla="*/ 283 h 390"/>
                <a:gd name="T26" fmla="*/ 410 w 429"/>
                <a:gd name="T27" fmla="*/ 273 h 390"/>
                <a:gd name="T28" fmla="*/ 400 w 429"/>
                <a:gd name="T29" fmla="*/ 283 h 390"/>
                <a:gd name="T30" fmla="*/ 371 w 429"/>
                <a:gd name="T31" fmla="*/ 293 h 390"/>
                <a:gd name="T32" fmla="*/ 390 w 429"/>
                <a:gd name="T33" fmla="*/ 303 h 390"/>
                <a:gd name="T34" fmla="*/ 400 w 429"/>
                <a:gd name="T35" fmla="*/ 322 h 390"/>
                <a:gd name="T36" fmla="*/ 400 w 429"/>
                <a:gd name="T37" fmla="*/ 332 h 390"/>
                <a:gd name="T38" fmla="*/ 410 w 429"/>
                <a:gd name="T39" fmla="*/ 342 h 390"/>
                <a:gd name="T40" fmla="*/ 400 w 429"/>
                <a:gd name="T41" fmla="*/ 361 h 390"/>
                <a:gd name="T42" fmla="*/ 351 w 429"/>
                <a:gd name="T43" fmla="*/ 371 h 390"/>
                <a:gd name="T44" fmla="*/ 293 w 429"/>
                <a:gd name="T45" fmla="*/ 371 h 390"/>
                <a:gd name="T46" fmla="*/ 273 w 429"/>
                <a:gd name="T47" fmla="*/ 390 h 390"/>
                <a:gd name="T48" fmla="*/ 234 w 429"/>
                <a:gd name="T49" fmla="*/ 390 h 390"/>
                <a:gd name="T50" fmla="*/ 205 w 429"/>
                <a:gd name="T51" fmla="*/ 390 h 390"/>
                <a:gd name="T52" fmla="*/ 186 w 429"/>
                <a:gd name="T53" fmla="*/ 371 h 390"/>
                <a:gd name="T54" fmla="*/ 176 w 429"/>
                <a:gd name="T55" fmla="*/ 332 h 390"/>
                <a:gd name="T56" fmla="*/ 176 w 429"/>
                <a:gd name="T57" fmla="*/ 322 h 390"/>
                <a:gd name="T58" fmla="*/ 176 w 429"/>
                <a:gd name="T59" fmla="*/ 312 h 390"/>
                <a:gd name="T60" fmla="*/ 147 w 429"/>
                <a:gd name="T61" fmla="*/ 322 h 390"/>
                <a:gd name="T62" fmla="*/ 108 w 429"/>
                <a:gd name="T63" fmla="*/ 322 h 390"/>
                <a:gd name="T64" fmla="*/ 78 w 429"/>
                <a:gd name="T65" fmla="*/ 312 h 390"/>
                <a:gd name="T66" fmla="*/ 59 w 429"/>
                <a:gd name="T67" fmla="*/ 303 h 390"/>
                <a:gd name="T68" fmla="*/ 49 w 429"/>
                <a:gd name="T69" fmla="*/ 273 h 390"/>
                <a:gd name="T70" fmla="*/ 49 w 429"/>
                <a:gd name="T71" fmla="*/ 254 h 390"/>
                <a:gd name="T72" fmla="*/ 30 w 429"/>
                <a:gd name="T73" fmla="*/ 225 h 390"/>
                <a:gd name="T74" fmla="*/ 10 w 429"/>
                <a:gd name="T75" fmla="*/ 215 h 390"/>
                <a:gd name="T76" fmla="*/ 10 w 429"/>
                <a:gd name="T77" fmla="*/ 176 h 390"/>
                <a:gd name="T78" fmla="*/ 10 w 429"/>
                <a:gd name="T79" fmla="*/ 166 h 390"/>
                <a:gd name="T80" fmla="*/ 30 w 429"/>
                <a:gd name="T81" fmla="*/ 156 h 390"/>
                <a:gd name="T82" fmla="*/ 30 w 429"/>
                <a:gd name="T83" fmla="*/ 137 h 390"/>
                <a:gd name="T84" fmla="*/ 10 w 429"/>
                <a:gd name="T85" fmla="*/ 107 h 390"/>
                <a:gd name="T86" fmla="*/ 39 w 429"/>
                <a:gd name="T87" fmla="*/ 107 h 390"/>
                <a:gd name="T88" fmla="*/ 98 w 429"/>
                <a:gd name="T89" fmla="*/ 88 h 390"/>
                <a:gd name="T90" fmla="*/ 147 w 429"/>
                <a:gd name="T91" fmla="*/ 78 h 390"/>
                <a:gd name="T92" fmla="*/ 166 w 429"/>
                <a:gd name="T93" fmla="*/ 49 h 390"/>
                <a:gd name="T94" fmla="*/ 195 w 429"/>
                <a:gd name="T95" fmla="*/ 39 h 390"/>
                <a:gd name="T96" fmla="*/ 215 w 429"/>
                <a:gd name="T97" fmla="*/ 29 h 390"/>
                <a:gd name="T98" fmla="*/ 234 w 429"/>
                <a:gd name="T99" fmla="*/ 20 h 390"/>
                <a:gd name="T100" fmla="*/ 254 w 429"/>
                <a:gd name="T101" fmla="*/ 0 h 390"/>
                <a:gd name="T102" fmla="*/ 273 w 429"/>
                <a:gd name="T103" fmla="*/ 10 h 3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9"/>
                <a:gd name="T157" fmla="*/ 0 h 390"/>
                <a:gd name="T158" fmla="*/ 429 w 429"/>
                <a:gd name="T159" fmla="*/ 390 h 3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9" h="390">
                  <a:moveTo>
                    <a:pt x="273" y="10"/>
                  </a:moveTo>
                  <a:lnTo>
                    <a:pt x="293" y="29"/>
                  </a:lnTo>
                  <a:lnTo>
                    <a:pt x="312" y="20"/>
                  </a:lnTo>
                  <a:lnTo>
                    <a:pt x="322" y="20"/>
                  </a:lnTo>
                  <a:lnTo>
                    <a:pt x="342" y="39"/>
                  </a:lnTo>
                  <a:lnTo>
                    <a:pt x="351" y="49"/>
                  </a:lnTo>
                  <a:lnTo>
                    <a:pt x="342" y="68"/>
                  </a:lnTo>
                  <a:lnTo>
                    <a:pt x="332" y="68"/>
                  </a:lnTo>
                  <a:lnTo>
                    <a:pt x="322" y="68"/>
                  </a:lnTo>
                  <a:lnTo>
                    <a:pt x="312" y="78"/>
                  </a:lnTo>
                  <a:lnTo>
                    <a:pt x="303" y="88"/>
                  </a:lnTo>
                  <a:lnTo>
                    <a:pt x="312" y="98"/>
                  </a:lnTo>
                  <a:lnTo>
                    <a:pt x="322" y="107"/>
                  </a:lnTo>
                  <a:lnTo>
                    <a:pt x="312" y="117"/>
                  </a:lnTo>
                  <a:lnTo>
                    <a:pt x="312" y="127"/>
                  </a:lnTo>
                  <a:lnTo>
                    <a:pt x="332" y="147"/>
                  </a:lnTo>
                  <a:lnTo>
                    <a:pt x="351" y="137"/>
                  </a:lnTo>
                  <a:lnTo>
                    <a:pt x="371" y="147"/>
                  </a:lnTo>
                  <a:lnTo>
                    <a:pt x="371" y="156"/>
                  </a:lnTo>
                  <a:lnTo>
                    <a:pt x="371" y="166"/>
                  </a:lnTo>
                  <a:lnTo>
                    <a:pt x="361" y="186"/>
                  </a:lnTo>
                  <a:lnTo>
                    <a:pt x="371" y="205"/>
                  </a:lnTo>
                  <a:lnTo>
                    <a:pt x="381" y="215"/>
                  </a:lnTo>
                  <a:lnTo>
                    <a:pt x="400" y="234"/>
                  </a:lnTo>
                  <a:lnTo>
                    <a:pt x="420" y="264"/>
                  </a:lnTo>
                  <a:lnTo>
                    <a:pt x="429" y="283"/>
                  </a:lnTo>
                  <a:lnTo>
                    <a:pt x="420" y="283"/>
                  </a:lnTo>
                  <a:lnTo>
                    <a:pt x="410" y="273"/>
                  </a:lnTo>
                  <a:lnTo>
                    <a:pt x="400" y="273"/>
                  </a:lnTo>
                  <a:lnTo>
                    <a:pt x="400" y="283"/>
                  </a:lnTo>
                  <a:lnTo>
                    <a:pt x="390" y="283"/>
                  </a:lnTo>
                  <a:lnTo>
                    <a:pt x="371" y="293"/>
                  </a:lnTo>
                  <a:lnTo>
                    <a:pt x="371" y="303"/>
                  </a:lnTo>
                  <a:lnTo>
                    <a:pt x="390" y="303"/>
                  </a:lnTo>
                  <a:lnTo>
                    <a:pt x="400" y="312"/>
                  </a:lnTo>
                  <a:lnTo>
                    <a:pt x="400" y="322"/>
                  </a:lnTo>
                  <a:lnTo>
                    <a:pt x="400" y="332"/>
                  </a:lnTo>
                  <a:lnTo>
                    <a:pt x="410" y="342"/>
                  </a:lnTo>
                  <a:lnTo>
                    <a:pt x="410" y="351"/>
                  </a:lnTo>
                  <a:lnTo>
                    <a:pt x="400" y="361"/>
                  </a:lnTo>
                  <a:lnTo>
                    <a:pt x="381" y="361"/>
                  </a:lnTo>
                  <a:lnTo>
                    <a:pt x="351" y="371"/>
                  </a:lnTo>
                  <a:lnTo>
                    <a:pt x="312" y="371"/>
                  </a:lnTo>
                  <a:lnTo>
                    <a:pt x="293" y="371"/>
                  </a:lnTo>
                  <a:lnTo>
                    <a:pt x="283" y="371"/>
                  </a:lnTo>
                  <a:lnTo>
                    <a:pt x="273" y="390"/>
                  </a:lnTo>
                  <a:lnTo>
                    <a:pt x="254" y="390"/>
                  </a:lnTo>
                  <a:lnTo>
                    <a:pt x="234" y="390"/>
                  </a:lnTo>
                  <a:lnTo>
                    <a:pt x="205" y="390"/>
                  </a:lnTo>
                  <a:lnTo>
                    <a:pt x="195" y="371"/>
                  </a:lnTo>
                  <a:lnTo>
                    <a:pt x="186" y="371"/>
                  </a:lnTo>
                  <a:lnTo>
                    <a:pt x="186" y="351"/>
                  </a:lnTo>
                  <a:lnTo>
                    <a:pt x="176" y="332"/>
                  </a:lnTo>
                  <a:lnTo>
                    <a:pt x="166" y="332"/>
                  </a:lnTo>
                  <a:lnTo>
                    <a:pt x="176" y="322"/>
                  </a:lnTo>
                  <a:lnTo>
                    <a:pt x="186" y="312"/>
                  </a:lnTo>
                  <a:lnTo>
                    <a:pt x="176" y="312"/>
                  </a:lnTo>
                  <a:lnTo>
                    <a:pt x="156" y="322"/>
                  </a:lnTo>
                  <a:lnTo>
                    <a:pt x="147" y="322"/>
                  </a:lnTo>
                  <a:lnTo>
                    <a:pt x="127" y="332"/>
                  </a:lnTo>
                  <a:lnTo>
                    <a:pt x="108" y="322"/>
                  </a:lnTo>
                  <a:lnTo>
                    <a:pt x="98" y="312"/>
                  </a:lnTo>
                  <a:lnTo>
                    <a:pt x="78" y="312"/>
                  </a:lnTo>
                  <a:lnTo>
                    <a:pt x="69" y="312"/>
                  </a:lnTo>
                  <a:lnTo>
                    <a:pt x="59" y="303"/>
                  </a:lnTo>
                  <a:lnTo>
                    <a:pt x="59" y="283"/>
                  </a:lnTo>
                  <a:lnTo>
                    <a:pt x="49" y="273"/>
                  </a:lnTo>
                  <a:lnTo>
                    <a:pt x="49" y="264"/>
                  </a:lnTo>
                  <a:lnTo>
                    <a:pt x="49" y="254"/>
                  </a:lnTo>
                  <a:lnTo>
                    <a:pt x="39" y="244"/>
                  </a:lnTo>
                  <a:lnTo>
                    <a:pt x="30" y="225"/>
                  </a:lnTo>
                  <a:lnTo>
                    <a:pt x="10" y="225"/>
                  </a:lnTo>
                  <a:lnTo>
                    <a:pt x="10" y="215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166"/>
                  </a:lnTo>
                  <a:lnTo>
                    <a:pt x="10" y="166"/>
                  </a:lnTo>
                  <a:lnTo>
                    <a:pt x="20" y="156"/>
                  </a:lnTo>
                  <a:lnTo>
                    <a:pt x="30" y="156"/>
                  </a:lnTo>
                  <a:lnTo>
                    <a:pt x="30" y="137"/>
                  </a:lnTo>
                  <a:lnTo>
                    <a:pt x="10" y="127"/>
                  </a:lnTo>
                  <a:lnTo>
                    <a:pt x="10" y="107"/>
                  </a:lnTo>
                  <a:lnTo>
                    <a:pt x="39" y="107"/>
                  </a:lnTo>
                  <a:lnTo>
                    <a:pt x="69" y="98"/>
                  </a:lnTo>
                  <a:lnTo>
                    <a:pt x="98" y="88"/>
                  </a:lnTo>
                  <a:lnTo>
                    <a:pt x="117" y="78"/>
                  </a:lnTo>
                  <a:lnTo>
                    <a:pt x="147" y="78"/>
                  </a:lnTo>
                  <a:lnTo>
                    <a:pt x="166" y="59"/>
                  </a:lnTo>
                  <a:lnTo>
                    <a:pt x="166" y="49"/>
                  </a:lnTo>
                  <a:lnTo>
                    <a:pt x="176" y="39"/>
                  </a:lnTo>
                  <a:lnTo>
                    <a:pt x="195" y="39"/>
                  </a:lnTo>
                  <a:lnTo>
                    <a:pt x="205" y="39"/>
                  </a:lnTo>
                  <a:lnTo>
                    <a:pt x="215" y="29"/>
                  </a:lnTo>
                  <a:lnTo>
                    <a:pt x="234" y="29"/>
                  </a:lnTo>
                  <a:lnTo>
                    <a:pt x="234" y="20"/>
                  </a:lnTo>
                  <a:lnTo>
                    <a:pt x="234" y="0"/>
                  </a:lnTo>
                  <a:lnTo>
                    <a:pt x="254" y="0"/>
                  </a:lnTo>
                  <a:lnTo>
                    <a:pt x="273" y="1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8" name="Freeform 268"/>
            <p:cNvSpPr>
              <a:spLocks/>
            </p:cNvSpPr>
            <p:nvPr/>
          </p:nvSpPr>
          <p:spPr bwMode="auto">
            <a:xfrm>
              <a:off x="3239" y="1944"/>
              <a:ext cx="1318" cy="1020"/>
            </a:xfrm>
            <a:custGeom>
              <a:avLst/>
              <a:gdLst>
                <a:gd name="T0" fmla="*/ 673 w 1317"/>
                <a:gd name="T1" fmla="*/ 985 h 1024"/>
                <a:gd name="T2" fmla="*/ 732 w 1317"/>
                <a:gd name="T3" fmla="*/ 946 h 1024"/>
                <a:gd name="T4" fmla="*/ 771 w 1317"/>
                <a:gd name="T5" fmla="*/ 907 h 1024"/>
                <a:gd name="T6" fmla="*/ 810 w 1317"/>
                <a:gd name="T7" fmla="*/ 858 h 1024"/>
                <a:gd name="T8" fmla="*/ 849 w 1317"/>
                <a:gd name="T9" fmla="*/ 839 h 1024"/>
                <a:gd name="T10" fmla="*/ 888 w 1317"/>
                <a:gd name="T11" fmla="*/ 858 h 1024"/>
                <a:gd name="T12" fmla="*/ 976 w 1317"/>
                <a:gd name="T13" fmla="*/ 907 h 1024"/>
                <a:gd name="T14" fmla="*/ 1025 w 1317"/>
                <a:gd name="T15" fmla="*/ 897 h 1024"/>
                <a:gd name="T16" fmla="*/ 1064 w 1317"/>
                <a:gd name="T17" fmla="*/ 936 h 1024"/>
                <a:gd name="T18" fmla="*/ 1103 w 1317"/>
                <a:gd name="T19" fmla="*/ 936 h 1024"/>
                <a:gd name="T20" fmla="*/ 1181 w 1317"/>
                <a:gd name="T21" fmla="*/ 926 h 1024"/>
                <a:gd name="T22" fmla="*/ 1249 w 1317"/>
                <a:gd name="T23" fmla="*/ 936 h 1024"/>
                <a:gd name="T24" fmla="*/ 1317 w 1317"/>
                <a:gd name="T25" fmla="*/ 878 h 1024"/>
                <a:gd name="T26" fmla="*/ 1259 w 1317"/>
                <a:gd name="T27" fmla="*/ 829 h 1024"/>
                <a:gd name="T28" fmla="*/ 1249 w 1317"/>
                <a:gd name="T29" fmla="*/ 751 h 1024"/>
                <a:gd name="T30" fmla="*/ 1190 w 1317"/>
                <a:gd name="T31" fmla="*/ 722 h 1024"/>
                <a:gd name="T32" fmla="*/ 1142 w 1317"/>
                <a:gd name="T33" fmla="*/ 712 h 1024"/>
                <a:gd name="T34" fmla="*/ 1103 w 1317"/>
                <a:gd name="T35" fmla="*/ 653 h 1024"/>
                <a:gd name="T36" fmla="*/ 1054 w 1317"/>
                <a:gd name="T37" fmla="*/ 673 h 1024"/>
                <a:gd name="T38" fmla="*/ 1005 w 1317"/>
                <a:gd name="T39" fmla="*/ 683 h 1024"/>
                <a:gd name="T40" fmla="*/ 927 w 1317"/>
                <a:gd name="T41" fmla="*/ 663 h 1024"/>
                <a:gd name="T42" fmla="*/ 898 w 1317"/>
                <a:gd name="T43" fmla="*/ 595 h 1024"/>
                <a:gd name="T44" fmla="*/ 820 w 1317"/>
                <a:gd name="T45" fmla="*/ 556 h 1024"/>
                <a:gd name="T46" fmla="*/ 742 w 1317"/>
                <a:gd name="T47" fmla="*/ 517 h 1024"/>
                <a:gd name="T48" fmla="*/ 703 w 1317"/>
                <a:gd name="T49" fmla="*/ 487 h 1024"/>
                <a:gd name="T50" fmla="*/ 654 w 1317"/>
                <a:gd name="T51" fmla="*/ 468 h 1024"/>
                <a:gd name="T52" fmla="*/ 654 w 1317"/>
                <a:gd name="T53" fmla="*/ 429 h 1024"/>
                <a:gd name="T54" fmla="*/ 664 w 1317"/>
                <a:gd name="T55" fmla="*/ 351 h 1024"/>
                <a:gd name="T56" fmla="*/ 634 w 1317"/>
                <a:gd name="T57" fmla="*/ 331 h 1024"/>
                <a:gd name="T58" fmla="*/ 586 w 1317"/>
                <a:gd name="T59" fmla="*/ 292 h 1024"/>
                <a:gd name="T60" fmla="*/ 547 w 1317"/>
                <a:gd name="T61" fmla="*/ 292 h 1024"/>
                <a:gd name="T62" fmla="*/ 478 w 1317"/>
                <a:gd name="T63" fmla="*/ 263 h 1024"/>
                <a:gd name="T64" fmla="*/ 478 w 1317"/>
                <a:gd name="T65" fmla="*/ 224 h 1024"/>
                <a:gd name="T66" fmla="*/ 400 w 1317"/>
                <a:gd name="T67" fmla="*/ 185 h 1024"/>
                <a:gd name="T68" fmla="*/ 342 w 1317"/>
                <a:gd name="T69" fmla="*/ 165 h 1024"/>
                <a:gd name="T70" fmla="*/ 303 w 1317"/>
                <a:gd name="T71" fmla="*/ 126 h 1024"/>
                <a:gd name="T72" fmla="*/ 361 w 1317"/>
                <a:gd name="T73" fmla="*/ 58 h 1024"/>
                <a:gd name="T74" fmla="*/ 371 w 1317"/>
                <a:gd name="T75" fmla="*/ 0 h 1024"/>
                <a:gd name="T76" fmla="*/ 283 w 1317"/>
                <a:gd name="T77" fmla="*/ 29 h 1024"/>
                <a:gd name="T78" fmla="*/ 215 w 1317"/>
                <a:gd name="T79" fmla="*/ 9 h 1024"/>
                <a:gd name="T80" fmla="*/ 186 w 1317"/>
                <a:gd name="T81" fmla="*/ 58 h 1024"/>
                <a:gd name="T82" fmla="*/ 137 w 1317"/>
                <a:gd name="T83" fmla="*/ 126 h 1024"/>
                <a:gd name="T84" fmla="*/ 49 w 1317"/>
                <a:gd name="T85" fmla="*/ 224 h 1024"/>
                <a:gd name="T86" fmla="*/ 0 w 1317"/>
                <a:gd name="T87" fmla="*/ 292 h 1024"/>
                <a:gd name="T88" fmla="*/ 10 w 1317"/>
                <a:gd name="T89" fmla="*/ 331 h 1024"/>
                <a:gd name="T90" fmla="*/ 108 w 1317"/>
                <a:gd name="T91" fmla="*/ 458 h 1024"/>
                <a:gd name="T92" fmla="*/ 78 w 1317"/>
                <a:gd name="T93" fmla="*/ 556 h 1024"/>
                <a:gd name="T94" fmla="*/ 78 w 1317"/>
                <a:gd name="T95" fmla="*/ 683 h 1024"/>
                <a:gd name="T96" fmla="*/ 108 w 1317"/>
                <a:gd name="T97" fmla="*/ 790 h 1024"/>
                <a:gd name="T98" fmla="*/ 186 w 1317"/>
                <a:gd name="T99" fmla="*/ 790 h 1024"/>
                <a:gd name="T100" fmla="*/ 254 w 1317"/>
                <a:gd name="T101" fmla="*/ 800 h 1024"/>
                <a:gd name="T102" fmla="*/ 313 w 1317"/>
                <a:gd name="T103" fmla="*/ 790 h 1024"/>
                <a:gd name="T104" fmla="*/ 361 w 1317"/>
                <a:gd name="T105" fmla="*/ 751 h 1024"/>
                <a:gd name="T106" fmla="*/ 410 w 1317"/>
                <a:gd name="T107" fmla="*/ 780 h 1024"/>
                <a:gd name="T108" fmla="*/ 498 w 1317"/>
                <a:gd name="T109" fmla="*/ 868 h 1024"/>
                <a:gd name="T110" fmla="*/ 517 w 1317"/>
                <a:gd name="T111" fmla="*/ 926 h 1024"/>
                <a:gd name="T112" fmla="*/ 537 w 1317"/>
                <a:gd name="T113" fmla="*/ 975 h 10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7"/>
                <a:gd name="T172" fmla="*/ 0 h 1024"/>
                <a:gd name="T173" fmla="*/ 1317 w 1317"/>
                <a:gd name="T174" fmla="*/ 1024 h 10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7" h="1024">
                  <a:moveTo>
                    <a:pt x="625" y="1024"/>
                  </a:moveTo>
                  <a:lnTo>
                    <a:pt x="654" y="1014"/>
                  </a:lnTo>
                  <a:lnTo>
                    <a:pt x="673" y="1005"/>
                  </a:lnTo>
                  <a:lnTo>
                    <a:pt x="673" y="985"/>
                  </a:lnTo>
                  <a:lnTo>
                    <a:pt x="683" y="975"/>
                  </a:lnTo>
                  <a:lnTo>
                    <a:pt x="703" y="966"/>
                  </a:lnTo>
                  <a:lnTo>
                    <a:pt x="703" y="956"/>
                  </a:lnTo>
                  <a:lnTo>
                    <a:pt x="732" y="946"/>
                  </a:lnTo>
                  <a:lnTo>
                    <a:pt x="751" y="946"/>
                  </a:lnTo>
                  <a:lnTo>
                    <a:pt x="761" y="946"/>
                  </a:lnTo>
                  <a:lnTo>
                    <a:pt x="771" y="936"/>
                  </a:lnTo>
                  <a:lnTo>
                    <a:pt x="771" y="907"/>
                  </a:lnTo>
                  <a:lnTo>
                    <a:pt x="790" y="887"/>
                  </a:lnTo>
                  <a:lnTo>
                    <a:pt x="790" y="868"/>
                  </a:lnTo>
                  <a:lnTo>
                    <a:pt x="800" y="858"/>
                  </a:lnTo>
                  <a:lnTo>
                    <a:pt x="810" y="858"/>
                  </a:lnTo>
                  <a:lnTo>
                    <a:pt x="810" y="839"/>
                  </a:lnTo>
                  <a:lnTo>
                    <a:pt x="830" y="829"/>
                  </a:lnTo>
                  <a:lnTo>
                    <a:pt x="830" y="839"/>
                  </a:lnTo>
                  <a:lnTo>
                    <a:pt x="849" y="839"/>
                  </a:lnTo>
                  <a:lnTo>
                    <a:pt x="859" y="848"/>
                  </a:lnTo>
                  <a:lnTo>
                    <a:pt x="859" y="858"/>
                  </a:lnTo>
                  <a:lnTo>
                    <a:pt x="869" y="848"/>
                  </a:lnTo>
                  <a:lnTo>
                    <a:pt x="888" y="858"/>
                  </a:lnTo>
                  <a:lnTo>
                    <a:pt x="917" y="868"/>
                  </a:lnTo>
                  <a:lnTo>
                    <a:pt x="927" y="887"/>
                  </a:lnTo>
                  <a:lnTo>
                    <a:pt x="956" y="907"/>
                  </a:lnTo>
                  <a:lnTo>
                    <a:pt x="976" y="907"/>
                  </a:lnTo>
                  <a:lnTo>
                    <a:pt x="986" y="907"/>
                  </a:lnTo>
                  <a:lnTo>
                    <a:pt x="1005" y="897"/>
                  </a:lnTo>
                  <a:lnTo>
                    <a:pt x="1015" y="897"/>
                  </a:lnTo>
                  <a:lnTo>
                    <a:pt x="1025" y="897"/>
                  </a:lnTo>
                  <a:lnTo>
                    <a:pt x="1025" y="926"/>
                  </a:lnTo>
                  <a:lnTo>
                    <a:pt x="1034" y="926"/>
                  </a:lnTo>
                  <a:lnTo>
                    <a:pt x="1054" y="926"/>
                  </a:lnTo>
                  <a:lnTo>
                    <a:pt x="1064" y="936"/>
                  </a:lnTo>
                  <a:lnTo>
                    <a:pt x="1073" y="946"/>
                  </a:lnTo>
                  <a:lnTo>
                    <a:pt x="1093" y="946"/>
                  </a:lnTo>
                  <a:lnTo>
                    <a:pt x="1103" y="946"/>
                  </a:lnTo>
                  <a:lnTo>
                    <a:pt x="1103" y="936"/>
                  </a:lnTo>
                  <a:lnTo>
                    <a:pt x="1122" y="926"/>
                  </a:lnTo>
                  <a:lnTo>
                    <a:pt x="1142" y="926"/>
                  </a:lnTo>
                  <a:lnTo>
                    <a:pt x="1161" y="926"/>
                  </a:lnTo>
                  <a:lnTo>
                    <a:pt x="1181" y="926"/>
                  </a:lnTo>
                  <a:lnTo>
                    <a:pt x="1190" y="936"/>
                  </a:lnTo>
                  <a:lnTo>
                    <a:pt x="1210" y="946"/>
                  </a:lnTo>
                  <a:lnTo>
                    <a:pt x="1249" y="936"/>
                  </a:lnTo>
                  <a:lnTo>
                    <a:pt x="1307" y="926"/>
                  </a:lnTo>
                  <a:lnTo>
                    <a:pt x="1307" y="907"/>
                  </a:lnTo>
                  <a:lnTo>
                    <a:pt x="1317" y="897"/>
                  </a:lnTo>
                  <a:lnTo>
                    <a:pt x="1317" y="878"/>
                  </a:lnTo>
                  <a:lnTo>
                    <a:pt x="1307" y="878"/>
                  </a:lnTo>
                  <a:lnTo>
                    <a:pt x="1288" y="868"/>
                  </a:lnTo>
                  <a:lnTo>
                    <a:pt x="1268" y="848"/>
                  </a:lnTo>
                  <a:lnTo>
                    <a:pt x="1259" y="829"/>
                  </a:lnTo>
                  <a:lnTo>
                    <a:pt x="1288" y="790"/>
                  </a:lnTo>
                  <a:lnTo>
                    <a:pt x="1278" y="780"/>
                  </a:lnTo>
                  <a:lnTo>
                    <a:pt x="1259" y="761"/>
                  </a:lnTo>
                  <a:lnTo>
                    <a:pt x="1249" y="751"/>
                  </a:lnTo>
                  <a:lnTo>
                    <a:pt x="1239" y="761"/>
                  </a:lnTo>
                  <a:lnTo>
                    <a:pt x="1220" y="751"/>
                  </a:lnTo>
                  <a:lnTo>
                    <a:pt x="1200" y="731"/>
                  </a:lnTo>
                  <a:lnTo>
                    <a:pt x="1190" y="722"/>
                  </a:lnTo>
                  <a:lnTo>
                    <a:pt x="1181" y="722"/>
                  </a:lnTo>
                  <a:lnTo>
                    <a:pt x="1171" y="712"/>
                  </a:lnTo>
                  <a:lnTo>
                    <a:pt x="1161" y="712"/>
                  </a:lnTo>
                  <a:lnTo>
                    <a:pt x="1142" y="712"/>
                  </a:lnTo>
                  <a:lnTo>
                    <a:pt x="1132" y="702"/>
                  </a:lnTo>
                  <a:lnTo>
                    <a:pt x="1122" y="692"/>
                  </a:lnTo>
                  <a:lnTo>
                    <a:pt x="1112" y="673"/>
                  </a:lnTo>
                  <a:lnTo>
                    <a:pt x="1103" y="653"/>
                  </a:lnTo>
                  <a:lnTo>
                    <a:pt x="1083" y="663"/>
                  </a:lnTo>
                  <a:lnTo>
                    <a:pt x="1064" y="663"/>
                  </a:lnTo>
                  <a:lnTo>
                    <a:pt x="1054" y="673"/>
                  </a:lnTo>
                  <a:lnTo>
                    <a:pt x="1044" y="683"/>
                  </a:lnTo>
                  <a:lnTo>
                    <a:pt x="1034" y="692"/>
                  </a:lnTo>
                  <a:lnTo>
                    <a:pt x="1025" y="692"/>
                  </a:lnTo>
                  <a:lnTo>
                    <a:pt x="1005" y="683"/>
                  </a:lnTo>
                  <a:lnTo>
                    <a:pt x="995" y="673"/>
                  </a:lnTo>
                  <a:lnTo>
                    <a:pt x="976" y="673"/>
                  </a:lnTo>
                  <a:lnTo>
                    <a:pt x="947" y="673"/>
                  </a:lnTo>
                  <a:lnTo>
                    <a:pt x="927" y="663"/>
                  </a:lnTo>
                  <a:lnTo>
                    <a:pt x="908" y="644"/>
                  </a:lnTo>
                  <a:lnTo>
                    <a:pt x="908" y="634"/>
                  </a:lnTo>
                  <a:lnTo>
                    <a:pt x="898" y="605"/>
                  </a:lnTo>
                  <a:lnTo>
                    <a:pt x="898" y="595"/>
                  </a:lnTo>
                  <a:lnTo>
                    <a:pt x="869" y="585"/>
                  </a:lnTo>
                  <a:lnTo>
                    <a:pt x="859" y="565"/>
                  </a:lnTo>
                  <a:lnTo>
                    <a:pt x="849" y="556"/>
                  </a:lnTo>
                  <a:lnTo>
                    <a:pt x="820" y="556"/>
                  </a:lnTo>
                  <a:lnTo>
                    <a:pt x="800" y="546"/>
                  </a:lnTo>
                  <a:lnTo>
                    <a:pt x="781" y="536"/>
                  </a:lnTo>
                  <a:lnTo>
                    <a:pt x="771" y="517"/>
                  </a:lnTo>
                  <a:lnTo>
                    <a:pt x="742" y="517"/>
                  </a:lnTo>
                  <a:lnTo>
                    <a:pt x="732" y="507"/>
                  </a:lnTo>
                  <a:lnTo>
                    <a:pt x="732" y="487"/>
                  </a:lnTo>
                  <a:lnTo>
                    <a:pt x="722" y="478"/>
                  </a:lnTo>
                  <a:lnTo>
                    <a:pt x="703" y="487"/>
                  </a:lnTo>
                  <a:lnTo>
                    <a:pt x="693" y="487"/>
                  </a:lnTo>
                  <a:lnTo>
                    <a:pt x="673" y="478"/>
                  </a:lnTo>
                  <a:lnTo>
                    <a:pt x="654" y="478"/>
                  </a:lnTo>
                  <a:lnTo>
                    <a:pt x="654" y="468"/>
                  </a:lnTo>
                  <a:lnTo>
                    <a:pt x="654" y="458"/>
                  </a:lnTo>
                  <a:lnTo>
                    <a:pt x="664" y="448"/>
                  </a:lnTo>
                  <a:lnTo>
                    <a:pt x="664" y="439"/>
                  </a:lnTo>
                  <a:lnTo>
                    <a:pt x="654" y="429"/>
                  </a:lnTo>
                  <a:lnTo>
                    <a:pt x="654" y="400"/>
                  </a:lnTo>
                  <a:lnTo>
                    <a:pt x="654" y="370"/>
                  </a:lnTo>
                  <a:lnTo>
                    <a:pt x="654" y="361"/>
                  </a:lnTo>
                  <a:lnTo>
                    <a:pt x="664" y="351"/>
                  </a:lnTo>
                  <a:lnTo>
                    <a:pt x="664" y="341"/>
                  </a:lnTo>
                  <a:lnTo>
                    <a:pt x="654" y="341"/>
                  </a:lnTo>
                  <a:lnTo>
                    <a:pt x="644" y="322"/>
                  </a:lnTo>
                  <a:lnTo>
                    <a:pt x="634" y="331"/>
                  </a:lnTo>
                  <a:lnTo>
                    <a:pt x="625" y="322"/>
                  </a:lnTo>
                  <a:lnTo>
                    <a:pt x="605" y="292"/>
                  </a:lnTo>
                  <a:lnTo>
                    <a:pt x="595" y="292"/>
                  </a:lnTo>
                  <a:lnTo>
                    <a:pt x="586" y="292"/>
                  </a:lnTo>
                  <a:lnTo>
                    <a:pt x="566" y="302"/>
                  </a:lnTo>
                  <a:lnTo>
                    <a:pt x="556" y="292"/>
                  </a:lnTo>
                  <a:lnTo>
                    <a:pt x="547" y="292"/>
                  </a:lnTo>
                  <a:lnTo>
                    <a:pt x="517" y="292"/>
                  </a:lnTo>
                  <a:lnTo>
                    <a:pt x="498" y="292"/>
                  </a:lnTo>
                  <a:lnTo>
                    <a:pt x="478" y="283"/>
                  </a:lnTo>
                  <a:lnTo>
                    <a:pt x="478" y="263"/>
                  </a:lnTo>
                  <a:lnTo>
                    <a:pt x="488" y="244"/>
                  </a:lnTo>
                  <a:lnTo>
                    <a:pt x="498" y="234"/>
                  </a:lnTo>
                  <a:lnTo>
                    <a:pt x="498" y="224"/>
                  </a:lnTo>
                  <a:lnTo>
                    <a:pt x="478" y="224"/>
                  </a:lnTo>
                  <a:lnTo>
                    <a:pt x="459" y="204"/>
                  </a:lnTo>
                  <a:lnTo>
                    <a:pt x="439" y="204"/>
                  </a:lnTo>
                  <a:lnTo>
                    <a:pt x="430" y="195"/>
                  </a:lnTo>
                  <a:lnTo>
                    <a:pt x="400" y="185"/>
                  </a:lnTo>
                  <a:lnTo>
                    <a:pt x="361" y="185"/>
                  </a:lnTo>
                  <a:lnTo>
                    <a:pt x="352" y="185"/>
                  </a:lnTo>
                  <a:lnTo>
                    <a:pt x="342" y="185"/>
                  </a:lnTo>
                  <a:lnTo>
                    <a:pt x="342" y="165"/>
                  </a:lnTo>
                  <a:lnTo>
                    <a:pt x="332" y="146"/>
                  </a:lnTo>
                  <a:lnTo>
                    <a:pt x="322" y="146"/>
                  </a:lnTo>
                  <a:lnTo>
                    <a:pt x="303" y="136"/>
                  </a:lnTo>
                  <a:lnTo>
                    <a:pt x="303" y="126"/>
                  </a:lnTo>
                  <a:lnTo>
                    <a:pt x="322" y="117"/>
                  </a:lnTo>
                  <a:lnTo>
                    <a:pt x="342" y="97"/>
                  </a:lnTo>
                  <a:lnTo>
                    <a:pt x="352" y="78"/>
                  </a:lnTo>
                  <a:lnTo>
                    <a:pt x="361" y="58"/>
                  </a:lnTo>
                  <a:lnTo>
                    <a:pt x="352" y="48"/>
                  </a:lnTo>
                  <a:lnTo>
                    <a:pt x="361" y="29"/>
                  </a:lnTo>
                  <a:lnTo>
                    <a:pt x="361" y="19"/>
                  </a:lnTo>
                  <a:lnTo>
                    <a:pt x="371" y="0"/>
                  </a:lnTo>
                  <a:lnTo>
                    <a:pt x="342" y="0"/>
                  </a:lnTo>
                  <a:lnTo>
                    <a:pt x="313" y="9"/>
                  </a:lnTo>
                  <a:lnTo>
                    <a:pt x="293" y="29"/>
                  </a:lnTo>
                  <a:lnTo>
                    <a:pt x="283" y="29"/>
                  </a:lnTo>
                  <a:lnTo>
                    <a:pt x="254" y="29"/>
                  </a:lnTo>
                  <a:lnTo>
                    <a:pt x="244" y="19"/>
                  </a:lnTo>
                  <a:lnTo>
                    <a:pt x="235" y="9"/>
                  </a:lnTo>
                  <a:lnTo>
                    <a:pt x="215" y="9"/>
                  </a:lnTo>
                  <a:lnTo>
                    <a:pt x="195" y="19"/>
                  </a:lnTo>
                  <a:lnTo>
                    <a:pt x="195" y="39"/>
                  </a:lnTo>
                  <a:lnTo>
                    <a:pt x="195" y="4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66" y="97"/>
                  </a:lnTo>
                  <a:lnTo>
                    <a:pt x="147" y="107"/>
                  </a:lnTo>
                  <a:lnTo>
                    <a:pt x="137" y="126"/>
                  </a:lnTo>
                  <a:lnTo>
                    <a:pt x="88" y="156"/>
                  </a:lnTo>
                  <a:lnTo>
                    <a:pt x="69" y="175"/>
                  </a:lnTo>
                  <a:lnTo>
                    <a:pt x="69" y="204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39" y="244"/>
                  </a:lnTo>
                  <a:lnTo>
                    <a:pt x="20" y="263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10" y="312"/>
                  </a:lnTo>
                  <a:lnTo>
                    <a:pt x="10" y="331"/>
                  </a:lnTo>
                  <a:lnTo>
                    <a:pt x="39" y="341"/>
                  </a:lnTo>
                  <a:lnTo>
                    <a:pt x="78" y="380"/>
                  </a:lnTo>
                  <a:lnTo>
                    <a:pt x="98" y="429"/>
                  </a:lnTo>
                  <a:lnTo>
                    <a:pt x="108" y="458"/>
                  </a:lnTo>
                  <a:lnTo>
                    <a:pt x="108" y="478"/>
                  </a:lnTo>
                  <a:lnTo>
                    <a:pt x="88" y="507"/>
                  </a:lnTo>
                  <a:lnTo>
                    <a:pt x="88" y="517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69" y="624"/>
                  </a:lnTo>
                  <a:lnTo>
                    <a:pt x="59" y="653"/>
                  </a:lnTo>
                  <a:lnTo>
                    <a:pt x="78" y="683"/>
                  </a:lnTo>
                  <a:lnTo>
                    <a:pt x="108" y="702"/>
                  </a:lnTo>
                  <a:lnTo>
                    <a:pt x="108" y="712"/>
                  </a:lnTo>
                  <a:lnTo>
                    <a:pt x="108" y="751"/>
                  </a:lnTo>
                  <a:lnTo>
                    <a:pt x="108" y="790"/>
                  </a:lnTo>
                  <a:lnTo>
                    <a:pt x="147" y="819"/>
                  </a:lnTo>
                  <a:lnTo>
                    <a:pt x="166" y="819"/>
                  </a:lnTo>
                  <a:lnTo>
                    <a:pt x="166" y="800"/>
                  </a:lnTo>
                  <a:lnTo>
                    <a:pt x="186" y="790"/>
                  </a:lnTo>
                  <a:lnTo>
                    <a:pt x="195" y="790"/>
                  </a:lnTo>
                  <a:lnTo>
                    <a:pt x="215" y="800"/>
                  </a:lnTo>
                  <a:lnTo>
                    <a:pt x="235" y="800"/>
                  </a:lnTo>
                  <a:lnTo>
                    <a:pt x="254" y="800"/>
                  </a:lnTo>
                  <a:lnTo>
                    <a:pt x="264" y="809"/>
                  </a:lnTo>
                  <a:lnTo>
                    <a:pt x="293" y="809"/>
                  </a:lnTo>
                  <a:lnTo>
                    <a:pt x="293" y="790"/>
                  </a:lnTo>
                  <a:lnTo>
                    <a:pt x="313" y="790"/>
                  </a:lnTo>
                  <a:lnTo>
                    <a:pt x="342" y="770"/>
                  </a:lnTo>
                  <a:lnTo>
                    <a:pt x="352" y="761"/>
                  </a:lnTo>
                  <a:lnTo>
                    <a:pt x="352" y="751"/>
                  </a:lnTo>
                  <a:lnTo>
                    <a:pt x="361" y="751"/>
                  </a:lnTo>
                  <a:lnTo>
                    <a:pt x="381" y="751"/>
                  </a:lnTo>
                  <a:lnTo>
                    <a:pt x="381" y="770"/>
                  </a:lnTo>
                  <a:lnTo>
                    <a:pt x="400" y="770"/>
                  </a:lnTo>
                  <a:lnTo>
                    <a:pt x="410" y="780"/>
                  </a:lnTo>
                  <a:lnTo>
                    <a:pt x="430" y="790"/>
                  </a:lnTo>
                  <a:lnTo>
                    <a:pt x="449" y="809"/>
                  </a:lnTo>
                  <a:lnTo>
                    <a:pt x="469" y="819"/>
                  </a:lnTo>
                  <a:lnTo>
                    <a:pt x="498" y="868"/>
                  </a:lnTo>
                  <a:lnTo>
                    <a:pt x="498" y="887"/>
                  </a:lnTo>
                  <a:lnTo>
                    <a:pt x="498" y="907"/>
                  </a:lnTo>
                  <a:lnTo>
                    <a:pt x="498" y="926"/>
                  </a:lnTo>
                  <a:lnTo>
                    <a:pt x="517" y="926"/>
                  </a:lnTo>
                  <a:lnTo>
                    <a:pt x="508" y="936"/>
                  </a:lnTo>
                  <a:lnTo>
                    <a:pt x="517" y="956"/>
                  </a:lnTo>
                  <a:lnTo>
                    <a:pt x="537" y="975"/>
                  </a:lnTo>
                  <a:lnTo>
                    <a:pt x="556" y="985"/>
                  </a:lnTo>
                  <a:lnTo>
                    <a:pt x="586" y="1005"/>
                  </a:lnTo>
                  <a:lnTo>
                    <a:pt x="625" y="1024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9" name="Freeform 267"/>
            <p:cNvSpPr>
              <a:spLocks/>
            </p:cNvSpPr>
            <p:nvPr/>
          </p:nvSpPr>
          <p:spPr bwMode="auto">
            <a:xfrm>
              <a:off x="1972" y="1394"/>
              <a:ext cx="655" cy="595"/>
            </a:xfrm>
            <a:custGeom>
              <a:avLst/>
              <a:gdLst>
                <a:gd name="T0" fmla="*/ 400 w 654"/>
                <a:gd name="T1" fmla="*/ 527 h 595"/>
                <a:gd name="T2" fmla="*/ 371 w 654"/>
                <a:gd name="T3" fmla="*/ 469 h 595"/>
                <a:gd name="T4" fmla="*/ 332 w 654"/>
                <a:gd name="T5" fmla="*/ 439 h 595"/>
                <a:gd name="T6" fmla="*/ 312 w 654"/>
                <a:gd name="T7" fmla="*/ 400 h 595"/>
                <a:gd name="T8" fmla="*/ 283 w 654"/>
                <a:gd name="T9" fmla="*/ 420 h 595"/>
                <a:gd name="T10" fmla="*/ 215 w 654"/>
                <a:gd name="T11" fmla="*/ 410 h 595"/>
                <a:gd name="T12" fmla="*/ 186 w 654"/>
                <a:gd name="T13" fmla="*/ 390 h 595"/>
                <a:gd name="T14" fmla="*/ 186 w 654"/>
                <a:gd name="T15" fmla="*/ 332 h 595"/>
                <a:gd name="T16" fmla="*/ 156 w 654"/>
                <a:gd name="T17" fmla="*/ 312 h 595"/>
                <a:gd name="T18" fmla="*/ 117 w 654"/>
                <a:gd name="T19" fmla="*/ 283 h 595"/>
                <a:gd name="T20" fmla="*/ 78 w 654"/>
                <a:gd name="T21" fmla="*/ 273 h 595"/>
                <a:gd name="T22" fmla="*/ 69 w 654"/>
                <a:gd name="T23" fmla="*/ 254 h 595"/>
                <a:gd name="T24" fmla="*/ 59 w 654"/>
                <a:gd name="T25" fmla="*/ 205 h 595"/>
                <a:gd name="T26" fmla="*/ 20 w 654"/>
                <a:gd name="T27" fmla="*/ 205 h 595"/>
                <a:gd name="T28" fmla="*/ 20 w 654"/>
                <a:gd name="T29" fmla="*/ 137 h 595"/>
                <a:gd name="T30" fmla="*/ 10 w 654"/>
                <a:gd name="T31" fmla="*/ 108 h 595"/>
                <a:gd name="T32" fmla="*/ 30 w 654"/>
                <a:gd name="T33" fmla="*/ 88 h 595"/>
                <a:gd name="T34" fmla="*/ 88 w 654"/>
                <a:gd name="T35" fmla="*/ 88 h 595"/>
                <a:gd name="T36" fmla="*/ 127 w 654"/>
                <a:gd name="T37" fmla="*/ 39 h 595"/>
                <a:gd name="T38" fmla="*/ 195 w 654"/>
                <a:gd name="T39" fmla="*/ 0 h 595"/>
                <a:gd name="T40" fmla="*/ 244 w 654"/>
                <a:gd name="T41" fmla="*/ 10 h 595"/>
                <a:gd name="T42" fmla="*/ 312 w 654"/>
                <a:gd name="T43" fmla="*/ 10 h 595"/>
                <a:gd name="T44" fmla="*/ 342 w 654"/>
                <a:gd name="T45" fmla="*/ 29 h 595"/>
                <a:gd name="T46" fmla="*/ 351 w 654"/>
                <a:gd name="T47" fmla="*/ 59 h 595"/>
                <a:gd name="T48" fmla="*/ 342 w 654"/>
                <a:gd name="T49" fmla="*/ 108 h 595"/>
                <a:gd name="T50" fmla="*/ 322 w 654"/>
                <a:gd name="T51" fmla="*/ 166 h 595"/>
                <a:gd name="T52" fmla="*/ 351 w 654"/>
                <a:gd name="T53" fmla="*/ 225 h 595"/>
                <a:gd name="T54" fmla="*/ 391 w 654"/>
                <a:gd name="T55" fmla="*/ 244 h 595"/>
                <a:gd name="T56" fmla="*/ 430 w 654"/>
                <a:gd name="T57" fmla="*/ 273 h 595"/>
                <a:gd name="T58" fmla="*/ 449 w 654"/>
                <a:gd name="T59" fmla="*/ 303 h 595"/>
                <a:gd name="T60" fmla="*/ 478 w 654"/>
                <a:gd name="T61" fmla="*/ 332 h 595"/>
                <a:gd name="T62" fmla="*/ 537 w 654"/>
                <a:gd name="T63" fmla="*/ 361 h 595"/>
                <a:gd name="T64" fmla="*/ 556 w 654"/>
                <a:gd name="T65" fmla="*/ 390 h 595"/>
                <a:gd name="T66" fmla="*/ 595 w 654"/>
                <a:gd name="T67" fmla="*/ 400 h 595"/>
                <a:gd name="T68" fmla="*/ 615 w 654"/>
                <a:gd name="T69" fmla="*/ 430 h 595"/>
                <a:gd name="T70" fmla="*/ 644 w 654"/>
                <a:gd name="T71" fmla="*/ 459 h 595"/>
                <a:gd name="T72" fmla="*/ 644 w 654"/>
                <a:gd name="T73" fmla="*/ 508 h 595"/>
                <a:gd name="T74" fmla="*/ 605 w 654"/>
                <a:gd name="T75" fmla="*/ 517 h 595"/>
                <a:gd name="T76" fmla="*/ 566 w 654"/>
                <a:gd name="T77" fmla="*/ 508 h 595"/>
                <a:gd name="T78" fmla="*/ 566 w 654"/>
                <a:gd name="T79" fmla="*/ 537 h 595"/>
                <a:gd name="T80" fmla="*/ 566 w 654"/>
                <a:gd name="T81" fmla="*/ 576 h 595"/>
                <a:gd name="T82" fmla="*/ 527 w 654"/>
                <a:gd name="T83" fmla="*/ 576 h 595"/>
                <a:gd name="T84" fmla="*/ 488 w 654"/>
                <a:gd name="T85" fmla="*/ 586 h 595"/>
                <a:gd name="T86" fmla="*/ 430 w 654"/>
                <a:gd name="T87" fmla="*/ 576 h 59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54"/>
                <a:gd name="T133" fmla="*/ 0 h 595"/>
                <a:gd name="T134" fmla="*/ 654 w 654"/>
                <a:gd name="T135" fmla="*/ 595 h 59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54" h="595">
                  <a:moveTo>
                    <a:pt x="430" y="556"/>
                  </a:moveTo>
                  <a:lnTo>
                    <a:pt x="410" y="547"/>
                  </a:lnTo>
                  <a:lnTo>
                    <a:pt x="400" y="527"/>
                  </a:lnTo>
                  <a:lnTo>
                    <a:pt x="381" y="498"/>
                  </a:lnTo>
                  <a:lnTo>
                    <a:pt x="371" y="488"/>
                  </a:lnTo>
                  <a:lnTo>
                    <a:pt x="371" y="469"/>
                  </a:lnTo>
                  <a:lnTo>
                    <a:pt x="361" y="449"/>
                  </a:lnTo>
                  <a:lnTo>
                    <a:pt x="351" y="439"/>
                  </a:lnTo>
                  <a:lnTo>
                    <a:pt x="332" y="439"/>
                  </a:lnTo>
                  <a:lnTo>
                    <a:pt x="332" y="420"/>
                  </a:lnTo>
                  <a:lnTo>
                    <a:pt x="322" y="420"/>
                  </a:lnTo>
                  <a:lnTo>
                    <a:pt x="312" y="400"/>
                  </a:lnTo>
                  <a:lnTo>
                    <a:pt x="303" y="390"/>
                  </a:lnTo>
                  <a:lnTo>
                    <a:pt x="303" y="410"/>
                  </a:lnTo>
                  <a:lnTo>
                    <a:pt x="283" y="420"/>
                  </a:lnTo>
                  <a:lnTo>
                    <a:pt x="244" y="390"/>
                  </a:lnTo>
                  <a:lnTo>
                    <a:pt x="225" y="400"/>
                  </a:lnTo>
                  <a:lnTo>
                    <a:pt x="215" y="410"/>
                  </a:lnTo>
                  <a:lnTo>
                    <a:pt x="195" y="410"/>
                  </a:lnTo>
                  <a:lnTo>
                    <a:pt x="195" y="400"/>
                  </a:lnTo>
                  <a:lnTo>
                    <a:pt x="186" y="390"/>
                  </a:lnTo>
                  <a:lnTo>
                    <a:pt x="176" y="381"/>
                  </a:lnTo>
                  <a:lnTo>
                    <a:pt x="186" y="351"/>
                  </a:lnTo>
                  <a:lnTo>
                    <a:pt x="186" y="332"/>
                  </a:lnTo>
                  <a:lnTo>
                    <a:pt x="176" y="312"/>
                  </a:lnTo>
                  <a:lnTo>
                    <a:pt x="166" y="303"/>
                  </a:lnTo>
                  <a:lnTo>
                    <a:pt x="156" y="312"/>
                  </a:lnTo>
                  <a:lnTo>
                    <a:pt x="147" y="303"/>
                  </a:lnTo>
                  <a:lnTo>
                    <a:pt x="137" y="293"/>
                  </a:lnTo>
                  <a:lnTo>
                    <a:pt x="117" y="283"/>
                  </a:lnTo>
                  <a:lnTo>
                    <a:pt x="98" y="273"/>
                  </a:lnTo>
                  <a:lnTo>
                    <a:pt x="88" y="264"/>
                  </a:lnTo>
                  <a:lnTo>
                    <a:pt x="78" y="273"/>
                  </a:lnTo>
                  <a:lnTo>
                    <a:pt x="69" y="273"/>
                  </a:lnTo>
                  <a:lnTo>
                    <a:pt x="59" y="264"/>
                  </a:lnTo>
                  <a:lnTo>
                    <a:pt x="69" y="254"/>
                  </a:lnTo>
                  <a:lnTo>
                    <a:pt x="69" y="244"/>
                  </a:lnTo>
                  <a:lnTo>
                    <a:pt x="78" y="225"/>
                  </a:lnTo>
                  <a:lnTo>
                    <a:pt x="59" y="205"/>
                  </a:lnTo>
                  <a:lnTo>
                    <a:pt x="39" y="205"/>
                  </a:lnTo>
                  <a:lnTo>
                    <a:pt x="30" y="205"/>
                  </a:lnTo>
                  <a:lnTo>
                    <a:pt x="20" y="205"/>
                  </a:lnTo>
                  <a:lnTo>
                    <a:pt x="30" y="176"/>
                  </a:lnTo>
                  <a:lnTo>
                    <a:pt x="30" y="147"/>
                  </a:lnTo>
                  <a:lnTo>
                    <a:pt x="20" y="137"/>
                  </a:lnTo>
                  <a:lnTo>
                    <a:pt x="0" y="12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0" y="98"/>
                  </a:lnTo>
                  <a:lnTo>
                    <a:pt x="20" y="88"/>
                  </a:lnTo>
                  <a:lnTo>
                    <a:pt x="30" y="88"/>
                  </a:lnTo>
                  <a:lnTo>
                    <a:pt x="49" y="88"/>
                  </a:lnTo>
                  <a:lnTo>
                    <a:pt x="69" y="108"/>
                  </a:lnTo>
                  <a:lnTo>
                    <a:pt x="88" y="88"/>
                  </a:lnTo>
                  <a:lnTo>
                    <a:pt x="108" y="69"/>
                  </a:lnTo>
                  <a:lnTo>
                    <a:pt x="127" y="49"/>
                  </a:lnTo>
                  <a:lnTo>
                    <a:pt x="127" y="39"/>
                  </a:lnTo>
                  <a:lnTo>
                    <a:pt x="166" y="29"/>
                  </a:lnTo>
                  <a:lnTo>
                    <a:pt x="186" y="10"/>
                  </a:lnTo>
                  <a:lnTo>
                    <a:pt x="195" y="0"/>
                  </a:lnTo>
                  <a:lnTo>
                    <a:pt x="205" y="0"/>
                  </a:lnTo>
                  <a:lnTo>
                    <a:pt x="225" y="0"/>
                  </a:lnTo>
                  <a:lnTo>
                    <a:pt x="244" y="10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312" y="10"/>
                  </a:lnTo>
                  <a:lnTo>
                    <a:pt x="322" y="10"/>
                  </a:lnTo>
                  <a:lnTo>
                    <a:pt x="322" y="29"/>
                  </a:lnTo>
                  <a:lnTo>
                    <a:pt x="342" y="29"/>
                  </a:lnTo>
                  <a:lnTo>
                    <a:pt x="342" y="39"/>
                  </a:lnTo>
                  <a:lnTo>
                    <a:pt x="342" y="49"/>
                  </a:lnTo>
                  <a:lnTo>
                    <a:pt x="351" y="59"/>
                  </a:lnTo>
                  <a:lnTo>
                    <a:pt x="351" y="69"/>
                  </a:lnTo>
                  <a:lnTo>
                    <a:pt x="342" y="88"/>
                  </a:lnTo>
                  <a:lnTo>
                    <a:pt x="342" y="108"/>
                  </a:lnTo>
                  <a:lnTo>
                    <a:pt x="322" y="117"/>
                  </a:lnTo>
                  <a:lnTo>
                    <a:pt x="322" y="147"/>
                  </a:lnTo>
                  <a:lnTo>
                    <a:pt x="322" y="166"/>
                  </a:lnTo>
                  <a:lnTo>
                    <a:pt x="332" y="186"/>
                  </a:lnTo>
                  <a:lnTo>
                    <a:pt x="342" y="195"/>
                  </a:lnTo>
                  <a:lnTo>
                    <a:pt x="351" y="225"/>
                  </a:lnTo>
                  <a:lnTo>
                    <a:pt x="371" y="225"/>
                  </a:lnTo>
                  <a:lnTo>
                    <a:pt x="381" y="234"/>
                  </a:lnTo>
                  <a:lnTo>
                    <a:pt x="391" y="244"/>
                  </a:lnTo>
                  <a:lnTo>
                    <a:pt x="400" y="273"/>
                  </a:lnTo>
                  <a:lnTo>
                    <a:pt x="410" y="273"/>
                  </a:lnTo>
                  <a:lnTo>
                    <a:pt x="430" y="273"/>
                  </a:lnTo>
                  <a:lnTo>
                    <a:pt x="449" y="283"/>
                  </a:lnTo>
                  <a:lnTo>
                    <a:pt x="459" y="293"/>
                  </a:lnTo>
                  <a:lnTo>
                    <a:pt x="449" y="303"/>
                  </a:lnTo>
                  <a:lnTo>
                    <a:pt x="459" y="312"/>
                  </a:lnTo>
                  <a:lnTo>
                    <a:pt x="469" y="322"/>
                  </a:lnTo>
                  <a:lnTo>
                    <a:pt x="478" y="332"/>
                  </a:lnTo>
                  <a:lnTo>
                    <a:pt x="508" y="361"/>
                  </a:lnTo>
                  <a:lnTo>
                    <a:pt x="527" y="361"/>
                  </a:lnTo>
                  <a:lnTo>
                    <a:pt x="537" y="361"/>
                  </a:lnTo>
                  <a:lnTo>
                    <a:pt x="556" y="371"/>
                  </a:lnTo>
                  <a:lnTo>
                    <a:pt x="547" y="381"/>
                  </a:lnTo>
                  <a:lnTo>
                    <a:pt x="556" y="390"/>
                  </a:lnTo>
                  <a:lnTo>
                    <a:pt x="566" y="410"/>
                  </a:lnTo>
                  <a:lnTo>
                    <a:pt x="576" y="420"/>
                  </a:lnTo>
                  <a:lnTo>
                    <a:pt x="595" y="400"/>
                  </a:lnTo>
                  <a:lnTo>
                    <a:pt x="615" y="400"/>
                  </a:lnTo>
                  <a:lnTo>
                    <a:pt x="625" y="420"/>
                  </a:lnTo>
                  <a:lnTo>
                    <a:pt x="615" y="430"/>
                  </a:lnTo>
                  <a:lnTo>
                    <a:pt x="625" y="449"/>
                  </a:lnTo>
                  <a:lnTo>
                    <a:pt x="634" y="459"/>
                  </a:lnTo>
                  <a:lnTo>
                    <a:pt x="644" y="459"/>
                  </a:lnTo>
                  <a:lnTo>
                    <a:pt x="654" y="469"/>
                  </a:lnTo>
                  <a:lnTo>
                    <a:pt x="654" y="488"/>
                  </a:lnTo>
                  <a:lnTo>
                    <a:pt x="644" y="508"/>
                  </a:lnTo>
                  <a:lnTo>
                    <a:pt x="634" y="517"/>
                  </a:lnTo>
                  <a:lnTo>
                    <a:pt x="625" y="517"/>
                  </a:lnTo>
                  <a:lnTo>
                    <a:pt x="605" y="517"/>
                  </a:lnTo>
                  <a:lnTo>
                    <a:pt x="586" y="527"/>
                  </a:lnTo>
                  <a:lnTo>
                    <a:pt x="576" y="517"/>
                  </a:lnTo>
                  <a:lnTo>
                    <a:pt x="566" y="508"/>
                  </a:lnTo>
                  <a:lnTo>
                    <a:pt x="556" y="517"/>
                  </a:lnTo>
                  <a:lnTo>
                    <a:pt x="547" y="527"/>
                  </a:lnTo>
                  <a:lnTo>
                    <a:pt x="566" y="537"/>
                  </a:lnTo>
                  <a:lnTo>
                    <a:pt x="576" y="547"/>
                  </a:lnTo>
                  <a:lnTo>
                    <a:pt x="566" y="556"/>
                  </a:lnTo>
                  <a:lnTo>
                    <a:pt x="566" y="576"/>
                  </a:lnTo>
                  <a:lnTo>
                    <a:pt x="556" y="586"/>
                  </a:lnTo>
                  <a:lnTo>
                    <a:pt x="547" y="595"/>
                  </a:lnTo>
                  <a:lnTo>
                    <a:pt x="527" y="576"/>
                  </a:lnTo>
                  <a:lnTo>
                    <a:pt x="517" y="566"/>
                  </a:lnTo>
                  <a:lnTo>
                    <a:pt x="508" y="566"/>
                  </a:lnTo>
                  <a:lnTo>
                    <a:pt x="488" y="586"/>
                  </a:lnTo>
                  <a:lnTo>
                    <a:pt x="469" y="576"/>
                  </a:lnTo>
                  <a:lnTo>
                    <a:pt x="449" y="586"/>
                  </a:lnTo>
                  <a:lnTo>
                    <a:pt x="430" y="576"/>
                  </a:lnTo>
                  <a:lnTo>
                    <a:pt x="430" y="556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0" name="Freeform 266"/>
            <p:cNvSpPr>
              <a:spLocks/>
            </p:cNvSpPr>
            <p:nvPr/>
          </p:nvSpPr>
          <p:spPr bwMode="auto">
            <a:xfrm>
              <a:off x="3541" y="1378"/>
              <a:ext cx="1091" cy="1344"/>
            </a:xfrm>
            <a:custGeom>
              <a:avLst/>
              <a:gdLst>
                <a:gd name="T0" fmla="*/ 0 w 1092"/>
                <a:gd name="T1" fmla="*/ 702 h 1346"/>
                <a:gd name="T2" fmla="*/ 156 w 1092"/>
                <a:gd name="T3" fmla="*/ 770 h 1346"/>
                <a:gd name="T4" fmla="*/ 253 w 1092"/>
                <a:gd name="T5" fmla="*/ 858 h 1346"/>
                <a:gd name="T6" fmla="*/ 361 w 1092"/>
                <a:gd name="T7" fmla="*/ 907 h 1346"/>
                <a:gd name="T8" fmla="*/ 351 w 1092"/>
                <a:gd name="T9" fmla="*/ 1034 h 1346"/>
                <a:gd name="T10" fmla="*/ 497 w 1092"/>
                <a:gd name="T11" fmla="*/ 1112 h 1346"/>
                <a:gd name="T12" fmla="*/ 644 w 1092"/>
                <a:gd name="T13" fmla="*/ 1229 h 1346"/>
                <a:gd name="T14" fmla="*/ 800 w 1092"/>
                <a:gd name="T15" fmla="*/ 1219 h 1346"/>
                <a:gd name="T16" fmla="*/ 897 w 1092"/>
                <a:gd name="T17" fmla="*/ 1297 h 1346"/>
                <a:gd name="T18" fmla="*/ 1043 w 1092"/>
                <a:gd name="T19" fmla="*/ 1297 h 1346"/>
                <a:gd name="T20" fmla="*/ 1043 w 1092"/>
                <a:gd name="T21" fmla="*/ 1190 h 1346"/>
                <a:gd name="T22" fmla="*/ 1063 w 1092"/>
                <a:gd name="T23" fmla="*/ 1073 h 1346"/>
                <a:gd name="T24" fmla="*/ 1043 w 1092"/>
                <a:gd name="T25" fmla="*/ 966 h 1346"/>
                <a:gd name="T26" fmla="*/ 1014 w 1092"/>
                <a:gd name="T27" fmla="*/ 888 h 1346"/>
                <a:gd name="T28" fmla="*/ 1004 w 1092"/>
                <a:gd name="T29" fmla="*/ 741 h 1346"/>
                <a:gd name="T30" fmla="*/ 1063 w 1092"/>
                <a:gd name="T31" fmla="*/ 634 h 1346"/>
                <a:gd name="T32" fmla="*/ 1043 w 1092"/>
                <a:gd name="T33" fmla="*/ 546 h 1346"/>
                <a:gd name="T34" fmla="*/ 956 w 1092"/>
                <a:gd name="T35" fmla="*/ 458 h 1346"/>
                <a:gd name="T36" fmla="*/ 1063 w 1092"/>
                <a:gd name="T37" fmla="*/ 351 h 1346"/>
                <a:gd name="T38" fmla="*/ 1073 w 1092"/>
                <a:gd name="T39" fmla="*/ 234 h 1346"/>
                <a:gd name="T40" fmla="*/ 995 w 1092"/>
                <a:gd name="T41" fmla="*/ 205 h 1346"/>
                <a:gd name="T42" fmla="*/ 965 w 1092"/>
                <a:gd name="T43" fmla="*/ 195 h 1346"/>
                <a:gd name="T44" fmla="*/ 975 w 1092"/>
                <a:gd name="T45" fmla="*/ 292 h 1346"/>
                <a:gd name="T46" fmla="*/ 985 w 1092"/>
                <a:gd name="T47" fmla="*/ 341 h 1346"/>
                <a:gd name="T48" fmla="*/ 887 w 1092"/>
                <a:gd name="T49" fmla="*/ 253 h 1346"/>
                <a:gd name="T50" fmla="*/ 936 w 1092"/>
                <a:gd name="T51" fmla="*/ 156 h 1346"/>
                <a:gd name="T52" fmla="*/ 917 w 1092"/>
                <a:gd name="T53" fmla="*/ 127 h 1346"/>
                <a:gd name="T54" fmla="*/ 809 w 1092"/>
                <a:gd name="T55" fmla="*/ 205 h 1346"/>
                <a:gd name="T56" fmla="*/ 780 w 1092"/>
                <a:gd name="T57" fmla="*/ 341 h 1346"/>
                <a:gd name="T58" fmla="*/ 722 w 1092"/>
                <a:gd name="T59" fmla="*/ 468 h 1346"/>
                <a:gd name="T60" fmla="*/ 839 w 1092"/>
                <a:gd name="T61" fmla="*/ 517 h 1346"/>
                <a:gd name="T62" fmla="*/ 848 w 1092"/>
                <a:gd name="T63" fmla="*/ 624 h 1346"/>
                <a:gd name="T64" fmla="*/ 858 w 1092"/>
                <a:gd name="T65" fmla="*/ 692 h 1346"/>
                <a:gd name="T66" fmla="*/ 800 w 1092"/>
                <a:gd name="T67" fmla="*/ 663 h 1346"/>
                <a:gd name="T68" fmla="*/ 829 w 1092"/>
                <a:gd name="T69" fmla="*/ 566 h 1346"/>
                <a:gd name="T70" fmla="*/ 712 w 1092"/>
                <a:gd name="T71" fmla="*/ 546 h 1346"/>
                <a:gd name="T72" fmla="*/ 605 w 1092"/>
                <a:gd name="T73" fmla="*/ 692 h 1346"/>
                <a:gd name="T74" fmla="*/ 478 w 1092"/>
                <a:gd name="T75" fmla="*/ 712 h 1346"/>
                <a:gd name="T76" fmla="*/ 429 w 1092"/>
                <a:gd name="T77" fmla="*/ 644 h 1346"/>
                <a:gd name="T78" fmla="*/ 458 w 1092"/>
                <a:gd name="T79" fmla="*/ 644 h 1346"/>
                <a:gd name="T80" fmla="*/ 517 w 1092"/>
                <a:gd name="T81" fmla="*/ 683 h 1346"/>
                <a:gd name="T82" fmla="*/ 575 w 1092"/>
                <a:gd name="T83" fmla="*/ 634 h 1346"/>
                <a:gd name="T84" fmla="*/ 634 w 1092"/>
                <a:gd name="T85" fmla="*/ 595 h 1346"/>
                <a:gd name="T86" fmla="*/ 683 w 1092"/>
                <a:gd name="T87" fmla="*/ 497 h 1346"/>
                <a:gd name="T88" fmla="*/ 702 w 1092"/>
                <a:gd name="T89" fmla="*/ 390 h 1346"/>
                <a:gd name="T90" fmla="*/ 761 w 1092"/>
                <a:gd name="T91" fmla="*/ 283 h 1346"/>
                <a:gd name="T92" fmla="*/ 800 w 1092"/>
                <a:gd name="T93" fmla="*/ 156 h 1346"/>
                <a:gd name="T94" fmla="*/ 848 w 1092"/>
                <a:gd name="T95" fmla="*/ 58 h 1346"/>
                <a:gd name="T96" fmla="*/ 761 w 1092"/>
                <a:gd name="T97" fmla="*/ 19 h 1346"/>
                <a:gd name="T98" fmla="*/ 683 w 1092"/>
                <a:gd name="T99" fmla="*/ 78 h 1346"/>
                <a:gd name="T100" fmla="*/ 556 w 1092"/>
                <a:gd name="T101" fmla="*/ 156 h 1346"/>
                <a:gd name="T102" fmla="*/ 546 w 1092"/>
                <a:gd name="T103" fmla="*/ 234 h 1346"/>
                <a:gd name="T104" fmla="*/ 487 w 1092"/>
                <a:gd name="T105" fmla="*/ 302 h 1346"/>
                <a:gd name="T106" fmla="*/ 507 w 1092"/>
                <a:gd name="T107" fmla="*/ 341 h 1346"/>
                <a:gd name="T108" fmla="*/ 468 w 1092"/>
                <a:gd name="T109" fmla="*/ 468 h 1346"/>
                <a:gd name="T110" fmla="*/ 429 w 1092"/>
                <a:gd name="T111" fmla="*/ 361 h 1346"/>
                <a:gd name="T112" fmla="*/ 361 w 1092"/>
                <a:gd name="T113" fmla="*/ 302 h 1346"/>
                <a:gd name="T114" fmla="*/ 361 w 1092"/>
                <a:gd name="T115" fmla="*/ 458 h 1346"/>
                <a:gd name="T116" fmla="*/ 234 w 1092"/>
                <a:gd name="T117" fmla="*/ 517 h 13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92"/>
                <a:gd name="T178" fmla="*/ 0 h 1346"/>
                <a:gd name="T179" fmla="*/ 1092 w 1092"/>
                <a:gd name="T180" fmla="*/ 1346 h 13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92" h="1346">
                  <a:moveTo>
                    <a:pt x="68" y="566"/>
                  </a:moveTo>
                  <a:lnTo>
                    <a:pt x="58" y="585"/>
                  </a:lnTo>
                  <a:lnTo>
                    <a:pt x="58" y="595"/>
                  </a:lnTo>
                  <a:lnTo>
                    <a:pt x="49" y="614"/>
                  </a:lnTo>
                  <a:lnTo>
                    <a:pt x="58" y="624"/>
                  </a:lnTo>
                  <a:lnTo>
                    <a:pt x="49" y="634"/>
                  </a:lnTo>
                  <a:lnTo>
                    <a:pt x="39" y="663"/>
                  </a:lnTo>
                  <a:lnTo>
                    <a:pt x="19" y="683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19" y="712"/>
                  </a:lnTo>
                  <a:lnTo>
                    <a:pt x="29" y="712"/>
                  </a:lnTo>
                  <a:lnTo>
                    <a:pt x="39" y="731"/>
                  </a:lnTo>
                  <a:lnTo>
                    <a:pt x="39" y="741"/>
                  </a:lnTo>
                  <a:lnTo>
                    <a:pt x="49" y="751"/>
                  </a:lnTo>
                  <a:lnTo>
                    <a:pt x="58" y="741"/>
                  </a:lnTo>
                  <a:lnTo>
                    <a:pt x="97" y="751"/>
                  </a:lnTo>
                  <a:lnTo>
                    <a:pt x="127" y="761"/>
                  </a:lnTo>
                  <a:lnTo>
                    <a:pt x="136" y="761"/>
                  </a:lnTo>
                  <a:lnTo>
                    <a:pt x="156" y="770"/>
                  </a:lnTo>
                  <a:lnTo>
                    <a:pt x="175" y="780"/>
                  </a:lnTo>
                  <a:lnTo>
                    <a:pt x="195" y="790"/>
                  </a:lnTo>
                  <a:lnTo>
                    <a:pt x="195" y="800"/>
                  </a:lnTo>
                  <a:lnTo>
                    <a:pt x="185" y="810"/>
                  </a:lnTo>
                  <a:lnTo>
                    <a:pt x="175" y="819"/>
                  </a:lnTo>
                  <a:lnTo>
                    <a:pt x="175" y="839"/>
                  </a:lnTo>
                  <a:lnTo>
                    <a:pt x="195" y="858"/>
                  </a:lnTo>
                  <a:lnTo>
                    <a:pt x="214" y="858"/>
                  </a:lnTo>
                  <a:lnTo>
                    <a:pt x="244" y="858"/>
                  </a:lnTo>
                  <a:lnTo>
                    <a:pt x="253" y="858"/>
                  </a:lnTo>
                  <a:lnTo>
                    <a:pt x="263" y="868"/>
                  </a:lnTo>
                  <a:lnTo>
                    <a:pt x="283" y="858"/>
                  </a:lnTo>
                  <a:lnTo>
                    <a:pt x="292" y="858"/>
                  </a:lnTo>
                  <a:lnTo>
                    <a:pt x="302" y="858"/>
                  </a:lnTo>
                  <a:lnTo>
                    <a:pt x="322" y="888"/>
                  </a:lnTo>
                  <a:lnTo>
                    <a:pt x="331" y="888"/>
                  </a:lnTo>
                  <a:lnTo>
                    <a:pt x="341" y="888"/>
                  </a:lnTo>
                  <a:lnTo>
                    <a:pt x="341" y="897"/>
                  </a:lnTo>
                  <a:lnTo>
                    <a:pt x="361" y="907"/>
                  </a:lnTo>
                  <a:lnTo>
                    <a:pt x="361" y="917"/>
                  </a:lnTo>
                  <a:lnTo>
                    <a:pt x="351" y="927"/>
                  </a:lnTo>
                  <a:lnTo>
                    <a:pt x="341" y="936"/>
                  </a:lnTo>
                  <a:lnTo>
                    <a:pt x="341" y="966"/>
                  </a:lnTo>
                  <a:lnTo>
                    <a:pt x="341" y="995"/>
                  </a:lnTo>
                  <a:lnTo>
                    <a:pt x="361" y="1005"/>
                  </a:lnTo>
                  <a:lnTo>
                    <a:pt x="361" y="1014"/>
                  </a:lnTo>
                  <a:lnTo>
                    <a:pt x="351" y="1014"/>
                  </a:lnTo>
                  <a:lnTo>
                    <a:pt x="351" y="1024"/>
                  </a:lnTo>
                  <a:lnTo>
                    <a:pt x="351" y="1034"/>
                  </a:lnTo>
                  <a:lnTo>
                    <a:pt x="370" y="1044"/>
                  </a:lnTo>
                  <a:lnTo>
                    <a:pt x="390" y="1053"/>
                  </a:lnTo>
                  <a:lnTo>
                    <a:pt x="400" y="1053"/>
                  </a:lnTo>
                  <a:lnTo>
                    <a:pt x="419" y="1044"/>
                  </a:lnTo>
                  <a:lnTo>
                    <a:pt x="429" y="1053"/>
                  </a:lnTo>
                  <a:lnTo>
                    <a:pt x="429" y="1073"/>
                  </a:lnTo>
                  <a:lnTo>
                    <a:pt x="439" y="1083"/>
                  </a:lnTo>
                  <a:lnTo>
                    <a:pt x="468" y="1083"/>
                  </a:lnTo>
                  <a:lnTo>
                    <a:pt x="478" y="1092"/>
                  </a:lnTo>
                  <a:lnTo>
                    <a:pt x="497" y="1112"/>
                  </a:lnTo>
                  <a:lnTo>
                    <a:pt x="517" y="1122"/>
                  </a:lnTo>
                  <a:lnTo>
                    <a:pt x="546" y="1122"/>
                  </a:lnTo>
                  <a:lnTo>
                    <a:pt x="556" y="1131"/>
                  </a:lnTo>
                  <a:lnTo>
                    <a:pt x="566" y="1151"/>
                  </a:lnTo>
                  <a:lnTo>
                    <a:pt x="595" y="1151"/>
                  </a:lnTo>
                  <a:lnTo>
                    <a:pt x="595" y="1171"/>
                  </a:lnTo>
                  <a:lnTo>
                    <a:pt x="605" y="1200"/>
                  </a:lnTo>
                  <a:lnTo>
                    <a:pt x="605" y="1210"/>
                  </a:lnTo>
                  <a:lnTo>
                    <a:pt x="624" y="1219"/>
                  </a:lnTo>
                  <a:lnTo>
                    <a:pt x="644" y="1229"/>
                  </a:lnTo>
                  <a:lnTo>
                    <a:pt x="673" y="1229"/>
                  </a:lnTo>
                  <a:lnTo>
                    <a:pt x="692" y="1229"/>
                  </a:lnTo>
                  <a:lnTo>
                    <a:pt x="702" y="1249"/>
                  </a:lnTo>
                  <a:lnTo>
                    <a:pt x="722" y="1258"/>
                  </a:lnTo>
                  <a:lnTo>
                    <a:pt x="731" y="1258"/>
                  </a:lnTo>
                  <a:lnTo>
                    <a:pt x="741" y="1249"/>
                  </a:lnTo>
                  <a:lnTo>
                    <a:pt x="751" y="1239"/>
                  </a:lnTo>
                  <a:lnTo>
                    <a:pt x="761" y="1229"/>
                  </a:lnTo>
                  <a:lnTo>
                    <a:pt x="780" y="1219"/>
                  </a:lnTo>
                  <a:lnTo>
                    <a:pt x="800" y="1219"/>
                  </a:lnTo>
                  <a:lnTo>
                    <a:pt x="809" y="1229"/>
                  </a:lnTo>
                  <a:lnTo>
                    <a:pt x="819" y="1258"/>
                  </a:lnTo>
                  <a:lnTo>
                    <a:pt x="829" y="1268"/>
                  </a:lnTo>
                  <a:lnTo>
                    <a:pt x="839" y="1268"/>
                  </a:lnTo>
                  <a:lnTo>
                    <a:pt x="858" y="1268"/>
                  </a:lnTo>
                  <a:lnTo>
                    <a:pt x="868" y="1278"/>
                  </a:lnTo>
                  <a:lnTo>
                    <a:pt x="878" y="1278"/>
                  </a:lnTo>
                  <a:lnTo>
                    <a:pt x="887" y="1278"/>
                  </a:lnTo>
                  <a:lnTo>
                    <a:pt x="897" y="1297"/>
                  </a:lnTo>
                  <a:lnTo>
                    <a:pt x="917" y="1317"/>
                  </a:lnTo>
                  <a:lnTo>
                    <a:pt x="936" y="1327"/>
                  </a:lnTo>
                  <a:lnTo>
                    <a:pt x="946" y="1317"/>
                  </a:lnTo>
                  <a:lnTo>
                    <a:pt x="956" y="1327"/>
                  </a:lnTo>
                  <a:lnTo>
                    <a:pt x="975" y="1346"/>
                  </a:lnTo>
                  <a:lnTo>
                    <a:pt x="985" y="1346"/>
                  </a:lnTo>
                  <a:lnTo>
                    <a:pt x="1004" y="1327"/>
                  </a:lnTo>
                  <a:lnTo>
                    <a:pt x="1004" y="1317"/>
                  </a:lnTo>
                  <a:lnTo>
                    <a:pt x="1024" y="1297"/>
                  </a:lnTo>
                  <a:lnTo>
                    <a:pt x="1043" y="1297"/>
                  </a:lnTo>
                  <a:lnTo>
                    <a:pt x="1053" y="1288"/>
                  </a:lnTo>
                  <a:lnTo>
                    <a:pt x="1043" y="1278"/>
                  </a:lnTo>
                  <a:lnTo>
                    <a:pt x="1053" y="1268"/>
                  </a:lnTo>
                  <a:lnTo>
                    <a:pt x="1053" y="1258"/>
                  </a:lnTo>
                  <a:lnTo>
                    <a:pt x="1043" y="1249"/>
                  </a:lnTo>
                  <a:lnTo>
                    <a:pt x="1043" y="1239"/>
                  </a:lnTo>
                  <a:lnTo>
                    <a:pt x="1034" y="1219"/>
                  </a:lnTo>
                  <a:lnTo>
                    <a:pt x="1034" y="1210"/>
                  </a:lnTo>
                  <a:lnTo>
                    <a:pt x="1043" y="1190"/>
                  </a:lnTo>
                  <a:lnTo>
                    <a:pt x="1063" y="1180"/>
                  </a:lnTo>
                  <a:lnTo>
                    <a:pt x="1083" y="1171"/>
                  </a:lnTo>
                  <a:lnTo>
                    <a:pt x="1092" y="1161"/>
                  </a:lnTo>
                  <a:lnTo>
                    <a:pt x="1092" y="1131"/>
                  </a:lnTo>
                  <a:lnTo>
                    <a:pt x="1092" y="1102"/>
                  </a:lnTo>
                  <a:lnTo>
                    <a:pt x="1092" y="1083"/>
                  </a:lnTo>
                  <a:lnTo>
                    <a:pt x="1083" y="1083"/>
                  </a:lnTo>
                  <a:lnTo>
                    <a:pt x="1063" y="1083"/>
                  </a:lnTo>
                  <a:lnTo>
                    <a:pt x="1053" y="1083"/>
                  </a:lnTo>
                  <a:lnTo>
                    <a:pt x="1063" y="1073"/>
                  </a:lnTo>
                  <a:lnTo>
                    <a:pt x="1053" y="1063"/>
                  </a:lnTo>
                  <a:lnTo>
                    <a:pt x="1034" y="1053"/>
                  </a:lnTo>
                  <a:lnTo>
                    <a:pt x="1024" y="1044"/>
                  </a:lnTo>
                  <a:lnTo>
                    <a:pt x="1034" y="1034"/>
                  </a:lnTo>
                  <a:lnTo>
                    <a:pt x="1043" y="1024"/>
                  </a:lnTo>
                  <a:lnTo>
                    <a:pt x="1043" y="1005"/>
                  </a:lnTo>
                  <a:lnTo>
                    <a:pt x="1043" y="995"/>
                  </a:lnTo>
                  <a:lnTo>
                    <a:pt x="1053" y="975"/>
                  </a:lnTo>
                  <a:lnTo>
                    <a:pt x="1043" y="966"/>
                  </a:lnTo>
                  <a:lnTo>
                    <a:pt x="1034" y="966"/>
                  </a:lnTo>
                  <a:lnTo>
                    <a:pt x="1024" y="966"/>
                  </a:lnTo>
                  <a:lnTo>
                    <a:pt x="1014" y="956"/>
                  </a:lnTo>
                  <a:lnTo>
                    <a:pt x="1014" y="936"/>
                  </a:lnTo>
                  <a:lnTo>
                    <a:pt x="1004" y="936"/>
                  </a:lnTo>
                  <a:lnTo>
                    <a:pt x="1004" y="917"/>
                  </a:lnTo>
                  <a:lnTo>
                    <a:pt x="1024" y="917"/>
                  </a:lnTo>
                  <a:lnTo>
                    <a:pt x="1024" y="907"/>
                  </a:lnTo>
                  <a:lnTo>
                    <a:pt x="1014" y="888"/>
                  </a:lnTo>
                  <a:lnTo>
                    <a:pt x="1004" y="878"/>
                  </a:lnTo>
                  <a:lnTo>
                    <a:pt x="1014" y="858"/>
                  </a:lnTo>
                  <a:lnTo>
                    <a:pt x="1024" y="849"/>
                  </a:lnTo>
                  <a:lnTo>
                    <a:pt x="1024" y="839"/>
                  </a:lnTo>
                  <a:lnTo>
                    <a:pt x="1004" y="810"/>
                  </a:lnTo>
                  <a:lnTo>
                    <a:pt x="995" y="790"/>
                  </a:lnTo>
                  <a:lnTo>
                    <a:pt x="995" y="780"/>
                  </a:lnTo>
                  <a:lnTo>
                    <a:pt x="1004" y="761"/>
                  </a:lnTo>
                  <a:lnTo>
                    <a:pt x="1004" y="741"/>
                  </a:lnTo>
                  <a:lnTo>
                    <a:pt x="1004" y="722"/>
                  </a:lnTo>
                  <a:lnTo>
                    <a:pt x="1004" y="702"/>
                  </a:lnTo>
                  <a:lnTo>
                    <a:pt x="1024" y="702"/>
                  </a:lnTo>
                  <a:lnTo>
                    <a:pt x="1034" y="702"/>
                  </a:lnTo>
                  <a:lnTo>
                    <a:pt x="1063" y="692"/>
                  </a:lnTo>
                  <a:lnTo>
                    <a:pt x="1053" y="663"/>
                  </a:lnTo>
                  <a:lnTo>
                    <a:pt x="1053" y="644"/>
                  </a:lnTo>
                  <a:lnTo>
                    <a:pt x="1053" y="634"/>
                  </a:lnTo>
                  <a:lnTo>
                    <a:pt x="1063" y="634"/>
                  </a:lnTo>
                  <a:lnTo>
                    <a:pt x="1073" y="634"/>
                  </a:lnTo>
                  <a:lnTo>
                    <a:pt x="1063" y="624"/>
                  </a:lnTo>
                  <a:lnTo>
                    <a:pt x="1053" y="614"/>
                  </a:lnTo>
                  <a:lnTo>
                    <a:pt x="1063" y="605"/>
                  </a:lnTo>
                  <a:lnTo>
                    <a:pt x="1063" y="585"/>
                  </a:lnTo>
                  <a:lnTo>
                    <a:pt x="1063" y="575"/>
                  </a:lnTo>
                  <a:lnTo>
                    <a:pt x="1053" y="566"/>
                  </a:lnTo>
                  <a:lnTo>
                    <a:pt x="1063" y="546"/>
                  </a:lnTo>
                  <a:lnTo>
                    <a:pt x="1053" y="536"/>
                  </a:lnTo>
                  <a:lnTo>
                    <a:pt x="1043" y="546"/>
                  </a:lnTo>
                  <a:lnTo>
                    <a:pt x="1034" y="556"/>
                  </a:lnTo>
                  <a:lnTo>
                    <a:pt x="1024" y="556"/>
                  </a:lnTo>
                  <a:lnTo>
                    <a:pt x="1004" y="546"/>
                  </a:lnTo>
                  <a:lnTo>
                    <a:pt x="985" y="527"/>
                  </a:lnTo>
                  <a:lnTo>
                    <a:pt x="975" y="527"/>
                  </a:lnTo>
                  <a:lnTo>
                    <a:pt x="975" y="517"/>
                  </a:lnTo>
                  <a:lnTo>
                    <a:pt x="975" y="497"/>
                  </a:lnTo>
                  <a:lnTo>
                    <a:pt x="965" y="488"/>
                  </a:lnTo>
                  <a:lnTo>
                    <a:pt x="956" y="478"/>
                  </a:lnTo>
                  <a:lnTo>
                    <a:pt x="956" y="458"/>
                  </a:lnTo>
                  <a:lnTo>
                    <a:pt x="965" y="449"/>
                  </a:lnTo>
                  <a:lnTo>
                    <a:pt x="985" y="439"/>
                  </a:lnTo>
                  <a:lnTo>
                    <a:pt x="995" y="439"/>
                  </a:lnTo>
                  <a:lnTo>
                    <a:pt x="1004" y="429"/>
                  </a:lnTo>
                  <a:lnTo>
                    <a:pt x="1014" y="429"/>
                  </a:lnTo>
                  <a:lnTo>
                    <a:pt x="1043" y="419"/>
                  </a:lnTo>
                  <a:lnTo>
                    <a:pt x="1053" y="409"/>
                  </a:lnTo>
                  <a:lnTo>
                    <a:pt x="1053" y="370"/>
                  </a:lnTo>
                  <a:lnTo>
                    <a:pt x="1063" y="351"/>
                  </a:lnTo>
                  <a:lnTo>
                    <a:pt x="1053" y="341"/>
                  </a:lnTo>
                  <a:lnTo>
                    <a:pt x="1043" y="331"/>
                  </a:lnTo>
                  <a:lnTo>
                    <a:pt x="1024" y="302"/>
                  </a:lnTo>
                  <a:lnTo>
                    <a:pt x="1024" y="283"/>
                  </a:lnTo>
                  <a:lnTo>
                    <a:pt x="1034" y="273"/>
                  </a:lnTo>
                  <a:lnTo>
                    <a:pt x="1043" y="273"/>
                  </a:lnTo>
                  <a:lnTo>
                    <a:pt x="1053" y="273"/>
                  </a:lnTo>
                  <a:lnTo>
                    <a:pt x="1083" y="244"/>
                  </a:lnTo>
                  <a:lnTo>
                    <a:pt x="1073" y="234"/>
                  </a:lnTo>
                  <a:lnTo>
                    <a:pt x="1053" y="224"/>
                  </a:lnTo>
                  <a:lnTo>
                    <a:pt x="1043" y="214"/>
                  </a:lnTo>
                  <a:lnTo>
                    <a:pt x="1034" y="195"/>
                  </a:lnTo>
                  <a:lnTo>
                    <a:pt x="1043" y="195"/>
                  </a:lnTo>
                  <a:lnTo>
                    <a:pt x="1043" y="185"/>
                  </a:lnTo>
                  <a:lnTo>
                    <a:pt x="1014" y="185"/>
                  </a:lnTo>
                  <a:lnTo>
                    <a:pt x="1004" y="195"/>
                  </a:lnTo>
                  <a:lnTo>
                    <a:pt x="995" y="195"/>
                  </a:lnTo>
                  <a:lnTo>
                    <a:pt x="995" y="205"/>
                  </a:lnTo>
                  <a:lnTo>
                    <a:pt x="1004" y="205"/>
                  </a:lnTo>
                  <a:lnTo>
                    <a:pt x="1014" y="214"/>
                  </a:lnTo>
                  <a:lnTo>
                    <a:pt x="1014" y="234"/>
                  </a:lnTo>
                  <a:lnTo>
                    <a:pt x="1004" y="234"/>
                  </a:lnTo>
                  <a:lnTo>
                    <a:pt x="985" y="234"/>
                  </a:lnTo>
                  <a:lnTo>
                    <a:pt x="985" y="214"/>
                  </a:lnTo>
                  <a:lnTo>
                    <a:pt x="975" y="214"/>
                  </a:lnTo>
                  <a:lnTo>
                    <a:pt x="975" y="195"/>
                  </a:lnTo>
                  <a:lnTo>
                    <a:pt x="965" y="195"/>
                  </a:lnTo>
                  <a:lnTo>
                    <a:pt x="956" y="195"/>
                  </a:lnTo>
                  <a:lnTo>
                    <a:pt x="936" y="195"/>
                  </a:lnTo>
                  <a:lnTo>
                    <a:pt x="926" y="205"/>
                  </a:lnTo>
                  <a:lnTo>
                    <a:pt x="926" y="224"/>
                  </a:lnTo>
                  <a:lnTo>
                    <a:pt x="926" y="244"/>
                  </a:lnTo>
                  <a:lnTo>
                    <a:pt x="936" y="263"/>
                  </a:lnTo>
                  <a:lnTo>
                    <a:pt x="946" y="273"/>
                  </a:lnTo>
                  <a:lnTo>
                    <a:pt x="956" y="292"/>
                  </a:lnTo>
                  <a:lnTo>
                    <a:pt x="965" y="292"/>
                  </a:lnTo>
                  <a:lnTo>
                    <a:pt x="975" y="292"/>
                  </a:lnTo>
                  <a:lnTo>
                    <a:pt x="985" y="302"/>
                  </a:lnTo>
                  <a:lnTo>
                    <a:pt x="985" y="312"/>
                  </a:lnTo>
                  <a:lnTo>
                    <a:pt x="975" y="322"/>
                  </a:lnTo>
                  <a:lnTo>
                    <a:pt x="985" y="331"/>
                  </a:lnTo>
                  <a:lnTo>
                    <a:pt x="995" y="331"/>
                  </a:lnTo>
                  <a:lnTo>
                    <a:pt x="1004" y="331"/>
                  </a:lnTo>
                  <a:lnTo>
                    <a:pt x="1004" y="341"/>
                  </a:lnTo>
                  <a:lnTo>
                    <a:pt x="1004" y="351"/>
                  </a:lnTo>
                  <a:lnTo>
                    <a:pt x="985" y="341"/>
                  </a:lnTo>
                  <a:lnTo>
                    <a:pt x="975" y="341"/>
                  </a:lnTo>
                  <a:lnTo>
                    <a:pt x="965" y="331"/>
                  </a:lnTo>
                  <a:lnTo>
                    <a:pt x="965" y="312"/>
                  </a:lnTo>
                  <a:lnTo>
                    <a:pt x="956" y="302"/>
                  </a:lnTo>
                  <a:lnTo>
                    <a:pt x="946" y="292"/>
                  </a:lnTo>
                  <a:lnTo>
                    <a:pt x="936" y="292"/>
                  </a:lnTo>
                  <a:lnTo>
                    <a:pt x="926" y="292"/>
                  </a:lnTo>
                  <a:lnTo>
                    <a:pt x="917" y="283"/>
                  </a:lnTo>
                  <a:lnTo>
                    <a:pt x="897" y="273"/>
                  </a:lnTo>
                  <a:lnTo>
                    <a:pt x="887" y="253"/>
                  </a:lnTo>
                  <a:lnTo>
                    <a:pt x="887" y="244"/>
                  </a:lnTo>
                  <a:lnTo>
                    <a:pt x="897" y="234"/>
                  </a:lnTo>
                  <a:lnTo>
                    <a:pt x="897" y="214"/>
                  </a:lnTo>
                  <a:lnTo>
                    <a:pt x="897" y="195"/>
                  </a:lnTo>
                  <a:lnTo>
                    <a:pt x="907" y="185"/>
                  </a:lnTo>
                  <a:lnTo>
                    <a:pt x="917" y="175"/>
                  </a:lnTo>
                  <a:lnTo>
                    <a:pt x="926" y="166"/>
                  </a:lnTo>
                  <a:lnTo>
                    <a:pt x="936" y="156"/>
                  </a:lnTo>
                  <a:lnTo>
                    <a:pt x="936" y="146"/>
                  </a:lnTo>
                  <a:lnTo>
                    <a:pt x="936" y="136"/>
                  </a:lnTo>
                  <a:lnTo>
                    <a:pt x="946" y="127"/>
                  </a:lnTo>
                  <a:lnTo>
                    <a:pt x="946" y="117"/>
                  </a:lnTo>
                  <a:lnTo>
                    <a:pt x="946" y="97"/>
                  </a:lnTo>
                  <a:lnTo>
                    <a:pt x="936" y="88"/>
                  </a:lnTo>
                  <a:lnTo>
                    <a:pt x="926" y="97"/>
                  </a:lnTo>
                  <a:lnTo>
                    <a:pt x="926" y="107"/>
                  </a:lnTo>
                  <a:lnTo>
                    <a:pt x="917" y="127"/>
                  </a:lnTo>
                  <a:lnTo>
                    <a:pt x="917" y="146"/>
                  </a:lnTo>
                  <a:lnTo>
                    <a:pt x="907" y="156"/>
                  </a:lnTo>
                  <a:lnTo>
                    <a:pt x="897" y="175"/>
                  </a:lnTo>
                  <a:lnTo>
                    <a:pt x="878" y="175"/>
                  </a:lnTo>
                  <a:lnTo>
                    <a:pt x="858" y="175"/>
                  </a:lnTo>
                  <a:lnTo>
                    <a:pt x="848" y="175"/>
                  </a:lnTo>
                  <a:lnTo>
                    <a:pt x="839" y="185"/>
                  </a:lnTo>
                  <a:lnTo>
                    <a:pt x="829" y="195"/>
                  </a:lnTo>
                  <a:lnTo>
                    <a:pt x="809" y="205"/>
                  </a:lnTo>
                  <a:lnTo>
                    <a:pt x="800" y="205"/>
                  </a:lnTo>
                  <a:lnTo>
                    <a:pt x="800" y="214"/>
                  </a:lnTo>
                  <a:lnTo>
                    <a:pt x="800" y="224"/>
                  </a:lnTo>
                  <a:lnTo>
                    <a:pt x="809" y="234"/>
                  </a:lnTo>
                  <a:lnTo>
                    <a:pt x="809" y="263"/>
                  </a:lnTo>
                  <a:lnTo>
                    <a:pt x="800" y="283"/>
                  </a:lnTo>
                  <a:lnTo>
                    <a:pt x="809" y="312"/>
                  </a:lnTo>
                  <a:lnTo>
                    <a:pt x="809" y="331"/>
                  </a:lnTo>
                  <a:lnTo>
                    <a:pt x="800" y="331"/>
                  </a:lnTo>
                  <a:lnTo>
                    <a:pt x="780" y="341"/>
                  </a:lnTo>
                  <a:lnTo>
                    <a:pt x="770" y="351"/>
                  </a:lnTo>
                  <a:lnTo>
                    <a:pt x="761" y="361"/>
                  </a:lnTo>
                  <a:lnTo>
                    <a:pt x="761" y="370"/>
                  </a:lnTo>
                  <a:lnTo>
                    <a:pt x="741" y="390"/>
                  </a:lnTo>
                  <a:lnTo>
                    <a:pt x="741" y="409"/>
                  </a:lnTo>
                  <a:lnTo>
                    <a:pt x="741" y="429"/>
                  </a:lnTo>
                  <a:lnTo>
                    <a:pt x="741" y="439"/>
                  </a:lnTo>
                  <a:lnTo>
                    <a:pt x="731" y="449"/>
                  </a:lnTo>
                  <a:lnTo>
                    <a:pt x="722" y="458"/>
                  </a:lnTo>
                  <a:lnTo>
                    <a:pt x="722" y="468"/>
                  </a:lnTo>
                  <a:lnTo>
                    <a:pt x="731" y="468"/>
                  </a:lnTo>
                  <a:lnTo>
                    <a:pt x="741" y="468"/>
                  </a:lnTo>
                  <a:lnTo>
                    <a:pt x="751" y="478"/>
                  </a:lnTo>
                  <a:lnTo>
                    <a:pt x="751" y="488"/>
                  </a:lnTo>
                  <a:lnTo>
                    <a:pt x="770" y="488"/>
                  </a:lnTo>
                  <a:lnTo>
                    <a:pt x="790" y="488"/>
                  </a:lnTo>
                  <a:lnTo>
                    <a:pt x="800" y="488"/>
                  </a:lnTo>
                  <a:lnTo>
                    <a:pt x="809" y="488"/>
                  </a:lnTo>
                  <a:lnTo>
                    <a:pt x="829" y="497"/>
                  </a:lnTo>
                  <a:lnTo>
                    <a:pt x="839" y="517"/>
                  </a:lnTo>
                  <a:lnTo>
                    <a:pt x="848" y="527"/>
                  </a:lnTo>
                  <a:lnTo>
                    <a:pt x="848" y="536"/>
                  </a:lnTo>
                  <a:lnTo>
                    <a:pt x="858" y="546"/>
                  </a:lnTo>
                  <a:lnTo>
                    <a:pt x="858" y="556"/>
                  </a:lnTo>
                  <a:lnTo>
                    <a:pt x="858" y="575"/>
                  </a:lnTo>
                  <a:lnTo>
                    <a:pt x="858" y="585"/>
                  </a:lnTo>
                  <a:lnTo>
                    <a:pt x="868" y="605"/>
                  </a:lnTo>
                  <a:lnTo>
                    <a:pt x="858" y="614"/>
                  </a:lnTo>
                  <a:lnTo>
                    <a:pt x="858" y="624"/>
                  </a:lnTo>
                  <a:lnTo>
                    <a:pt x="848" y="624"/>
                  </a:lnTo>
                  <a:lnTo>
                    <a:pt x="839" y="624"/>
                  </a:lnTo>
                  <a:lnTo>
                    <a:pt x="829" y="634"/>
                  </a:lnTo>
                  <a:lnTo>
                    <a:pt x="819" y="644"/>
                  </a:lnTo>
                  <a:lnTo>
                    <a:pt x="819" y="663"/>
                  </a:lnTo>
                  <a:lnTo>
                    <a:pt x="819" y="673"/>
                  </a:lnTo>
                  <a:lnTo>
                    <a:pt x="829" y="673"/>
                  </a:lnTo>
                  <a:lnTo>
                    <a:pt x="829" y="683"/>
                  </a:lnTo>
                  <a:lnTo>
                    <a:pt x="848" y="692"/>
                  </a:lnTo>
                  <a:lnTo>
                    <a:pt x="858" y="692"/>
                  </a:lnTo>
                  <a:lnTo>
                    <a:pt x="868" y="702"/>
                  </a:lnTo>
                  <a:lnTo>
                    <a:pt x="868" y="712"/>
                  </a:lnTo>
                  <a:lnTo>
                    <a:pt x="858" y="702"/>
                  </a:lnTo>
                  <a:lnTo>
                    <a:pt x="848" y="702"/>
                  </a:lnTo>
                  <a:lnTo>
                    <a:pt x="829" y="692"/>
                  </a:lnTo>
                  <a:lnTo>
                    <a:pt x="819" y="702"/>
                  </a:lnTo>
                  <a:lnTo>
                    <a:pt x="819" y="692"/>
                  </a:lnTo>
                  <a:lnTo>
                    <a:pt x="809" y="683"/>
                  </a:lnTo>
                  <a:lnTo>
                    <a:pt x="800" y="663"/>
                  </a:lnTo>
                  <a:lnTo>
                    <a:pt x="809" y="653"/>
                  </a:lnTo>
                  <a:lnTo>
                    <a:pt x="809" y="634"/>
                  </a:lnTo>
                  <a:lnTo>
                    <a:pt x="819" y="624"/>
                  </a:lnTo>
                  <a:lnTo>
                    <a:pt x="829" y="614"/>
                  </a:lnTo>
                  <a:lnTo>
                    <a:pt x="819" y="605"/>
                  </a:lnTo>
                  <a:lnTo>
                    <a:pt x="839" y="595"/>
                  </a:lnTo>
                  <a:lnTo>
                    <a:pt x="839" y="585"/>
                  </a:lnTo>
                  <a:lnTo>
                    <a:pt x="839" y="575"/>
                  </a:lnTo>
                  <a:lnTo>
                    <a:pt x="829" y="566"/>
                  </a:lnTo>
                  <a:lnTo>
                    <a:pt x="829" y="546"/>
                  </a:lnTo>
                  <a:lnTo>
                    <a:pt x="829" y="527"/>
                  </a:lnTo>
                  <a:lnTo>
                    <a:pt x="819" y="517"/>
                  </a:lnTo>
                  <a:lnTo>
                    <a:pt x="800" y="517"/>
                  </a:lnTo>
                  <a:lnTo>
                    <a:pt x="761" y="507"/>
                  </a:lnTo>
                  <a:lnTo>
                    <a:pt x="741" y="517"/>
                  </a:lnTo>
                  <a:lnTo>
                    <a:pt x="731" y="527"/>
                  </a:lnTo>
                  <a:lnTo>
                    <a:pt x="731" y="536"/>
                  </a:lnTo>
                  <a:lnTo>
                    <a:pt x="712" y="546"/>
                  </a:lnTo>
                  <a:lnTo>
                    <a:pt x="712" y="566"/>
                  </a:lnTo>
                  <a:lnTo>
                    <a:pt x="712" y="575"/>
                  </a:lnTo>
                  <a:lnTo>
                    <a:pt x="712" y="605"/>
                  </a:lnTo>
                  <a:lnTo>
                    <a:pt x="702" y="614"/>
                  </a:lnTo>
                  <a:lnTo>
                    <a:pt x="692" y="634"/>
                  </a:lnTo>
                  <a:lnTo>
                    <a:pt x="673" y="634"/>
                  </a:lnTo>
                  <a:lnTo>
                    <a:pt x="653" y="644"/>
                  </a:lnTo>
                  <a:lnTo>
                    <a:pt x="644" y="673"/>
                  </a:lnTo>
                  <a:lnTo>
                    <a:pt x="634" y="683"/>
                  </a:lnTo>
                  <a:lnTo>
                    <a:pt x="605" y="692"/>
                  </a:lnTo>
                  <a:lnTo>
                    <a:pt x="595" y="702"/>
                  </a:lnTo>
                  <a:lnTo>
                    <a:pt x="566" y="712"/>
                  </a:lnTo>
                  <a:lnTo>
                    <a:pt x="556" y="712"/>
                  </a:lnTo>
                  <a:lnTo>
                    <a:pt x="546" y="722"/>
                  </a:lnTo>
                  <a:lnTo>
                    <a:pt x="536" y="731"/>
                  </a:lnTo>
                  <a:lnTo>
                    <a:pt x="517" y="741"/>
                  </a:lnTo>
                  <a:lnTo>
                    <a:pt x="507" y="731"/>
                  </a:lnTo>
                  <a:lnTo>
                    <a:pt x="497" y="722"/>
                  </a:lnTo>
                  <a:lnTo>
                    <a:pt x="497" y="712"/>
                  </a:lnTo>
                  <a:lnTo>
                    <a:pt x="478" y="712"/>
                  </a:lnTo>
                  <a:lnTo>
                    <a:pt x="458" y="702"/>
                  </a:lnTo>
                  <a:lnTo>
                    <a:pt x="448" y="692"/>
                  </a:lnTo>
                  <a:lnTo>
                    <a:pt x="439" y="692"/>
                  </a:lnTo>
                  <a:lnTo>
                    <a:pt x="429" y="673"/>
                  </a:lnTo>
                  <a:lnTo>
                    <a:pt x="419" y="663"/>
                  </a:lnTo>
                  <a:lnTo>
                    <a:pt x="409" y="653"/>
                  </a:lnTo>
                  <a:lnTo>
                    <a:pt x="409" y="634"/>
                  </a:lnTo>
                  <a:lnTo>
                    <a:pt x="419" y="634"/>
                  </a:lnTo>
                  <a:lnTo>
                    <a:pt x="429" y="634"/>
                  </a:lnTo>
                  <a:lnTo>
                    <a:pt x="429" y="644"/>
                  </a:lnTo>
                  <a:lnTo>
                    <a:pt x="429" y="653"/>
                  </a:lnTo>
                  <a:lnTo>
                    <a:pt x="429" y="66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48" y="663"/>
                  </a:lnTo>
                  <a:lnTo>
                    <a:pt x="448" y="644"/>
                  </a:lnTo>
                  <a:lnTo>
                    <a:pt x="439" y="634"/>
                  </a:lnTo>
                  <a:lnTo>
                    <a:pt x="448" y="634"/>
                  </a:lnTo>
                  <a:lnTo>
                    <a:pt x="458" y="634"/>
                  </a:lnTo>
                  <a:lnTo>
                    <a:pt x="458" y="644"/>
                  </a:lnTo>
                  <a:lnTo>
                    <a:pt x="458" y="663"/>
                  </a:lnTo>
                  <a:lnTo>
                    <a:pt x="468" y="663"/>
                  </a:lnTo>
                  <a:lnTo>
                    <a:pt x="458" y="673"/>
                  </a:lnTo>
                  <a:lnTo>
                    <a:pt x="458" y="683"/>
                  </a:lnTo>
                  <a:lnTo>
                    <a:pt x="468" y="683"/>
                  </a:lnTo>
                  <a:lnTo>
                    <a:pt x="478" y="683"/>
                  </a:lnTo>
                  <a:lnTo>
                    <a:pt x="487" y="683"/>
                  </a:lnTo>
                  <a:lnTo>
                    <a:pt x="497" y="683"/>
                  </a:lnTo>
                  <a:lnTo>
                    <a:pt x="517" y="683"/>
                  </a:lnTo>
                  <a:lnTo>
                    <a:pt x="517" y="673"/>
                  </a:lnTo>
                  <a:lnTo>
                    <a:pt x="517" y="663"/>
                  </a:lnTo>
                  <a:lnTo>
                    <a:pt x="517" y="653"/>
                  </a:lnTo>
                  <a:lnTo>
                    <a:pt x="527" y="653"/>
                  </a:lnTo>
                  <a:lnTo>
                    <a:pt x="536" y="663"/>
                  </a:lnTo>
                  <a:lnTo>
                    <a:pt x="546" y="663"/>
                  </a:lnTo>
                  <a:lnTo>
                    <a:pt x="556" y="653"/>
                  </a:lnTo>
                  <a:lnTo>
                    <a:pt x="556" y="634"/>
                  </a:lnTo>
                  <a:lnTo>
                    <a:pt x="566" y="634"/>
                  </a:lnTo>
                  <a:lnTo>
                    <a:pt x="575" y="634"/>
                  </a:lnTo>
                  <a:lnTo>
                    <a:pt x="566" y="624"/>
                  </a:lnTo>
                  <a:lnTo>
                    <a:pt x="575" y="624"/>
                  </a:lnTo>
                  <a:lnTo>
                    <a:pt x="585" y="624"/>
                  </a:lnTo>
                  <a:lnTo>
                    <a:pt x="595" y="614"/>
                  </a:lnTo>
                  <a:lnTo>
                    <a:pt x="605" y="605"/>
                  </a:lnTo>
                  <a:lnTo>
                    <a:pt x="614" y="605"/>
                  </a:lnTo>
                  <a:lnTo>
                    <a:pt x="624" y="605"/>
                  </a:lnTo>
                  <a:lnTo>
                    <a:pt x="634" y="595"/>
                  </a:lnTo>
                  <a:lnTo>
                    <a:pt x="644" y="585"/>
                  </a:lnTo>
                  <a:lnTo>
                    <a:pt x="644" y="566"/>
                  </a:lnTo>
                  <a:lnTo>
                    <a:pt x="653" y="556"/>
                  </a:lnTo>
                  <a:lnTo>
                    <a:pt x="653" y="546"/>
                  </a:lnTo>
                  <a:lnTo>
                    <a:pt x="673" y="546"/>
                  </a:lnTo>
                  <a:lnTo>
                    <a:pt x="683" y="536"/>
                  </a:lnTo>
                  <a:lnTo>
                    <a:pt x="683" y="527"/>
                  </a:lnTo>
                  <a:lnTo>
                    <a:pt x="683" y="497"/>
                  </a:lnTo>
                  <a:lnTo>
                    <a:pt x="673" y="488"/>
                  </a:lnTo>
                  <a:lnTo>
                    <a:pt x="663" y="478"/>
                  </a:lnTo>
                  <a:lnTo>
                    <a:pt x="663" y="468"/>
                  </a:lnTo>
                  <a:lnTo>
                    <a:pt x="673" y="449"/>
                  </a:lnTo>
                  <a:lnTo>
                    <a:pt x="673" y="439"/>
                  </a:lnTo>
                  <a:lnTo>
                    <a:pt x="683" y="429"/>
                  </a:lnTo>
                  <a:lnTo>
                    <a:pt x="692" y="419"/>
                  </a:lnTo>
                  <a:lnTo>
                    <a:pt x="692" y="409"/>
                  </a:lnTo>
                  <a:lnTo>
                    <a:pt x="702" y="390"/>
                  </a:lnTo>
                  <a:lnTo>
                    <a:pt x="712" y="380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31" y="341"/>
                  </a:lnTo>
                  <a:lnTo>
                    <a:pt x="731" y="322"/>
                  </a:lnTo>
                  <a:lnTo>
                    <a:pt x="741" y="312"/>
                  </a:lnTo>
                  <a:lnTo>
                    <a:pt x="751" y="302"/>
                  </a:lnTo>
                  <a:lnTo>
                    <a:pt x="761" y="292"/>
                  </a:lnTo>
                  <a:lnTo>
                    <a:pt x="761" y="283"/>
                  </a:lnTo>
                  <a:lnTo>
                    <a:pt x="761" y="263"/>
                  </a:lnTo>
                  <a:lnTo>
                    <a:pt x="770" y="253"/>
                  </a:lnTo>
                  <a:lnTo>
                    <a:pt x="770" y="234"/>
                  </a:lnTo>
                  <a:lnTo>
                    <a:pt x="770" y="224"/>
                  </a:lnTo>
                  <a:lnTo>
                    <a:pt x="761" y="214"/>
                  </a:lnTo>
                  <a:lnTo>
                    <a:pt x="761" y="195"/>
                  </a:lnTo>
                  <a:lnTo>
                    <a:pt x="770" y="185"/>
                  </a:lnTo>
                  <a:lnTo>
                    <a:pt x="780" y="185"/>
                  </a:lnTo>
                  <a:lnTo>
                    <a:pt x="790" y="175"/>
                  </a:lnTo>
                  <a:lnTo>
                    <a:pt x="800" y="156"/>
                  </a:lnTo>
                  <a:lnTo>
                    <a:pt x="809" y="146"/>
                  </a:lnTo>
                  <a:lnTo>
                    <a:pt x="829" y="136"/>
                  </a:lnTo>
                  <a:lnTo>
                    <a:pt x="829" y="127"/>
                  </a:lnTo>
                  <a:lnTo>
                    <a:pt x="839" y="127"/>
                  </a:lnTo>
                  <a:lnTo>
                    <a:pt x="839" y="117"/>
                  </a:lnTo>
                  <a:lnTo>
                    <a:pt x="848" y="97"/>
                  </a:lnTo>
                  <a:lnTo>
                    <a:pt x="848" y="88"/>
                  </a:lnTo>
                  <a:lnTo>
                    <a:pt x="848" y="68"/>
                  </a:lnTo>
                  <a:lnTo>
                    <a:pt x="848" y="58"/>
                  </a:lnTo>
                  <a:lnTo>
                    <a:pt x="839" y="58"/>
                  </a:lnTo>
                  <a:lnTo>
                    <a:pt x="829" y="58"/>
                  </a:lnTo>
                  <a:lnTo>
                    <a:pt x="829" y="48"/>
                  </a:lnTo>
                  <a:lnTo>
                    <a:pt x="819" y="39"/>
                  </a:lnTo>
                  <a:lnTo>
                    <a:pt x="800" y="29"/>
                  </a:lnTo>
                  <a:lnTo>
                    <a:pt x="800" y="39"/>
                  </a:lnTo>
                  <a:lnTo>
                    <a:pt x="800" y="29"/>
                  </a:lnTo>
                  <a:lnTo>
                    <a:pt x="780" y="19"/>
                  </a:lnTo>
                  <a:lnTo>
                    <a:pt x="761" y="19"/>
                  </a:lnTo>
                  <a:lnTo>
                    <a:pt x="761" y="9"/>
                  </a:lnTo>
                  <a:lnTo>
                    <a:pt x="761" y="0"/>
                  </a:lnTo>
                  <a:lnTo>
                    <a:pt x="751" y="9"/>
                  </a:lnTo>
                  <a:lnTo>
                    <a:pt x="741" y="19"/>
                  </a:lnTo>
                  <a:lnTo>
                    <a:pt x="722" y="29"/>
                  </a:lnTo>
                  <a:lnTo>
                    <a:pt x="712" y="39"/>
                  </a:lnTo>
                  <a:lnTo>
                    <a:pt x="712" y="48"/>
                  </a:lnTo>
                  <a:lnTo>
                    <a:pt x="702" y="58"/>
                  </a:lnTo>
                  <a:lnTo>
                    <a:pt x="692" y="78"/>
                  </a:lnTo>
                  <a:lnTo>
                    <a:pt x="683" y="78"/>
                  </a:lnTo>
                  <a:lnTo>
                    <a:pt x="673" y="97"/>
                  </a:lnTo>
                  <a:lnTo>
                    <a:pt x="663" y="107"/>
                  </a:lnTo>
                  <a:lnTo>
                    <a:pt x="644" y="117"/>
                  </a:lnTo>
                  <a:lnTo>
                    <a:pt x="624" y="117"/>
                  </a:lnTo>
                  <a:lnTo>
                    <a:pt x="605" y="127"/>
                  </a:lnTo>
                  <a:lnTo>
                    <a:pt x="575" y="136"/>
                  </a:lnTo>
                  <a:lnTo>
                    <a:pt x="566" y="146"/>
                  </a:lnTo>
                  <a:lnTo>
                    <a:pt x="566" y="156"/>
                  </a:lnTo>
                  <a:lnTo>
                    <a:pt x="556" y="156"/>
                  </a:lnTo>
                  <a:lnTo>
                    <a:pt x="556" y="166"/>
                  </a:lnTo>
                  <a:lnTo>
                    <a:pt x="546" y="175"/>
                  </a:lnTo>
                  <a:lnTo>
                    <a:pt x="536" y="175"/>
                  </a:lnTo>
                  <a:lnTo>
                    <a:pt x="556" y="175"/>
                  </a:lnTo>
                  <a:lnTo>
                    <a:pt x="566" y="185"/>
                  </a:lnTo>
                  <a:lnTo>
                    <a:pt x="566" y="195"/>
                  </a:lnTo>
                  <a:lnTo>
                    <a:pt x="556" y="195"/>
                  </a:lnTo>
                  <a:lnTo>
                    <a:pt x="546" y="214"/>
                  </a:lnTo>
                  <a:lnTo>
                    <a:pt x="546" y="224"/>
                  </a:lnTo>
                  <a:lnTo>
                    <a:pt x="546" y="234"/>
                  </a:lnTo>
                  <a:lnTo>
                    <a:pt x="536" y="234"/>
                  </a:lnTo>
                  <a:lnTo>
                    <a:pt x="527" y="244"/>
                  </a:lnTo>
                  <a:lnTo>
                    <a:pt x="527" y="263"/>
                  </a:lnTo>
                  <a:lnTo>
                    <a:pt x="517" y="263"/>
                  </a:lnTo>
                  <a:lnTo>
                    <a:pt x="507" y="263"/>
                  </a:lnTo>
                  <a:lnTo>
                    <a:pt x="497" y="253"/>
                  </a:lnTo>
                  <a:lnTo>
                    <a:pt x="497" y="273"/>
                  </a:lnTo>
                  <a:lnTo>
                    <a:pt x="487" y="283"/>
                  </a:lnTo>
                  <a:lnTo>
                    <a:pt x="478" y="292"/>
                  </a:lnTo>
                  <a:lnTo>
                    <a:pt x="487" y="302"/>
                  </a:lnTo>
                  <a:lnTo>
                    <a:pt x="497" y="292"/>
                  </a:lnTo>
                  <a:lnTo>
                    <a:pt x="497" y="302"/>
                  </a:lnTo>
                  <a:lnTo>
                    <a:pt x="507" y="312"/>
                  </a:lnTo>
                  <a:lnTo>
                    <a:pt x="507" y="322"/>
                  </a:lnTo>
                  <a:lnTo>
                    <a:pt x="517" y="331"/>
                  </a:lnTo>
                  <a:lnTo>
                    <a:pt x="527" y="331"/>
                  </a:lnTo>
                  <a:lnTo>
                    <a:pt x="517" y="341"/>
                  </a:lnTo>
                  <a:lnTo>
                    <a:pt x="507" y="341"/>
                  </a:lnTo>
                  <a:lnTo>
                    <a:pt x="507" y="351"/>
                  </a:lnTo>
                  <a:lnTo>
                    <a:pt x="507" y="370"/>
                  </a:lnTo>
                  <a:lnTo>
                    <a:pt x="507" y="400"/>
                  </a:lnTo>
                  <a:lnTo>
                    <a:pt x="527" y="409"/>
                  </a:lnTo>
                  <a:lnTo>
                    <a:pt x="527" y="419"/>
                  </a:lnTo>
                  <a:lnTo>
                    <a:pt x="507" y="429"/>
                  </a:lnTo>
                  <a:lnTo>
                    <a:pt x="497" y="439"/>
                  </a:lnTo>
                  <a:lnTo>
                    <a:pt x="478" y="449"/>
                  </a:lnTo>
                  <a:lnTo>
                    <a:pt x="478" y="458"/>
                  </a:lnTo>
                  <a:lnTo>
                    <a:pt x="468" y="468"/>
                  </a:lnTo>
                  <a:lnTo>
                    <a:pt x="458" y="468"/>
                  </a:lnTo>
                  <a:lnTo>
                    <a:pt x="468" y="458"/>
                  </a:lnTo>
                  <a:lnTo>
                    <a:pt x="468" y="449"/>
                  </a:lnTo>
                  <a:lnTo>
                    <a:pt x="458" y="439"/>
                  </a:lnTo>
                  <a:lnTo>
                    <a:pt x="448" y="429"/>
                  </a:lnTo>
                  <a:lnTo>
                    <a:pt x="448" y="400"/>
                  </a:lnTo>
                  <a:lnTo>
                    <a:pt x="439" y="390"/>
                  </a:lnTo>
                  <a:lnTo>
                    <a:pt x="439" y="370"/>
                  </a:lnTo>
                  <a:lnTo>
                    <a:pt x="429" y="361"/>
                  </a:lnTo>
                  <a:lnTo>
                    <a:pt x="429" y="351"/>
                  </a:lnTo>
                  <a:lnTo>
                    <a:pt x="419" y="341"/>
                  </a:lnTo>
                  <a:lnTo>
                    <a:pt x="409" y="331"/>
                  </a:lnTo>
                  <a:lnTo>
                    <a:pt x="419" y="32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12"/>
                  </a:lnTo>
                  <a:lnTo>
                    <a:pt x="370" y="302"/>
                  </a:lnTo>
                  <a:lnTo>
                    <a:pt x="361" y="302"/>
                  </a:lnTo>
                  <a:lnTo>
                    <a:pt x="361" y="312"/>
                  </a:lnTo>
                  <a:lnTo>
                    <a:pt x="370" y="331"/>
                  </a:lnTo>
                  <a:lnTo>
                    <a:pt x="370" y="351"/>
                  </a:lnTo>
                  <a:lnTo>
                    <a:pt x="361" y="370"/>
                  </a:lnTo>
                  <a:lnTo>
                    <a:pt x="351" y="380"/>
                  </a:lnTo>
                  <a:lnTo>
                    <a:pt x="341" y="400"/>
                  </a:lnTo>
                  <a:lnTo>
                    <a:pt x="341" y="409"/>
                  </a:lnTo>
                  <a:lnTo>
                    <a:pt x="351" y="429"/>
                  </a:lnTo>
                  <a:lnTo>
                    <a:pt x="361" y="449"/>
                  </a:lnTo>
                  <a:lnTo>
                    <a:pt x="361" y="458"/>
                  </a:lnTo>
                  <a:lnTo>
                    <a:pt x="341" y="468"/>
                  </a:lnTo>
                  <a:lnTo>
                    <a:pt x="331" y="468"/>
                  </a:lnTo>
                  <a:lnTo>
                    <a:pt x="341" y="478"/>
                  </a:lnTo>
                  <a:lnTo>
                    <a:pt x="331" y="488"/>
                  </a:lnTo>
                  <a:lnTo>
                    <a:pt x="302" y="488"/>
                  </a:lnTo>
                  <a:lnTo>
                    <a:pt x="283" y="488"/>
                  </a:lnTo>
                  <a:lnTo>
                    <a:pt x="273" y="497"/>
                  </a:lnTo>
                  <a:lnTo>
                    <a:pt x="253" y="507"/>
                  </a:lnTo>
                  <a:lnTo>
                    <a:pt x="234" y="517"/>
                  </a:lnTo>
                  <a:lnTo>
                    <a:pt x="205" y="517"/>
                  </a:lnTo>
                  <a:lnTo>
                    <a:pt x="185" y="517"/>
                  </a:lnTo>
                  <a:lnTo>
                    <a:pt x="166" y="507"/>
                  </a:lnTo>
                  <a:lnTo>
                    <a:pt x="166" y="527"/>
                  </a:lnTo>
                  <a:lnTo>
                    <a:pt x="146" y="536"/>
                  </a:lnTo>
                  <a:lnTo>
                    <a:pt x="136" y="536"/>
                  </a:lnTo>
                  <a:lnTo>
                    <a:pt x="117" y="546"/>
                  </a:lnTo>
                  <a:lnTo>
                    <a:pt x="107" y="556"/>
                  </a:lnTo>
                  <a:lnTo>
                    <a:pt x="68" y="566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1" name="Freeform 265"/>
            <p:cNvSpPr>
              <a:spLocks/>
            </p:cNvSpPr>
            <p:nvPr/>
          </p:nvSpPr>
          <p:spPr bwMode="auto">
            <a:xfrm>
              <a:off x="6340" y="3855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1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1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1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1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92" name="Group 262"/>
            <p:cNvGrpSpPr>
              <a:grpSpLocks/>
            </p:cNvGrpSpPr>
            <p:nvPr/>
          </p:nvGrpSpPr>
          <p:grpSpPr bwMode="auto">
            <a:xfrm>
              <a:off x="6339" y="3854"/>
              <a:ext cx="254" cy="176"/>
              <a:chOff x="6340" y="3854"/>
              <a:chExt cx="254" cy="176"/>
            </a:xfrm>
          </p:grpSpPr>
          <p:sp>
            <p:nvSpPr>
              <p:cNvPr id="732" name="Freeform 264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69 w 254"/>
                  <a:gd name="T101" fmla="*/ 166 h 1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54"/>
                  <a:gd name="T154" fmla="*/ 0 h 176"/>
                  <a:gd name="T155" fmla="*/ 254 w 254"/>
                  <a:gd name="T156" fmla="*/ 176 h 1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  <a:lnTo>
                      <a:pt x="69" y="166"/>
                    </a:lnTo>
                    <a:close/>
                  </a:path>
                </a:pathLst>
              </a:custGeom>
              <a:solidFill>
                <a:srgbClr val="CC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3" name="Freeform 263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4"/>
                  <a:gd name="T151" fmla="*/ 0 h 176"/>
                  <a:gd name="T152" fmla="*/ 254 w 254"/>
                  <a:gd name="T153" fmla="*/ 176 h 17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93" name="Freeform 261"/>
            <p:cNvSpPr>
              <a:spLocks/>
            </p:cNvSpPr>
            <p:nvPr/>
          </p:nvSpPr>
          <p:spPr bwMode="auto">
            <a:xfrm>
              <a:off x="5522" y="3768"/>
              <a:ext cx="273" cy="153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0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0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0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94" name="Group 258"/>
            <p:cNvGrpSpPr>
              <a:grpSpLocks/>
            </p:cNvGrpSpPr>
            <p:nvPr/>
          </p:nvGrpSpPr>
          <p:grpSpPr bwMode="auto">
            <a:xfrm>
              <a:off x="5520" y="3766"/>
              <a:ext cx="273" cy="156"/>
              <a:chOff x="5521" y="3766"/>
              <a:chExt cx="273" cy="156"/>
            </a:xfrm>
          </p:grpSpPr>
          <p:sp>
            <p:nvSpPr>
              <p:cNvPr id="730" name="Freeform 260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88 w 273"/>
                  <a:gd name="T63" fmla="*/ 107 h 15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3"/>
                  <a:gd name="T97" fmla="*/ 0 h 156"/>
                  <a:gd name="T98" fmla="*/ 273 w 273"/>
                  <a:gd name="T99" fmla="*/ 156 h 15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  <a:lnTo>
                      <a:pt x="88" y="107"/>
                    </a:lnTo>
                    <a:close/>
                  </a:path>
                </a:pathLst>
              </a:custGeom>
              <a:solidFill>
                <a:srgbClr val="CC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1" name="Freeform 259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3"/>
                  <a:gd name="T94" fmla="*/ 0 h 156"/>
                  <a:gd name="T95" fmla="*/ 273 w 273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95" name="Freeform 257"/>
            <p:cNvSpPr>
              <a:spLocks/>
            </p:cNvSpPr>
            <p:nvPr/>
          </p:nvSpPr>
          <p:spPr bwMode="auto">
            <a:xfrm>
              <a:off x="4497" y="1072"/>
              <a:ext cx="1345" cy="1154"/>
            </a:xfrm>
            <a:custGeom>
              <a:avLst/>
              <a:gdLst>
                <a:gd name="T0" fmla="*/ 1229 w 1346"/>
                <a:gd name="T1" fmla="*/ 537 h 1152"/>
                <a:gd name="T2" fmla="*/ 1346 w 1346"/>
                <a:gd name="T3" fmla="*/ 703 h 1152"/>
                <a:gd name="T4" fmla="*/ 1258 w 1346"/>
                <a:gd name="T5" fmla="*/ 830 h 1152"/>
                <a:gd name="T6" fmla="*/ 1151 w 1346"/>
                <a:gd name="T7" fmla="*/ 917 h 1152"/>
                <a:gd name="T8" fmla="*/ 975 w 1346"/>
                <a:gd name="T9" fmla="*/ 947 h 1152"/>
                <a:gd name="T10" fmla="*/ 868 w 1346"/>
                <a:gd name="T11" fmla="*/ 888 h 1152"/>
                <a:gd name="T12" fmla="*/ 663 w 1346"/>
                <a:gd name="T13" fmla="*/ 947 h 1152"/>
                <a:gd name="T14" fmla="*/ 546 w 1346"/>
                <a:gd name="T15" fmla="*/ 1054 h 1152"/>
                <a:gd name="T16" fmla="*/ 370 w 1346"/>
                <a:gd name="T17" fmla="*/ 1142 h 1152"/>
                <a:gd name="T18" fmla="*/ 205 w 1346"/>
                <a:gd name="T19" fmla="*/ 1064 h 1152"/>
                <a:gd name="T20" fmla="*/ 127 w 1346"/>
                <a:gd name="T21" fmla="*/ 1005 h 1152"/>
                <a:gd name="T22" fmla="*/ 107 w 1346"/>
                <a:gd name="T23" fmla="*/ 908 h 1152"/>
                <a:gd name="T24" fmla="*/ 48 w 1346"/>
                <a:gd name="T25" fmla="*/ 849 h 1152"/>
                <a:gd name="T26" fmla="*/ 29 w 1346"/>
                <a:gd name="T27" fmla="*/ 742 h 1152"/>
                <a:gd name="T28" fmla="*/ 97 w 1346"/>
                <a:gd name="T29" fmla="*/ 644 h 1152"/>
                <a:gd name="T30" fmla="*/ 117 w 1346"/>
                <a:gd name="T31" fmla="*/ 547 h 1152"/>
                <a:gd name="T32" fmla="*/ 136 w 1346"/>
                <a:gd name="T33" fmla="*/ 527 h 1152"/>
                <a:gd name="T34" fmla="*/ 224 w 1346"/>
                <a:gd name="T35" fmla="*/ 595 h 1152"/>
                <a:gd name="T36" fmla="*/ 185 w 1346"/>
                <a:gd name="T37" fmla="*/ 664 h 1152"/>
                <a:gd name="T38" fmla="*/ 205 w 1346"/>
                <a:gd name="T39" fmla="*/ 683 h 1152"/>
                <a:gd name="T40" fmla="*/ 166 w 1346"/>
                <a:gd name="T41" fmla="*/ 781 h 1152"/>
                <a:gd name="T42" fmla="*/ 205 w 1346"/>
                <a:gd name="T43" fmla="*/ 849 h 1152"/>
                <a:gd name="T44" fmla="*/ 205 w 1346"/>
                <a:gd name="T45" fmla="*/ 761 h 1152"/>
                <a:gd name="T46" fmla="*/ 244 w 1346"/>
                <a:gd name="T47" fmla="*/ 634 h 1152"/>
                <a:gd name="T48" fmla="*/ 175 w 1346"/>
                <a:gd name="T49" fmla="*/ 508 h 1152"/>
                <a:gd name="T50" fmla="*/ 195 w 1346"/>
                <a:gd name="T51" fmla="*/ 400 h 1152"/>
                <a:gd name="T52" fmla="*/ 370 w 1346"/>
                <a:gd name="T53" fmla="*/ 400 h 1152"/>
                <a:gd name="T54" fmla="*/ 419 w 1346"/>
                <a:gd name="T55" fmla="*/ 410 h 1152"/>
                <a:gd name="T56" fmla="*/ 419 w 1346"/>
                <a:gd name="T57" fmla="*/ 332 h 1152"/>
                <a:gd name="T58" fmla="*/ 409 w 1346"/>
                <a:gd name="T59" fmla="*/ 303 h 1152"/>
                <a:gd name="T60" fmla="*/ 448 w 1346"/>
                <a:gd name="T61" fmla="*/ 293 h 1152"/>
                <a:gd name="T62" fmla="*/ 478 w 1346"/>
                <a:gd name="T63" fmla="*/ 273 h 1152"/>
                <a:gd name="T64" fmla="*/ 575 w 1346"/>
                <a:gd name="T65" fmla="*/ 225 h 1152"/>
                <a:gd name="T66" fmla="*/ 673 w 1346"/>
                <a:gd name="T67" fmla="*/ 215 h 1152"/>
                <a:gd name="T68" fmla="*/ 663 w 1346"/>
                <a:gd name="T69" fmla="*/ 186 h 1152"/>
                <a:gd name="T70" fmla="*/ 722 w 1346"/>
                <a:gd name="T71" fmla="*/ 186 h 1152"/>
                <a:gd name="T72" fmla="*/ 761 w 1346"/>
                <a:gd name="T73" fmla="*/ 205 h 1152"/>
                <a:gd name="T74" fmla="*/ 839 w 1346"/>
                <a:gd name="T75" fmla="*/ 176 h 1152"/>
                <a:gd name="T76" fmla="*/ 848 w 1346"/>
                <a:gd name="T77" fmla="*/ 147 h 1152"/>
                <a:gd name="T78" fmla="*/ 907 w 1346"/>
                <a:gd name="T79" fmla="*/ 137 h 1152"/>
                <a:gd name="T80" fmla="*/ 897 w 1346"/>
                <a:gd name="T81" fmla="*/ 69 h 1152"/>
                <a:gd name="T82" fmla="*/ 965 w 1346"/>
                <a:gd name="T83" fmla="*/ 0 h 1152"/>
                <a:gd name="T84" fmla="*/ 1024 w 1346"/>
                <a:gd name="T85" fmla="*/ 39 h 1152"/>
                <a:gd name="T86" fmla="*/ 1024 w 1346"/>
                <a:gd name="T87" fmla="*/ 78 h 1152"/>
                <a:gd name="T88" fmla="*/ 1053 w 1346"/>
                <a:gd name="T89" fmla="*/ 137 h 1152"/>
                <a:gd name="T90" fmla="*/ 1131 w 1346"/>
                <a:gd name="T91" fmla="*/ 98 h 1152"/>
                <a:gd name="T92" fmla="*/ 1209 w 1346"/>
                <a:gd name="T93" fmla="*/ 108 h 1152"/>
                <a:gd name="T94" fmla="*/ 1258 w 1346"/>
                <a:gd name="T95" fmla="*/ 156 h 1152"/>
                <a:gd name="T96" fmla="*/ 1287 w 1346"/>
                <a:gd name="T97" fmla="*/ 166 h 1152"/>
                <a:gd name="T98" fmla="*/ 1258 w 1346"/>
                <a:gd name="T99" fmla="*/ 205 h 1152"/>
                <a:gd name="T100" fmla="*/ 1287 w 1346"/>
                <a:gd name="T101" fmla="*/ 273 h 1152"/>
                <a:gd name="T102" fmla="*/ 1199 w 1346"/>
                <a:gd name="T103" fmla="*/ 361 h 1152"/>
                <a:gd name="T104" fmla="*/ 1151 w 1346"/>
                <a:gd name="T105" fmla="*/ 449 h 1152"/>
                <a:gd name="T106" fmla="*/ 1073 w 1346"/>
                <a:gd name="T107" fmla="*/ 527 h 1152"/>
                <a:gd name="T108" fmla="*/ 1121 w 1346"/>
                <a:gd name="T109" fmla="*/ 508 h 1152"/>
                <a:gd name="T110" fmla="*/ 1199 w 1346"/>
                <a:gd name="T111" fmla="*/ 469 h 1152"/>
                <a:gd name="T112" fmla="*/ 1190 w 1346"/>
                <a:gd name="T113" fmla="*/ 430 h 1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46"/>
                <a:gd name="T172" fmla="*/ 0 h 1152"/>
                <a:gd name="T173" fmla="*/ 1346 w 1346"/>
                <a:gd name="T174" fmla="*/ 1152 h 1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46" h="1152">
                  <a:moveTo>
                    <a:pt x="1248" y="410"/>
                  </a:moveTo>
                  <a:lnTo>
                    <a:pt x="1238" y="420"/>
                  </a:lnTo>
                  <a:lnTo>
                    <a:pt x="1238" y="430"/>
                  </a:lnTo>
                  <a:lnTo>
                    <a:pt x="1238" y="439"/>
                  </a:lnTo>
                  <a:lnTo>
                    <a:pt x="1219" y="459"/>
                  </a:lnTo>
                  <a:lnTo>
                    <a:pt x="1209" y="469"/>
                  </a:lnTo>
                  <a:lnTo>
                    <a:pt x="1229" y="488"/>
                  </a:lnTo>
                  <a:lnTo>
                    <a:pt x="1238" y="508"/>
                  </a:lnTo>
                  <a:lnTo>
                    <a:pt x="1229" y="537"/>
                  </a:lnTo>
                  <a:lnTo>
                    <a:pt x="1258" y="556"/>
                  </a:lnTo>
                  <a:lnTo>
                    <a:pt x="1258" y="576"/>
                  </a:lnTo>
                  <a:lnTo>
                    <a:pt x="1268" y="576"/>
                  </a:lnTo>
                  <a:lnTo>
                    <a:pt x="1287" y="595"/>
                  </a:lnTo>
                  <a:lnTo>
                    <a:pt x="1317" y="625"/>
                  </a:lnTo>
                  <a:lnTo>
                    <a:pt x="1317" y="654"/>
                  </a:lnTo>
                  <a:lnTo>
                    <a:pt x="1317" y="673"/>
                  </a:lnTo>
                  <a:lnTo>
                    <a:pt x="1346" y="683"/>
                  </a:lnTo>
                  <a:lnTo>
                    <a:pt x="1346" y="703"/>
                  </a:lnTo>
                  <a:lnTo>
                    <a:pt x="1346" y="712"/>
                  </a:lnTo>
                  <a:lnTo>
                    <a:pt x="1326" y="712"/>
                  </a:lnTo>
                  <a:lnTo>
                    <a:pt x="1307" y="742"/>
                  </a:lnTo>
                  <a:lnTo>
                    <a:pt x="1278" y="771"/>
                  </a:lnTo>
                  <a:lnTo>
                    <a:pt x="1278" y="800"/>
                  </a:lnTo>
                  <a:lnTo>
                    <a:pt x="1258" y="800"/>
                  </a:lnTo>
                  <a:lnTo>
                    <a:pt x="1258" y="820"/>
                  </a:lnTo>
                  <a:lnTo>
                    <a:pt x="1248" y="830"/>
                  </a:lnTo>
                  <a:lnTo>
                    <a:pt x="1258" y="830"/>
                  </a:lnTo>
                  <a:lnTo>
                    <a:pt x="1258" y="849"/>
                  </a:lnTo>
                  <a:lnTo>
                    <a:pt x="1248" y="859"/>
                  </a:lnTo>
                  <a:lnTo>
                    <a:pt x="1238" y="878"/>
                  </a:lnTo>
                  <a:lnTo>
                    <a:pt x="1219" y="878"/>
                  </a:lnTo>
                  <a:lnTo>
                    <a:pt x="1209" y="878"/>
                  </a:lnTo>
                  <a:lnTo>
                    <a:pt x="1199" y="878"/>
                  </a:lnTo>
                  <a:lnTo>
                    <a:pt x="1190" y="888"/>
                  </a:lnTo>
                  <a:lnTo>
                    <a:pt x="1170" y="908"/>
                  </a:lnTo>
                  <a:lnTo>
                    <a:pt x="1151" y="917"/>
                  </a:lnTo>
                  <a:lnTo>
                    <a:pt x="1112" y="917"/>
                  </a:lnTo>
                  <a:lnTo>
                    <a:pt x="1102" y="947"/>
                  </a:lnTo>
                  <a:lnTo>
                    <a:pt x="1082" y="937"/>
                  </a:lnTo>
                  <a:lnTo>
                    <a:pt x="1082" y="927"/>
                  </a:lnTo>
                  <a:lnTo>
                    <a:pt x="1053" y="927"/>
                  </a:lnTo>
                  <a:lnTo>
                    <a:pt x="1053" y="937"/>
                  </a:lnTo>
                  <a:lnTo>
                    <a:pt x="1024" y="956"/>
                  </a:lnTo>
                  <a:lnTo>
                    <a:pt x="1004" y="947"/>
                  </a:lnTo>
                  <a:lnTo>
                    <a:pt x="975" y="947"/>
                  </a:lnTo>
                  <a:lnTo>
                    <a:pt x="956" y="937"/>
                  </a:lnTo>
                  <a:lnTo>
                    <a:pt x="956" y="927"/>
                  </a:lnTo>
                  <a:lnTo>
                    <a:pt x="946" y="917"/>
                  </a:lnTo>
                  <a:lnTo>
                    <a:pt x="926" y="927"/>
                  </a:lnTo>
                  <a:lnTo>
                    <a:pt x="897" y="917"/>
                  </a:lnTo>
                  <a:lnTo>
                    <a:pt x="878" y="927"/>
                  </a:lnTo>
                  <a:lnTo>
                    <a:pt x="868" y="927"/>
                  </a:lnTo>
                  <a:lnTo>
                    <a:pt x="878" y="908"/>
                  </a:lnTo>
                  <a:lnTo>
                    <a:pt x="868" y="888"/>
                  </a:lnTo>
                  <a:lnTo>
                    <a:pt x="848" y="878"/>
                  </a:lnTo>
                  <a:lnTo>
                    <a:pt x="819" y="898"/>
                  </a:lnTo>
                  <a:lnTo>
                    <a:pt x="780" y="888"/>
                  </a:lnTo>
                  <a:lnTo>
                    <a:pt x="770" y="898"/>
                  </a:lnTo>
                  <a:lnTo>
                    <a:pt x="751" y="898"/>
                  </a:lnTo>
                  <a:lnTo>
                    <a:pt x="741" y="908"/>
                  </a:lnTo>
                  <a:lnTo>
                    <a:pt x="722" y="908"/>
                  </a:lnTo>
                  <a:lnTo>
                    <a:pt x="692" y="937"/>
                  </a:lnTo>
                  <a:lnTo>
                    <a:pt x="663" y="947"/>
                  </a:lnTo>
                  <a:lnTo>
                    <a:pt x="653" y="956"/>
                  </a:lnTo>
                  <a:lnTo>
                    <a:pt x="643" y="966"/>
                  </a:lnTo>
                  <a:lnTo>
                    <a:pt x="643" y="995"/>
                  </a:lnTo>
                  <a:lnTo>
                    <a:pt x="624" y="1005"/>
                  </a:lnTo>
                  <a:lnTo>
                    <a:pt x="614" y="1025"/>
                  </a:lnTo>
                  <a:lnTo>
                    <a:pt x="604" y="1044"/>
                  </a:lnTo>
                  <a:lnTo>
                    <a:pt x="565" y="1044"/>
                  </a:lnTo>
                  <a:lnTo>
                    <a:pt x="556" y="1044"/>
                  </a:lnTo>
                  <a:lnTo>
                    <a:pt x="546" y="1054"/>
                  </a:lnTo>
                  <a:lnTo>
                    <a:pt x="546" y="1064"/>
                  </a:lnTo>
                  <a:lnTo>
                    <a:pt x="526" y="1083"/>
                  </a:lnTo>
                  <a:lnTo>
                    <a:pt x="517" y="1093"/>
                  </a:lnTo>
                  <a:lnTo>
                    <a:pt x="507" y="1103"/>
                  </a:lnTo>
                  <a:lnTo>
                    <a:pt x="497" y="1122"/>
                  </a:lnTo>
                  <a:lnTo>
                    <a:pt x="468" y="1142"/>
                  </a:lnTo>
                  <a:lnTo>
                    <a:pt x="419" y="1152"/>
                  </a:lnTo>
                  <a:lnTo>
                    <a:pt x="390" y="1142"/>
                  </a:lnTo>
                  <a:lnTo>
                    <a:pt x="370" y="1142"/>
                  </a:lnTo>
                  <a:lnTo>
                    <a:pt x="361" y="1142"/>
                  </a:lnTo>
                  <a:lnTo>
                    <a:pt x="322" y="1132"/>
                  </a:lnTo>
                  <a:lnTo>
                    <a:pt x="292" y="1122"/>
                  </a:lnTo>
                  <a:lnTo>
                    <a:pt x="263" y="1073"/>
                  </a:lnTo>
                  <a:lnTo>
                    <a:pt x="263" y="1044"/>
                  </a:lnTo>
                  <a:lnTo>
                    <a:pt x="234" y="1044"/>
                  </a:lnTo>
                  <a:lnTo>
                    <a:pt x="214" y="1044"/>
                  </a:lnTo>
                  <a:lnTo>
                    <a:pt x="214" y="1064"/>
                  </a:lnTo>
                  <a:lnTo>
                    <a:pt x="205" y="1064"/>
                  </a:lnTo>
                  <a:lnTo>
                    <a:pt x="205" y="1083"/>
                  </a:lnTo>
                  <a:lnTo>
                    <a:pt x="195" y="1083"/>
                  </a:lnTo>
                  <a:lnTo>
                    <a:pt x="166" y="1083"/>
                  </a:lnTo>
                  <a:lnTo>
                    <a:pt x="166" y="1113"/>
                  </a:lnTo>
                  <a:lnTo>
                    <a:pt x="156" y="1103"/>
                  </a:lnTo>
                  <a:lnTo>
                    <a:pt x="127" y="1044"/>
                  </a:lnTo>
                  <a:lnTo>
                    <a:pt x="127" y="1025"/>
                  </a:lnTo>
                  <a:lnTo>
                    <a:pt x="117" y="1015"/>
                  </a:lnTo>
                  <a:lnTo>
                    <a:pt x="127" y="1005"/>
                  </a:lnTo>
                  <a:lnTo>
                    <a:pt x="117" y="986"/>
                  </a:lnTo>
                  <a:lnTo>
                    <a:pt x="107" y="995"/>
                  </a:lnTo>
                  <a:lnTo>
                    <a:pt x="97" y="956"/>
                  </a:lnTo>
                  <a:lnTo>
                    <a:pt x="97" y="947"/>
                  </a:lnTo>
                  <a:lnTo>
                    <a:pt x="117" y="947"/>
                  </a:lnTo>
                  <a:lnTo>
                    <a:pt x="117" y="937"/>
                  </a:lnTo>
                  <a:lnTo>
                    <a:pt x="117" y="927"/>
                  </a:lnTo>
                  <a:lnTo>
                    <a:pt x="97" y="917"/>
                  </a:lnTo>
                  <a:lnTo>
                    <a:pt x="107" y="908"/>
                  </a:lnTo>
                  <a:lnTo>
                    <a:pt x="117" y="898"/>
                  </a:lnTo>
                  <a:lnTo>
                    <a:pt x="107" y="878"/>
                  </a:lnTo>
                  <a:lnTo>
                    <a:pt x="97" y="878"/>
                  </a:lnTo>
                  <a:lnTo>
                    <a:pt x="117" y="849"/>
                  </a:lnTo>
                  <a:lnTo>
                    <a:pt x="97" y="839"/>
                  </a:lnTo>
                  <a:lnTo>
                    <a:pt x="87" y="849"/>
                  </a:lnTo>
                  <a:lnTo>
                    <a:pt x="78" y="859"/>
                  </a:lnTo>
                  <a:lnTo>
                    <a:pt x="68" y="859"/>
                  </a:lnTo>
                  <a:lnTo>
                    <a:pt x="48" y="849"/>
                  </a:lnTo>
                  <a:lnTo>
                    <a:pt x="29" y="830"/>
                  </a:lnTo>
                  <a:lnTo>
                    <a:pt x="19" y="830"/>
                  </a:lnTo>
                  <a:lnTo>
                    <a:pt x="19" y="820"/>
                  </a:lnTo>
                  <a:lnTo>
                    <a:pt x="19" y="800"/>
                  </a:lnTo>
                  <a:lnTo>
                    <a:pt x="9" y="791"/>
                  </a:lnTo>
                  <a:lnTo>
                    <a:pt x="0" y="781"/>
                  </a:lnTo>
                  <a:lnTo>
                    <a:pt x="0" y="761"/>
                  </a:lnTo>
                  <a:lnTo>
                    <a:pt x="9" y="761"/>
                  </a:lnTo>
                  <a:lnTo>
                    <a:pt x="29" y="742"/>
                  </a:lnTo>
                  <a:lnTo>
                    <a:pt x="39" y="742"/>
                  </a:lnTo>
                  <a:lnTo>
                    <a:pt x="48" y="742"/>
                  </a:lnTo>
                  <a:lnTo>
                    <a:pt x="58" y="732"/>
                  </a:lnTo>
                  <a:lnTo>
                    <a:pt x="87" y="722"/>
                  </a:lnTo>
                  <a:lnTo>
                    <a:pt x="97" y="712"/>
                  </a:lnTo>
                  <a:lnTo>
                    <a:pt x="97" y="673"/>
                  </a:lnTo>
                  <a:lnTo>
                    <a:pt x="107" y="654"/>
                  </a:lnTo>
                  <a:lnTo>
                    <a:pt x="97" y="644"/>
                  </a:lnTo>
                  <a:lnTo>
                    <a:pt x="87" y="634"/>
                  </a:lnTo>
                  <a:lnTo>
                    <a:pt x="68" y="605"/>
                  </a:lnTo>
                  <a:lnTo>
                    <a:pt x="68" y="586"/>
                  </a:lnTo>
                  <a:lnTo>
                    <a:pt x="78" y="576"/>
                  </a:lnTo>
                  <a:lnTo>
                    <a:pt x="87" y="576"/>
                  </a:lnTo>
                  <a:lnTo>
                    <a:pt x="97" y="576"/>
                  </a:lnTo>
                  <a:lnTo>
                    <a:pt x="127" y="547"/>
                  </a:lnTo>
                  <a:lnTo>
                    <a:pt x="117" y="547"/>
                  </a:lnTo>
                  <a:lnTo>
                    <a:pt x="97" y="527"/>
                  </a:lnTo>
                  <a:lnTo>
                    <a:pt x="87" y="517"/>
                  </a:lnTo>
                  <a:lnTo>
                    <a:pt x="78" y="508"/>
                  </a:lnTo>
                  <a:lnTo>
                    <a:pt x="87" y="498"/>
                  </a:lnTo>
                  <a:lnTo>
                    <a:pt x="87" y="488"/>
                  </a:lnTo>
                  <a:lnTo>
                    <a:pt x="107" y="488"/>
                  </a:lnTo>
                  <a:lnTo>
                    <a:pt x="117" y="498"/>
                  </a:lnTo>
                  <a:lnTo>
                    <a:pt x="136" y="517"/>
                  </a:lnTo>
                  <a:lnTo>
                    <a:pt x="136" y="527"/>
                  </a:lnTo>
                  <a:lnTo>
                    <a:pt x="156" y="537"/>
                  </a:lnTo>
                  <a:lnTo>
                    <a:pt x="156" y="547"/>
                  </a:lnTo>
                  <a:lnTo>
                    <a:pt x="156" y="556"/>
                  </a:lnTo>
                  <a:lnTo>
                    <a:pt x="166" y="566"/>
                  </a:lnTo>
                  <a:lnTo>
                    <a:pt x="166" y="586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24" y="595"/>
                  </a:lnTo>
                  <a:lnTo>
                    <a:pt x="234" y="605"/>
                  </a:lnTo>
                  <a:lnTo>
                    <a:pt x="234" y="615"/>
                  </a:lnTo>
                  <a:lnTo>
                    <a:pt x="224" y="625"/>
                  </a:lnTo>
                  <a:lnTo>
                    <a:pt x="214" y="63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85" y="644"/>
                  </a:lnTo>
                  <a:lnTo>
                    <a:pt x="185" y="664"/>
                  </a:lnTo>
                  <a:lnTo>
                    <a:pt x="175" y="673"/>
                  </a:lnTo>
                  <a:lnTo>
                    <a:pt x="166" y="683"/>
                  </a:lnTo>
                  <a:lnTo>
                    <a:pt x="175" y="683"/>
                  </a:lnTo>
                  <a:lnTo>
                    <a:pt x="175" y="703"/>
                  </a:lnTo>
                  <a:lnTo>
                    <a:pt x="166" y="703"/>
                  </a:lnTo>
                  <a:lnTo>
                    <a:pt x="166" y="712"/>
                  </a:lnTo>
                  <a:lnTo>
                    <a:pt x="185" y="703"/>
                  </a:lnTo>
                  <a:lnTo>
                    <a:pt x="185" y="693"/>
                  </a:lnTo>
                  <a:lnTo>
                    <a:pt x="205" y="683"/>
                  </a:lnTo>
                  <a:lnTo>
                    <a:pt x="214" y="693"/>
                  </a:lnTo>
                  <a:lnTo>
                    <a:pt x="214" y="703"/>
                  </a:lnTo>
                  <a:lnTo>
                    <a:pt x="205" y="703"/>
                  </a:lnTo>
                  <a:lnTo>
                    <a:pt x="195" y="712"/>
                  </a:lnTo>
                  <a:lnTo>
                    <a:pt x="185" y="732"/>
                  </a:lnTo>
                  <a:lnTo>
                    <a:pt x="185" y="742"/>
                  </a:lnTo>
                  <a:lnTo>
                    <a:pt x="166" y="761"/>
                  </a:lnTo>
                  <a:lnTo>
                    <a:pt x="166" y="771"/>
                  </a:lnTo>
                  <a:lnTo>
                    <a:pt x="166" y="781"/>
                  </a:lnTo>
                  <a:lnTo>
                    <a:pt x="175" y="771"/>
                  </a:lnTo>
                  <a:lnTo>
                    <a:pt x="175" y="781"/>
                  </a:lnTo>
                  <a:lnTo>
                    <a:pt x="185" y="791"/>
                  </a:lnTo>
                  <a:lnTo>
                    <a:pt x="185" y="820"/>
                  </a:lnTo>
                  <a:lnTo>
                    <a:pt x="205" y="830"/>
                  </a:lnTo>
                  <a:lnTo>
                    <a:pt x="205" y="849"/>
                  </a:lnTo>
                  <a:lnTo>
                    <a:pt x="224" y="849"/>
                  </a:lnTo>
                  <a:lnTo>
                    <a:pt x="214" y="839"/>
                  </a:lnTo>
                  <a:lnTo>
                    <a:pt x="214" y="830"/>
                  </a:lnTo>
                  <a:lnTo>
                    <a:pt x="205" y="810"/>
                  </a:lnTo>
                  <a:lnTo>
                    <a:pt x="195" y="791"/>
                  </a:lnTo>
                  <a:lnTo>
                    <a:pt x="185" y="791"/>
                  </a:lnTo>
                  <a:lnTo>
                    <a:pt x="185" y="771"/>
                  </a:lnTo>
                  <a:lnTo>
                    <a:pt x="185" y="761"/>
                  </a:lnTo>
                  <a:lnTo>
                    <a:pt x="205" y="761"/>
                  </a:lnTo>
                  <a:lnTo>
                    <a:pt x="214" y="752"/>
                  </a:lnTo>
                  <a:lnTo>
                    <a:pt x="214" y="712"/>
                  </a:lnTo>
                  <a:lnTo>
                    <a:pt x="214" y="693"/>
                  </a:lnTo>
                  <a:lnTo>
                    <a:pt x="214" y="683"/>
                  </a:lnTo>
                  <a:lnTo>
                    <a:pt x="214" y="673"/>
                  </a:lnTo>
                  <a:lnTo>
                    <a:pt x="214" y="664"/>
                  </a:lnTo>
                  <a:lnTo>
                    <a:pt x="234" y="644"/>
                  </a:lnTo>
                  <a:lnTo>
                    <a:pt x="234" y="634"/>
                  </a:lnTo>
                  <a:lnTo>
                    <a:pt x="244" y="634"/>
                  </a:lnTo>
                  <a:lnTo>
                    <a:pt x="244" y="625"/>
                  </a:lnTo>
                  <a:lnTo>
                    <a:pt x="244" y="605"/>
                  </a:lnTo>
                  <a:lnTo>
                    <a:pt x="234" y="586"/>
                  </a:lnTo>
                  <a:lnTo>
                    <a:pt x="214" y="576"/>
                  </a:lnTo>
                  <a:lnTo>
                    <a:pt x="214" y="566"/>
                  </a:lnTo>
                  <a:lnTo>
                    <a:pt x="214" y="556"/>
                  </a:lnTo>
                  <a:lnTo>
                    <a:pt x="214" y="547"/>
                  </a:lnTo>
                  <a:lnTo>
                    <a:pt x="195" y="527"/>
                  </a:lnTo>
                  <a:lnTo>
                    <a:pt x="175" y="508"/>
                  </a:lnTo>
                  <a:lnTo>
                    <a:pt x="175" y="488"/>
                  </a:lnTo>
                  <a:lnTo>
                    <a:pt x="175" y="469"/>
                  </a:lnTo>
                  <a:lnTo>
                    <a:pt x="185" y="449"/>
                  </a:lnTo>
                  <a:lnTo>
                    <a:pt x="185" y="439"/>
                  </a:lnTo>
                  <a:lnTo>
                    <a:pt x="185" y="430"/>
                  </a:lnTo>
                  <a:lnTo>
                    <a:pt x="185" y="420"/>
                  </a:lnTo>
                  <a:lnTo>
                    <a:pt x="195" y="420"/>
                  </a:lnTo>
                  <a:lnTo>
                    <a:pt x="185" y="410"/>
                  </a:lnTo>
                  <a:lnTo>
                    <a:pt x="195" y="400"/>
                  </a:lnTo>
                  <a:lnTo>
                    <a:pt x="205" y="391"/>
                  </a:lnTo>
                  <a:lnTo>
                    <a:pt x="214" y="391"/>
                  </a:lnTo>
                  <a:lnTo>
                    <a:pt x="253" y="391"/>
                  </a:lnTo>
                  <a:lnTo>
                    <a:pt x="302" y="391"/>
                  </a:lnTo>
                  <a:lnTo>
                    <a:pt x="341" y="391"/>
                  </a:lnTo>
                  <a:lnTo>
                    <a:pt x="361" y="391"/>
                  </a:lnTo>
                  <a:lnTo>
                    <a:pt x="351" y="410"/>
                  </a:lnTo>
                  <a:lnTo>
                    <a:pt x="361" y="410"/>
                  </a:lnTo>
                  <a:lnTo>
                    <a:pt x="370" y="400"/>
                  </a:lnTo>
                  <a:lnTo>
                    <a:pt x="380" y="391"/>
                  </a:lnTo>
                  <a:lnTo>
                    <a:pt x="390" y="391"/>
                  </a:lnTo>
                  <a:lnTo>
                    <a:pt x="400" y="391"/>
                  </a:lnTo>
                  <a:lnTo>
                    <a:pt x="400" y="400"/>
                  </a:lnTo>
                  <a:lnTo>
                    <a:pt x="409" y="391"/>
                  </a:lnTo>
                  <a:lnTo>
                    <a:pt x="419" y="400"/>
                  </a:lnTo>
                  <a:lnTo>
                    <a:pt x="419" y="410"/>
                  </a:lnTo>
                  <a:lnTo>
                    <a:pt x="419" y="391"/>
                  </a:lnTo>
                  <a:lnTo>
                    <a:pt x="429" y="381"/>
                  </a:lnTo>
                  <a:lnTo>
                    <a:pt x="419" y="371"/>
                  </a:lnTo>
                  <a:lnTo>
                    <a:pt x="419" y="351"/>
                  </a:lnTo>
                  <a:lnTo>
                    <a:pt x="400" y="351"/>
                  </a:lnTo>
                  <a:lnTo>
                    <a:pt x="390" y="351"/>
                  </a:lnTo>
                  <a:lnTo>
                    <a:pt x="400" y="342"/>
                  </a:lnTo>
                  <a:lnTo>
                    <a:pt x="419" y="332"/>
                  </a:lnTo>
                  <a:lnTo>
                    <a:pt x="419" y="342"/>
                  </a:lnTo>
                  <a:lnTo>
                    <a:pt x="429" y="351"/>
                  </a:lnTo>
                  <a:lnTo>
                    <a:pt x="429" y="342"/>
                  </a:lnTo>
                  <a:lnTo>
                    <a:pt x="419" y="33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03"/>
                  </a:lnTo>
                  <a:lnTo>
                    <a:pt x="409" y="303"/>
                  </a:lnTo>
                  <a:lnTo>
                    <a:pt x="409" y="283"/>
                  </a:lnTo>
                  <a:lnTo>
                    <a:pt x="419" y="293"/>
                  </a:lnTo>
                  <a:lnTo>
                    <a:pt x="419" y="303"/>
                  </a:lnTo>
                  <a:lnTo>
                    <a:pt x="419" y="312"/>
                  </a:lnTo>
                  <a:lnTo>
                    <a:pt x="429" y="322"/>
                  </a:lnTo>
                  <a:lnTo>
                    <a:pt x="429" y="303"/>
                  </a:lnTo>
                  <a:lnTo>
                    <a:pt x="439" y="303"/>
                  </a:lnTo>
                  <a:lnTo>
                    <a:pt x="448" y="293"/>
                  </a:lnTo>
                  <a:lnTo>
                    <a:pt x="448" y="283"/>
                  </a:lnTo>
                  <a:lnTo>
                    <a:pt x="458" y="283"/>
                  </a:lnTo>
                  <a:lnTo>
                    <a:pt x="458" y="273"/>
                  </a:lnTo>
                  <a:lnTo>
                    <a:pt x="448" y="273"/>
                  </a:lnTo>
                  <a:lnTo>
                    <a:pt x="448" y="264"/>
                  </a:lnTo>
                  <a:lnTo>
                    <a:pt x="458" y="264"/>
                  </a:lnTo>
                  <a:lnTo>
                    <a:pt x="468" y="264"/>
                  </a:lnTo>
                  <a:lnTo>
                    <a:pt x="478" y="273"/>
                  </a:lnTo>
                  <a:lnTo>
                    <a:pt x="487" y="264"/>
                  </a:lnTo>
                  <a:lnTo>
                    <a:pt x="507" y="244"/>
                  </a:lnTo>
                  <a:lnTo>
                    <a:pt x="507" y="234"/>
                  </a:lnTo>
                  <a:lnTo>
                    <a:pt x="526" y="234"/>
                  </a:lnTo>
                  <a:lnTo>
                    <a:pt x="526" y="244"/>
                  </a:lnTo>
                  <a:lnTo>
                    <a:pt x="546" y="234"/>
                  </a:lnTo>
                  <a:lnTo>
                    <a:pt x="556" y="225"/>
                  </a:lnTo>
                  <a:lnTo>
                    <a:pt x="575" y="215"/>
                  </a:lnTo>
                  <a:lnTo>
                    <a:pt x="575" y="225"/>
                  </a:lnTo>
                  <a:lnTo>
                    <a:pt x="595" y="225"/>
                  </a:lnTo>
                  <a:lnTo>
                    <a:pt x="604" y="215"/>
                  </a:lnTo>
                  <a:lnTo>
                    <a:pt x="624" y="215"/>
                  </a:lnTo>
                  <a:lnTo>
                    <a:pt x="634" y="215"/>
                  </a:lnTo>
                  <a:lnTo>
                    <a:pt x="643" y="215"/>
                  </a:lnTo>
                  <a:lnTo>
                    <a:pt x="653" y="215"/>
                  </a:lnTo>
                  <a:lnTo>
                    <a:pt x="663" y="215"/>
                  </a:lnTo>
                  <a:lnTo>
                    <a:pt x="673" y="215"/>
                  </a:lnTo>
                  <a:lnTo>
                    <a:pt x="673" y="205"/>
                  </a:lnTo>
                  <a:lnTo>
                    <a:pt x="653" y="205"/>
                  </a:lnTo>
                  <a:lnTo>
                    <a:pt x="643" y="205"/>
                  </a:lnTo>
                  <a:lnTo>
                    <a:pt x="643" y="195"/>
                  </a:lnTo>
                  <a:lnTo>
                    <a:pt x="643" y="186"/>
                  </a:lnTo>
                  <a:lnTo>
                    <a:pt x="653" y="176"/>
                  </a:lnTo>
                  <a:lnTo>
                    <a:pt x="663" y="186"/>
                  </a:lnTo>
                  <a:lnTo>
                    <a:pt x="673" y="186"/>
                  </a:lnTo>
                  <a:lnTo>
                    <a:pt x="673" y="176"/>
                  </a:lnTo>
                  <a:lnTo>
                    <a:pt x="683" y="176"/>
                  </a:lnTo>
                  <a:lnTo>
                    <a:pt x="683" y="186"/>
                  </a:lnTo>
                  <a:lnTo>
                    <a:pt x="692" y="186"/>
                  </a:lnTo>
                  <a:lnTo>
                    <a:pt x="702" y="186"/>
                  </a:lnTo>
                  <a:lnTo>
                    <a:pt x="712" y="186"/>
                  </a:lnTo>
                  <a:lnTo>
                    <a:pt x="722" y="186"/>
                  </a:lnTo>
                  <a:lnTo>
                    <a:pt x="731" y="186"/>
                  </a:lnTo>
                  <a:lnTo>
                    <a:pt x="741" y="186"/>
                  </a:lnTo>
                  <a:lnTo>
                    <a:pt x="741" y="195"/>
                  </a:lnTo>
                  <a:lnTo>
                    <a:pt x="731" y="205"/>
                  </a:lnTo>
                  <a:lnTo>
                    <a:pt x="731" y="215"/>
                  </a:lnTo>
                  <a:lnTo>
                    <a:pt x="741" y="205"/>
                  </a:lnTo>
                  <a:lnTo>
                    <a:pt x="751" y="205"/>
                  </a:lnTo>
                  <a:lnTo>
                    <a:pt x="751" y="215"/>
                  </a:lnTo>
                  <a:lnTo>
                    <a:pt x="761" y="205"/>
                  </a:lnTo>
                  <a:lnTo>
                    <a:pt x="770" y="205"/>
                  </a:lnTo>
                  <a:lnTo>
                    <a:pt x="780" y="205"/>
                  </a:lnTo>
                  <a:lnTo>
                    <a:pt x="790" y="205"/>
                  </a:lnTo>
                  <a:lnTo>
                    <a:pt x="790" y="195"/>
                  </a:lnTo>
                  <a:lnTo>
                    <a:pt x="800" y="186"/>
                  </a:lnTo>
                  <a:lnTo>
                    <a:pt x="800" y="176"/>
                  </a:lnTo>
                  <a:lnTo>
                    <a:pt x="809" y="176"/>
                  </a:lnTo>
                  <a:lnTo>
                    <a:pt x="819" y="166"/>
                  </a:lnTo>
                  <a:lnTo>
                    <a:pt x="839" y="176"/>
                  </a:lnTo>
                  <a:lnTo>
                    <a:pt x="848" y="186"/>
                  </a:lnTo>
                  <a:lnTo>
                    <a:pt x="858" y="195"/>
                  </a:lnTo>
                  <a:lnTo>
                    <a:pt x="858" y="176"/>
                  </a:lnTo>
                  <a:lnTo>
                    <a:pt x="839" y="176"/>
                  </a:lnTo>
                  <a:lnTo>
                    <a:pt x="839" y="156"/>
                  </a:lnTo>
                  <a:lnTo>
                    <a:pt x="829" y="156"/>
                  </a:lnTo>
                  <a:lnTo>
                    <a:pt x="829" y="137"/>
                  </a:lnTo>
                  <a:lnTo>
                    <a:pt x="839" y="137"/>
                  </a:lnTo>
                  <a:lnTo>
                    <a:pt x="848" y="147"/>
                  </a:lnTo>
                  <a:lnTo>
                    <a:pt x="868" y="147"/>
                  </a:lnTo>
                  <a:lnTo>
                    <a:pt x="878" y="147"/>
                  </a:lnTo>
                  <a:lnTo>
                    <a:pt x="887" y="137"/>
                  </a:lnTo>
                  <a:lnTo>
                    <a:pt x="897" y="147"/>
                  </a:lnTo>
                  <a:lnTo>
                    <a:pt x="907" y="156"/>
                  </a:lnTo>
                  <a:lnTo>
                    <a:pt x="926" y="156"/>
                  </a:lnTo>
                  <a:lnTo>
                    <a:pt x="917" y="147"/>
                  </a:lnTo>
                  <a:lnTo>
                    <a:pt x="907" y="137"/>
                  </a:lnTo>
                  <a:lnTo>
                    <a:pt x="897" y="137"/>
                  </a:lnTo>
                  <a:lnTo>
                    <a:pt x="897" y="108"/>
                  </a:lnTo>
                  <a:lnTo>
                    <a:pt x="887" y="108"/>
                  </a:lnTo>
                  <a:lnTo>
                    <a:pt x="887" y="98"/>
                  </a:lnTo>
                  <a:lnTo>
                    <a:pt x="887" y="88"/>
                  </a:lnTo>
                  <a:lnTo>
                    <a:pt x="897" y="88"/>
                  </a:lnTo>
                  <a:lnTo>
                    <a:pt x="897" y="78"/>
                  </a:lnTo>
                  <a:lnTo>
                    <a:pt x="897" y="69"/>
                  </a:lnTo>
                  <a:lnTo>
                    <a:pt x="907" y="59"/>
                  </a:lnTo>
                  <a:lnTo>
                    <a:pt x="917" y="39"/>
                  </a:lnTo>
                  <a:lnTo>
                    <a:pt x="926" y="49"/>
                  </a:lnTo>
                  <a:lnTo>
                    <a:pt x="926" y="30"/>
                  </a:lnTo>
                  <a:lnTo>
                    <a:pt x="936" y="20"/>
                  </a:lnTo>
                  <a:lnTo>
                    <a:pt x="946" y="10"/>
                  </a:lnTo>
                  <a:lnTo>
                    <a:pt x="956" y="10"/>
                  </a:lnTo>
                  <a:lnTo>
                    <a:pt x="965" y="10"/>
                  </a:lnTo>
                  <a:lnTo>
                    <a:pt x="965" y="0"/>
                  </a:lnTo>
                  <a:lnTo>
                    <a:pt x="975" y="0"/>
                  </a:lnTo>
                  <a:lnTo>
                    <a:pt x="975" y="10"/>
                  </a:lnTo>
                  <a:lnTo>
                    <a:pt x="995" y="10"/>
                  </a:lnTo>
                  <a:lnTo>
                    <a:pt x="1004" y="20"/>
                  </a:lnTo>
                  <a:lnTo>
                    <a:pt x="1014" y="20"/>
                  </a:lnTo>
                  <a:lnTo>
                    <a:pt x="1024" y="10"/>
                  </a:lnTo>
                  <a:lnTo>
                    <a:pt x="1024" y="30"/>
                  </a:lnTo>
                  <a:lnTo>
                    <a:pt x="1034" y="39"/>
                  </a:lnTo>
                  <a:lnTo>
                    <a:pt x="1024" y="39"/>
                  </a:lnTo>
                  <a:lnTo>
                    <a:pt x="1014" y="49"/>
                  </a:lnTo>
                  <a:lnTo>
                    <a:pt x="1004" y="59"/>
                  </a:lnTo>
                  <a:lnTo>
                    <a:pt x="995" y="59"/>
                  </a:lnTo>
                  <a:lnTo>
                    <a:pt x="985" y="69"/>
                  </a:lnTo>
                  <a:lnTo>
                    <a:pt x="1014" y="69"/>
                  </a:lnTo>
                  <a:lnTo>
                    <a:pt x="1024" y="69"/>
                  </a:lnTo>
                  <a:lnTo>
                    <a:pt x="1014" y="78"/>
                  </a:lnTo>
                  <a:lnTo>
                    <a:pt x="1024" y="78"/>
                  </a:lnTo>
                  <a:lnTo>
                    <a:pt x="1043" y="69"/>
                  </a:lnTo>
                  <a:lnTo>
                    <a:pt x="1053" y="78"/>
                  </a:lnTo>
                  <a:lnTo>
                    <a:pt x="1073" y="78"/>
                  </a:lnTo>
                  <a:lnTo>
                    <a:pt x="1073" y="88"/>
                  </a:lnTo>
                  <a:lnTo>
                    <a:pt x="1063" y="98"/>
                  </a:lnTo>
                  <a:lnTo>
                    <a:pt x="1053" y="108"/>
                  </a:lnTo>
                  <a:lnTo>
                    <a:pt x="1053" y="127"/>
                  </a:lnTo>
                  <a:lnTo>
                    <a:pt x="1053" y="137"/>
                  </a:lnTo>
                  <a:lnTo>
                    <a:pt x="1063" y="127"/>
                  </a:lnTo>
                  <a:lnTo>
                    <a:pt x="1073" y="127"/>
                  </a:lnTo>
                  <a:lnTo>
                    <a:pt x="1092" y="127"/>
                  </a:lnTo>
                  <a:lnTo>
                    <a:pt x="1092" y="117"/>
                  </a:lnTo>
                  <a:lnTo>
                    <a:pt x="1092" y="108"/>
                  </a:lnTo>
                  <a:lnTo>
                    <a:pt x="1102" y="98"/>
                  </a:lnTo>
                  <a:lnTo>
                    <a:pt x="1112" y="98"/>
                  </a:lnTo>
                  <a:lnTo>
                    <a:pt x="1121" y="98"/>
                  </a:lnTo>
                  <a:lnTo>
                    <a:pt x="1131" y="98"/>
                  </a:lnTo>
                  <a:lnTo>
                    <a:pt x="1141" y="98"/>
                  </a:lnTo>
                  <a:lnTo>
                    <a:pt x="1151" y="98"/>
                  </a:lnTo>
                  <a:lnTo>
                    <a:pt x="1160" y="88"/>
                  </a:lnTo>
                  <a:lnTo>
                    <a:pt x="1170" y="88"/>
                  </a:lnTo>
                  <a:lnTo>
                    <a:pt x="1180" y="88"/>
                  </a:lnTo>
                  <a:lnTo>
                    <a:pt x="1190" y="98"/>
                  </a:lnTo>
                  <a:lnTo>
                    <a:pt x="1199" y="98"/>
                  </a:lnTo>
                  <a:lnTo>
                    <a:pt x="1199" y="108"/>
                  </a:lnTo>
                  <a:lnTo>
                    <a:pt x="1209" y="108"/>
                  </a:lnTo>
                  <a:lnTo>
                    <a:pt x="1219" y="117"/>
                  </a:lnTo>
                  <a:lnTo>
                    <a:pt x="1219" y="127"/>
                  </a:lnTo>
                  <a:lnTo>
                    <a:pt x="1238" y="127"/>
                  </a:lnTo>
                  <a:lnTo>
                    <a:pt x="1238" y="137"/>
                  </a:lnTo>
                  <a:lnTo>
                    <a:pt x="1238" y="147"/>
                  </a:lnTo>
                  <a:lnTo>
                    <a:pt x="1248" y="147"/>
                  </a:lnTo>
                  <a:lnTo>
                    <a:pt x="1248" y="156"/>
                  </a:lnTo>
                  <a:lnTo>
                    <a:pt x="1258" y="156"/>
                  </a:lnTo>
                  <a:lnTo>
                    <a:pt x="1258" y="147"/>
                  </a:lnTo>
                  <a:lnTo>
                    <a:pt x="1248" y="137"/>
                  </a:lnTo>
                  <a:lnTo>
                    <a:pt x="1258" y="127"/>
                  </a:lnTo>
                  <a:lnTo>
                    <a:pt x="1258" y="137"/>
                  </a:lnTo>
                  <a:lnTo>
                    <a:pt x="1268" y="147"/>
                  </a:lnTo>
                  <a:lnTo>
                    <a:pt x="1268" y="156"/>
                  </a:lnTo>
                  <a:lnTo>
                    <a:pt x="1278" y="176"/>
                  </a:lnTo>
                  <a:lnTo>
                    <a:pt x="1287" y="166"/>
                  </a:lnTo>
                  <a:lnTo>
                    <a:pt x="1287" y="186"/>
                  </a:lnTo>
                  <a:lnTo>
                    <a:pt x="1287" y="205"/>
                  </a:lnTo>
                  <a:lnTo>
                    <a:pt x="1278" y="205"/>
                  </a:lnTo>
                  <a:lnTo>
                    <a:pt x="1278" y="195"/>
                  </a:lnTo>
                  <a:lnTo>
                    <a:pt x="1258" y="195"/>
                  </a:lnTo>
                  <a:lnTo>
                    <a:pt x="1258" y="186"/>
                  </a:lnTo>
                  <a:lnTo>
                    <a:pt x="1248" y="186"/>
                  </a:lnTo>
                  <a:lnTo>
                    <a:pt x="1248" y="195"/>
                  </a:lnTo>
                  <a:lnTo>
                    <a:pt x="1258" y="205"/>
                  </a:lnTo>
                  <a:lnTo>
                    <a:pt x="1258" y="215"/>
                  </a:lnTo>
                  <a:lnTo>
                    <a:pt x="1268" y="205"/>
                  </a:lnTo>
                  <a:lnTo>
                    <a:pt x="1278" y="215"/>
                  </a:lnTo>
                  <a:lnTo>
                    <a:pt x="1287" y="215"/>
                  </a:lnTo>
                  <a:lnTo>
                    <a:pt x="1297" y="234"/>
                  </a:lnTo>
                  <a:lnTo>
                    <a:pt x="1297" y="244"/>
                  </a:lnTo>
                  <a:lnTo>
                    <a:pt x="1287" y="264"/>
                  </a:lnTo>
                  <a:lnTo>
                    <a:pt x="1287" y="273"/>
                  </a:lnTo>
                  <a:lnTo>
                    <a:pt x="1278" y="283"/>
                  </a:lnTo>
                  <a:lnTo>
                    <a:pt x="1258" y="293"/>
                  </a:lnTo>
                  <a:lnTo>
                    <a:pt x="1258" y="303"/>
                  </a:lnTo>
                  <a:lnTo>
                    <a:pt x="1258" y="322"/>
                  </a:lnTo>
                  <a:lnTo>
                    <a:pt x="1229" y="322"/>
                  </a:lnTo>
                  <a:lnTo>
                    <a:pt x="1229" y="332"/>
                  </a:lnTo>
                  <a:lnTo>
                    <a:pt x="1209" y="342"/>
                  </a:lnTo>
                  <a:lnTo>
                    <a:pt x="1209" y="351"/>
                  </a:lnTo>
                  <a:lnTo>
                    <a:pt x="1199" y="361"/>
                  </a:lnTo>
                  <a:lnTo>
                    <a:pt x="1190" y="361"/>
                  </a:lnTo>
                  <a:lnTo>
                    <a:pt x="1180" y="371"/>
                  </a:lnTo>
                  <a:lnTo>
                    <a:pt x="1199" y="371"/>
                  </a:lnTo>
                  <a:lnTo>
                    <a:pt x="1199" y="381"/>
                  </a:lnTo>
                  <a:lnTo>
                    <a:pt x="1190" y="391"/>
                  </a:lnTo>
                  <a:lnTo>
                    <a:pt x="1170" y="410"/>
                  </a:lnTo>
                  <a:lnTo>
                    <a:pt x="1160" y="420"/>
                  </a:lnTo>
                  <a:lnTo>
                    <a:pt x="1151" y="430"/>
                  </a:lnTo>
                  <a:lnTo>
                    <a:pt x="1151" y="449"/>
                  </a:lnTo>
                  <a:lnTo>
                    <a:pt x="1131" y="449"/>
                  </a:lnTo>
                  <a:lnTo>
                    <a:pt x="1121" y="449"/>
                  </a:lnTo>
                  <a:lnTo>
                    <a:pt x="1112" y="459"/>
                  </a:lnTo>
                  <a:lnTo>
                    <a:pt x="1112" y="469"/>
                  </a:lnTo>
                  <a:lnTo>
                    <a:pt x="1112" y="478"/>
                  </a:lnTo>
                  <a:lnTo>
                    <a:pt x="1102" y="488"/>
                  </a:lnTo>
                  <a:lnTo>
                    <a:pt x="1082" y="488"/>
                  </a:lnTo>
                  <a:lnTo>
                    <a:pt x="1073" y="498"/>
                  </a:lnTo>
                  <a:lnTo>
                    <a:pt x="1073" y="527"/>
                  </a:lnTo>
                  <a:lnTo>
                    <a:pt x="1063" y="537"/>
                  </a:lnTo>
                  <a:lnTo>
                    <a:pt x="1043" y="556"/>
                  </a:lnTo>
                  <a:lnTo>
                    <a:pt x="1063" y="556"/>
                  </a:lnTo>
                  <a:lnTo>
                    <a:pt x="1073" y="556"/>
                  </a:lnTo>
                  <a:lnTo>
                    <a:pt x="1073" y="547"/>
                  </a:lnTo>
                  <a:lnTo>
                    <a:pt x="1082" y="537"/>
                  </a:lnTo>
                  <a:lnTo>
                    <a:pt x="1082" y="517"/>
                  </a:lnTo>
                  <a:lnTo>
                    <a:pt x="1082" y="508"/>
                  </a:lnTo>
                  <a:lnTo>
                    <a:pt x="1121" y="508"/>
                  </a:lnTo>
                  <a:lnTo>
                    <a:pt x="1141" y="508"/>
                  </a:lnTo>
                  <a:lnTo>
                    <a:pt x="1141" y="498"/>
                  </a:lnTo>
                  <a:lnTo>
                    <a:pt x="1151" y="498"/>
                  </a:lnTo>
                  <a:lnTo>
                    <a:pt x="1160" y="488"/>
                  </a:lnTo>
                  <a:lnTo>
                    <a:pt x="1170" y="478"/>
                  </a:lnTo>
                  <a:lnTo>
                    <a:pt x="1180" y="478"/>
                  </a:lnTo>
                  <a:lnTo>
                    <a:pt x="1180" y="459"/>
                  </a:lnTo>
                  <a:lnTo>
                    <a:pt x="1199" y="469"/>
                  </a:lnTo>
                  <a:lnTo>
                    <a:pt x="1209" y="459"/>
                  </a:lnTo>
                  <a:lnTo>
                    <a:pt x="1219" y="449"/>
                  </a:lnTo>
                  <a:lnTo>
                    <a:pt x="1219" y="439"/>
                  </a:lnTo>
                  <a:lnTo>
                    <a:pt x="1229" y="439"/>
                  </a:lnTo>
                  <a:lnTo>
                    <a:pt x="1229" y="420"/>
                  </a:lnTo>
                  <a:lnTo>
                    <a:pt x="1219" y="430"/>
                  </a:lnTo>
                  <a:lnTo>
                    <a:pt x="1209" y="430"/>
                  </a:lnTo>
                  <a:lnTo>
                    <a:pt x="1199" y="439"/>
                  </a:lnTo>
                  <a:lnTo>
                    <a:pt x="1190" y="430"/>
                  </a:lnTo>
                  <a:lnTo>
                    <a:pt x="1190" y="420"/>
                  </a:lnTo>
                  <a:lnTo>
                    <a:pt x="1199" y="410"/>
                  </a:lnTo>
                  <a:lnTo>
                    <a:pt x="1199" y="400"/>
                  </a:lnTo>
                  <a:lnTo>
                    <a:pt x="1209" y="391"/>
                  </a:lnTo>
                  <a:lnTo>
                    <a:pt x="1219" y="400"/>
                  </a:lnTo>
                  <a:lnTo>
                    <a:pt x="1229" y="410"/>
                  </a:lnTo>
                  <a:lnTo>
                    <a:pt x="1238" y="410"/>
                  </a:lnTo>
                  <a:lnTo>
                    <a:pt x="1248" y="41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6" name="Freeform 256"/>
            <p:cNvSpPr>
              <a:spLocks/>
            </p:cNvSpPr>
            <p:nvPr/>
          </p:nvSpPr>
          <p:spPr bwMode="auto">
            <a:xfrm>
              <a:off x="4780" y="1951"/>
              <a:ext cx="1035" cy="1300"/>
            </a:xfrm>
            <a:custGeom>
              <a:avLst/>
              <a:gdLst>
                <a:gd name="T0" fmla="*/ 877 w 1034"/>
                <a:gd name="T1" fmla="*/ 166 h 1298"/>
                <a:gd name="T2" fmla="*/ 868 w 1034"/>
                <a:gd name="T3" fmla="*/ 303 h 1298"/>
                <a:gd name="T4" fmla="*/ 858 w 1034"/>
                <a:gd name="T5" fmla="*/ 342 h 1298"/>
                <a:gd name="T6" fmla="*/ 868 w 1034"/>
                <a:gd name="T7" fmla="*/ 391 h 1298"/>
                <a:gd name="T8" fmla="*/ 897 w 1034"/>
                <a:gd name="T9" fmla="*/ 469 h 1298"/>
                <a:gd name="T10" fmla="*/ 897 w 1034"/>
                <a:gd name="T11" fmla="*/ 527 h 1298"/>
                <a:gd name="T12" fmla="*/ 868 w 1034"/>
                <a:gd name="T13" fmla="*/ 615 h 1298"/>
                <a:gd name="T14" fmla="*/ 916 w 1034"/>
                <a:gd name="T15" fmla="*/ 615 h 1298"/>
                <a:gd name="T16" fmla="*/ 1004 w 1034"/>
                <a:gd name="T17" fmla="*/ 635 h 1298"/>
                <a:gd name="T18" fmla="*/ 1034 w 1034"/>
                <a:gd name="T19" fmla="*/ 664 h 1298"/>
                <a:gd name="T20" fmla="*/ 936 w 1034"/>
                <a:gd name="T21" fmla="*/ 674 h 1298"/>
                <a:gd name="T22" fmla="*/ 926 w 1034"/>
                <a:gd name="T23" fmla="*/ 683 h 1298"/>
                <a:gd name="T24" fmla="*/ 926 w 1034"/>
                <a:gd name="T25" fmla="*/ 732 h 1298"/>
                <a:gd name="T26" fmla="*/ 916 w 1034"/>
                <a:gd name="T27" fmla="*/ 791 h 1298"/>
                <a:gd name="T28" fmla="*/ 936 w 1034"/>
                <a:gd name="T29" fmla="*/ 888 h 1298"/>
                <a:gd name="T30" fmla="*/ 887 w 1034"/>
                <a:gd name="T31" fmla="*/ 966 h 1298"/>
                <a:gd name="T32" fmla="*/ 858 w 1034"/>
                <a:gd name="T33" fmla="*/ 1005 h 1298"/>
                <a:gd name="T34" fmla="*/ 848 w 1034"/>
                <a:gd name="T35" fmla="*/ 1044 h 1298"/>
                <a:gd name="T36" fmla="*/ 887 w 1034"/>
                <a:gd name="T37" fmla="*/ 1093 h 1298"/>
                <a:gd name="T38" fmla="*/ 887 w 1034"/>
                <a:gd name="T39" fmla="*/ 1152 h 1298"/>
                <a:gd name="T40" fmla="*/ 897 w 1034"/>
                <a:gd name="T41" fmla="*/ 1200 h 1298"/>
                <a:gd name="T42" fmla="*/ 877 w 1034"/>
                <a:gd name="T43" fmla="*/ 1259 h 1298"/>
                <a:gd name="T44" fmla="*/ 848 w 1034"/>
                <a:gd name="T45" fmla="*/ 1278 h 1298"/>
                <a:gd name="T46" fmla="*/ 770 w 1034"/>
                <a:gd name="T47" fmla="*/ 1239 h 1298"/>
                <a:gd name="T48" fmla="*/ 721 w 1034"/>
                <a:gd name="T49" fmla="*/ 1220 h 1298"/>
                <a:gd name="T50" fmla="*/ 702 w 1034"/>
                <a:gd name="T51" fmla="*/ 1181 h 1298"/>
                <a:gd name="T52" fmla="*/ 604 w 1034"/>
                <a:gd name="T53" fmla="*/ 1161 h 1298"/>
                <a:gd name="T54" fmla="*/ 526 w 1034"/>
                <a:gd name="T55" fmla="*/ 1161 h 1298"/>
                <a:gd name="T56" fmla="*/ 429 w 1034"/>
                <a:gd name="T57" fmla="*/ 1161 h 1298"/>
                <a:gd name="T58" fmla="*/ 351 w 1034"/>
                <a:gd name="T59" fmla="*/ 1171 h 1298"/>
                <a:gd name="T60" fmla="*/ 292 w 1034"/>
                <a:gd name="T61" fmla="*/ 1171 h 1298"/>
                <a:gd name="T62" fmla="*/ 312 w 1034"/>
                <a:gd name="T63" fmla="*/ 1064 h 1298"/>
                <a:gd name="T64" fmla="*/ 273 w 1034"/>
                <a:gd name="T65" fmla="*/ 1005 h 1298"/>
                <a:gd name="T66" fmla="*/ 195 w 1034"/>
                <a:gd name="T67" fmla="*/ 986 h 1298"/>
                <a:gd name="T68" fmla="*/ 175 w 1034"/>
                <a:gd name="T69" fmla="*/ 986 h 1298"/>
                <a:gd name="T70" fmla="*/ 146 w 1034"/>
                <a:gd name="T71" fmla="*/ 1015 h 1298"/>
                <a:gd name="T72" fmla="*/ 107 w 1034"/>
                <a:gd name="T73" fmla="*/ 1035 h 1298"/>
                <a:gd name="T74" fmla="*/ 58 w 1034"/>
                <a:gd name="T75" fmla="*/ 986 h 1298"/>
                <a:gd name="T76" fmla="*/ 19 w 1034"/>
                <a:gd name="T77" fmla="*/ 849 h 1298"/>
                <a:gd name="T78" fmla="*/ 136 w 1034"/>
                <a:gd name="T79" fmla="*/ 781 h 1298"/>
                <a:gd name="T80" fmla="*/ 136 w 1034"/>
                <a:gd name="T81" fmla="*/ 703 h 1298"/>
                <a:gd name="T82" fmla="*/ 156 w 1034"/>
                <a:gd name="T83" fmla="*/ 635 h 1298"/>
                <a:gd name="T84" fmla="*/ 107 w 1034"/>
                <a:gd name="T85" fmla="*/ 605 h 1298"/>
                <a:gd name="T86" fmla="*/ 78 w 1034"/>
                <a:gd name="T87" fmla="*/ 596 h 1298"/>
                <a:gd name="T88" fmla="*/ 39 w 1034"/>
                <a:gd name="T89" fmla="*/ 566 h 1298"/>
                <a:gd name="T90" fmla="*/ 19 w 1034"/>
                <a:gd name="T91" fmla="*/ 430 h 1298"/>
                <a:gd name="T92" fmla="*/ 97 w 1034"/>
                <a:gd name="T93" fmla="*/ 361 h 1298"/>
                <a:gd name="T94" fmla="*/ 156 w 1034"/>
                <a:gd name="T95" fmla="*/ 303 h 1298"/>
                <a:gd name="T96" fmla="*/ 214 w 1034"/>
                <a:gd name="T97" fmla="*/ 244 h 1298"/>
                <a:gd name="T98" fmla="*/ 253 w 1034"/>
                <a:gd name="T99" fmla="*/ 186 h 1298"/>
                <a:gd name="T100" fmla="*/ 312 w 1034"/>
                <a:gd name="T101" fmla="*/ 166 h 1298"/>
                <a:gd name="T102" fmla="*/ 360 w 1034"/>
                <a:gd name="T103" fmla="*/ 88 h 1298"/>
                <a:gd name="T104" fmla="*/ 439 w 1034"/>
                <a:gd name="T105" fmla="*/ 30 h 1298"/>
                <a:gd name="T106" fmla="*/ 497 w 1034"/>
                <a:gd name="T107" fmla="*/ 10 h 1298"/>
                <a:gd name="T108" fmla="*/ 595 w 1034"/>
                <a:gd name="T109" fmla="*/ 30 h 1298"/>
                <a:gd name="T110" fmla="*/ 643 w 1034"/>
                <a:gd name="T111" fmla="*/ 49 h 1298"/>
                <a:gd name="T112" fmla="*/ 692 w 1034"/>
                <a:gd name="T113" fmla="*/ 69 h 1298"/>
                <a:gd name="T114" fmla="*/ 760 w 1034"/>
                <a:gd name="T115" fmla="*/ 49 h 1298"/>
                <a:gd name="T116" fmla="*/ 829 w 1034"/>
                <a:gd name="T117" fmla="*/ 39 h 12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34"/>
                <a:gd name="T178" fmla="*/ 0 h 1298"/>
                <a:gd name="T179" fmla="*/ 1034 w 1034"/>
                <a:gd name="T180" fmla="*/ 1298 h 129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34" h="1298">
                  <a:moveTo>
                    <a:pt x="838" y="59"/>
                  </a:moveTo>
                  <a:lnTo>
                    <a:pt x="858" y="69"/>
                  </a:lnTo>
                  <a:lnTo>
                    <a:pt x="868" y="108"/>
                  </a:lnTo>
                  <a:lnTo>
                    <a:pt x="877" y="166"/>
                  </a:lnTo>
                  <a:lnTo>
                    <a:pt x="877" y="225"/>
                  </a:lnTo>
                  <a:lnTo>
                    <a:pt x="887" y="283"/>
                  </a:lnTo>
                  <a:lnTo>
                    <a:pt x="877" y="303"/>
                  </a:lnTo>
                  <a:lnTo>
                    <a:pt x="868" y="303"/>
                  </a:lnTo>
                  <a:lnTo>
                    <a:pt x="858" y="313"/>
                  </a:lnTo>
                  <a:lnTo>
                    <a:pt x="848" y="322"/>
                  </a:lnTo>
                  <a:lnTo>
                    <a:pt x="838" y="342"/>
                  </a:lnTo>
                  <a:lnTo>
                    <a:pt x="858" y="342"/>
                  </a:lnTo>
                  <a:lnTo>
                    <a:pt x="868" y="352"/>
                  </a:lnTo>
                  <a:lnTo>
                    <a:pt x="877" y="371"/>
                  </a:lnTo>
                  <a:lnTo>
                    <a:pt x="868" y="391"/>
                  </a:lnTo>
                  <a:lnTo>
                    <a:pt x="868" y="410"/>
                  </a:lnTo>
                  <a:lnTo>
                    <a:pt x="887" y="420"/>
                  </a:lnTo>
                  <a:lnTo>
                    <a:pt x="897" y="439"/>
                  </a:lnTo>
                  <a:lnTo>
                    <a:pt x="897" y="469"/>
                  </a:lnTo>
                  <a:lnTo>
                    <a:pt x="907" y="488"/>
                  </a:lnTo>
                  <a:lnTo>
                    <a:pt x="916" y="498"/>
                  </a:lnTo>
                  <a:lnTo>
                    <a:pt x="916" y="508"/>
                  </a:lnTo>
                  <a:lnTo>
                    <a:pt x="897" y="527"/>
                  </a:lnTo>
                  <a:lnTo>
                    <a:pt x="877" y="547"/>
                  </a:lnTo>
                  <a:lnTo>
                    <a:pt x="877" y="576"/>
                  </a:lnTo>
                  <a:lnTo>
                    <a:pt x="868" y="596"/>
                  </a:lnTo>
                  <a:lnTo>
                    <a:pt x="868" y="615"/>
                  </a:lnTo>
                  <a:lnTo>
                    <a:pt x="887" y="615"/>
                  </a:lnTo>
                  <a:lnTo>
                    <a:pt x="907" y="625"/>
                  </a:lnTo>
                  <a:lnTo>
                    <a:pt x="907" y="615"/>
                  </a:lnTo>
                  <a:lnTo>
                    <a:pt x="916" y="615"/>
                  </a:lnTo>
                  <a:lnTo>
                    <a:pt x="926" y="625"/>
                  </a:lnTo>
                  <a:lnTo>
                    <a:pt x="955" y="635"/>
                  </a:lnTo>
                  <a:lnTo>
                    <a:pt x="965" y="625"/>
                  </a:lnTo>
                  <a:lnTo>
                    <a:pt x="1004" y="635"/>
                  </a:lnTo>
                  <a:lnTo>
                    <a:pt x="1004" y="625"/>
                  </a:lnTo>
                  <a:lnTo>
                    <a:pt x="1014" y="625"/>
                  </a:lnTo>
                  <a:lnTo>
                    <a:pt x="1024" y="635"/>
                  </a:lnTo>
                  <a:lnTo>
                    <a:pt x="1034" y="664"/>
                  </a:lnTo>
                  <a:lnTo>
                    <a:pt x="985" y="654"/>
                  </a:lnTo>
                  <a:lnTo>
                    <a:pt x="965" y="674"/>
                  </a:lnTo>
                  <a:lnTo>
                    <a:pt x="955" y="674"/>
                  </a:lnTo>
                  <a:lnTo>
                    <a:pt x="936" y="674"/>
                  </a:lnTo>
                  <a:lnTo>
                    <a:pt x="926" y="664"/>
                  </a:lnTo>
                  <a:lnTo>
                    <a:pt x="916" y="664"/>
                  </a:lnTo>
                  <a:lnTo>
                    <a:pt x="916" y="674"/>
                  </a:lnTo>
                  <a:lnTo>
                    <a:pt x="926" y="683"/>
                  </a:lnTo>
                  <a:lnTo>
                    <a:pt x="926" y="713"/>
                  </a:lnTo>
                  <a:lnTo>
                    <a:pt x="946" y="732"/>
                  </a:lnTo>
                  <a:lnTo>
                    <a:pt x="936" y="742"/>
                  </a:lnTo>
                  <a:lnTo>
                    <a:pt x="926" y="732"/>
                  </a:lnTo>
                  <a:lnTo>
                    <a:pt x="926" y="752"/>
                  </a:lnTo>
                  <a:lnTo>
                    <a:pt x="926" y="771"/>
                  </a:lnTo>
                  <a:lnTo>
                    <a:pt x="916" y="781"/>
                  </a:lnTo>
                  <a:lnTo>
                    <a:pt x="916" y="791"/>
                  </a:lnTo>
                  <a:lnTo>
                    <a:pt x="936" y="800"/>
                  </a:lnTo>
                  <a:lnTo>
                    <a:pt x="946" y="830"/>
                  </a:lnTo>
                  <a:lnTo>
                    <a:pt x="936" y="849"/>
                  </a:lnTo>
                  <a:lnTo>
                    <a:pt x="936" y="888"/>
                  </a:lnTo>
                  <a:lnTo>
                    <a:pt x="907" y="908"/>
                  </a:lnTo>
                  <a:lnTo>
                    <a:pt x="907" y="917"/>
                  </a:lnTo>
                  <a:lnTo>
                    <a:pt x="916" y="947"/>
                  </a:lnTo>
                  <a:lnTo>
                    <a:pt x="887" y="966"/>
                  </a:lnTo>
                  <a:lnTo>
                    <a:pt x="868" y="976"/>
                  </a:lnTo>
                  <a:lnTo>
                    <a:pt x="858" y="976"/>
                  </a:lnTo>
                  <a:lnTo>
                    <a:pt x="848" y="986"/>
                  </a:lnTo>
                  <a:lnTo>
                    <a:pt x="858" y="1005"/>
                  </a:lnTo>
                  <a:lnTo>
                    <a:pt x="848" y="1015"/>
                  </a:lnTo>
                  <a:lnTo>
                    <a:pt x="848" y="1035"/>
                  </a:lnTo>
                  <a:lnTo>
                    <a:pt x="848" y="1044"/>
                  </a:lnTo>
                  <a:lnTo>
                    <a:pt x="848" y="1054"/>
                  </a:lnTo>
                  <a:lnTo>
                    <a:pt x="848" y="1074"/>
                  </a:lnTo>
                  <a:lnTo>
                    <a:pt x="868" y="1093"/>
                  </a:lnTo>
                  <a:lnTo>
                    <a:pt x="887" y="1093"/>
                  </a:lnTo>
                  <a:lnTo>
                    <a:pt x="897" y="1103"/>
                  </a:lnTo>
                  <a:lnTo>
                    <a:pt x="907" y="1122"/>
                  </a:lnTo>
                  <a:lnTo>
                    <a:pt x="907" y="1142"/>
                  </a:lnTo>
                  <a:lnTo>
                    <a:pt x="887" y="1152"/>
                  </a:lnTo>
                  <a:lnTo>
                    <a:pt x="868" y="1161"/>
                  </a:lnTo>
                  <a:lnTo>
                    <a:pt x="868" y="1181"/>
                  </a:lnTo>
                  <a:lnTo>
                    <a:pt x="877" y="1181"/>
                  </a:lnTo>
                  <a:lnTo>
                    <a:pt x="897" y="1200"/>
                  </a:lnTo>
                  <a:lnTo>
                    <a:pt x="897" y="1210"/>
                  </a:lnTo>
                  <a:lnTo>
                    <a:pt x="907" y="1220"/>
                  </a:lnTo>
                  <a:lnTo>
                    <a:pt x="907" y="1230"/>
                  </a:lnTo>
                  <a:lnTo>
                    <a:pt x="877" y="1259"/>
                  </a:lnTo>
                  <a:lnTo>
                    <a:pt x="868" y="1269"/>
                  </a:lnTo>
                  <a:lnTo>
                    <a:pt x="877" y="1288"/>
                  </a:lnTo>
                  <a:lnTo>
                    <a:pt x="868" y="1298"/>
                  </a:lnTo>
                  <a:lnTo>
                    <a:pt x="848" y="1278"/>
                  </a:lnTo>
                  <a:lnTo>
                    <a:pt x="819" y="1278"/>
                  </a:lnTo>
                  <a:lnTo>
                    <a:pt x="819" y="1259"/>
                  </a:lnTo>
                  <a:lnTo>
                    <a:pt x="790" y="1259"/>
                  </a:lnTo>
                  <a:lnTo>
                    <a:pt x="770" y="1239"/>
                  </a:lnTo>
                  <a:lnTo>
                    <a:pt x="760" y="1259"/>
                  </a:lnTo>
                  <a:lnTo>
                    <a:pt x="741" y="1269"/>
                  </a:lnTo>
                  <a:lnTo>
                    <a:pt x="721" y="1220"/>
                  </a:lnTo>
                  <a:lnTo>
                    <a:pt x="731" y="1200"/>
                  </a:lnTo>
                  <a:lnTo>
                    <a:pt x="731" y="1181"/>
                  </a:lnTo>
                  <a:lnTo>
                    <a:pt x="721" y="1171"/>
                  </a:lnTo>
                  <a:lnTo>
                    <a:pt x="702" y="1181"/>
                  </a:lnTo>
                  <a:lnTo>
                    <a:pt x="692" y="1171"/>
                  </a:lnTo>
                  <a:lnTo>
                    <a:pt x="663" y="1161"/>
                  </a:lnTo>
                  <a:lnTo>
                    <a:pt x="634" y="1161"/>
                  </a:lnTo>
                  <a:lnTo>
                    <a:pt x="604" y="1161"/>
                  </a:lnTo>
                  <a:lnTo>
                    <a:pt x="565" y="1132"/>
                  </a:lnTo>
                  <a:lnTo>
                    <a:pt x="556" y="1132"/>
                  </a:lnTo>
                  <a:lnTo>
                    <a:pt x="546" y="1152"/>
                  </a:lnTo>
                  <a:lnTo>
                    <a:pt x="526" y="1161"/>
                  </a:lnTo>
                  <a:lnTo>
                    <a:pt x="497" y="1161"/>
                  </a:lnTo>
                  <a:lnTo>
                    <a:pt x="468" y="1161"/>
                  </a:lnTo>
                  <a:lnTo>
                    <a:pt x="448" y="1161"/>
                  </a:lnTo>
                  <a:lnTo>
                    <a:pt x="429" y="1161"/>
                  </a:lnTo>
                  <a:lnTo>
                    <a:pt x="419" y="1171"/>
                  </a:lnTo>
                  <a:lnTo>
                    <a:pt x="400" y="1181"/>
                  </a:lnTo>
                  <a:lnTo>
                    <a:pt x="351" y="1181"/>
                  </a:lnTo>
                  <a:lnTo>
                    <a:pt x="351" y="1171"/>
                  </a:lnTo>
                  <a:lnTo>
                    <a:pt x="331" y="1171"/>
                  </a:lnTo>
                  <a:lnTo>
                    <a:pt x="321" y="1181"/>
                  </a:lnTo>
                  <a:lnTo>
                    <a:pt x="312" y="1161"/>
                  </a:lnTo>
                  <a:lnTo>
                    <a:pt x="292" y="1171"/>
                  </a:lnTo>
                  <a:lnTo>
                    <a:pt x="292" y="1161"/>
                  </a:lnTo>
                  <a:lnTo>
                    <a:pt x="292" y="1103"/>
                  </a:lnTo>
                  <a:lnTo>
                    <a:pt x="302" y="1093"/>
                  </a:lnTo>
                  <a:lnTo>
                    <a:pt x="312" y="1064"/>
                  </a:lnTo>
                  <a:lnTo>
                    <a:pt x="312" y="1044"/>
                  </a:lnTo>
                  <a:lnTo>
                    <a:pt x="302" y="1025"/>
                  </a:lnTo>
                  <a:lnTo>
                    <a:pt x="282" y="1015"/>
                  </a:lnTo>
                  <a:lnTo>
                    <a:pt x="273" y="1005"/>
                  </a:lnTo>
                  <a:lnTo>
                    <a:pt x="243" y="1005"/>
                  </a:lnTo>
                  <a:lnTo>
                    <a:pt x="214" y="996"/>
                  </a:lnTo>
                  <a:lnTo>
                    <a:pt x="195" y="996"/>
                  </a:lnTo>
                  <a:lnTo>
                    <a:pt x="195" y="986"/>
                  </a:lnTo>
                  <a:lnTo>
                    <a:pt x="204" y="966"/>
                  </a:lnTo>
                  <a:lnTo>
                    <a:pt x="185" y="966"/>
                  </a:lnTo>
                  <a:lnTo>
                    <a:pt x="175" y="976"/>
                  </a:lnTo>
                  <a:lnTo>
                    <a:pt x="175" y="986"/>
                  </a:lnTo>
                  <a:lnTo>
                    <a:pt x="165" y="996"/>
                  </a:lnTo>
                  <a:lnTo>
                    <a:pt x="156" y="996"/>
                  </a:lnTo>
                  <a:lnTo>
                    <a:pt x="156" y="1005"/>
                  </a:lnTo>
                  <a:lnTo>
                    <a:pt x="146" y="1015"/>
                  </a:lnTo>
                  <a:lnTo>
                    <a:pt x="146" y="1005"/>
                  </a:lnTo>
                  <a:lnTo>
                    <a:pt x="126" y="1015"/>
                  </a:lnTo>
                  <a:lnTo>
                    <a:pt x="117" y="1025"/>
                  </a:lnTo>
                  <a:lnTo>
                    <a:pt x="107" y="1035"/>
                  </a:lnTo>
                  <a:lnTo>
                    <a:pt x="87" y="1035"/>
                  </a:lnTo>
                  <a:lnTo>
                    <a:pt x="87" y="1025"/>
                  </a:lnTo>
                  <a:lnTo>
                    <a:pt x="78" y="1005"/>
                  </a:lnTo>
                  <a:lnTo>
                    <a:pt x="58" y="986"/>
                  </a:lnTo>
                  <a:lnTo>
                    <a:pt x="39" y="947"/>
                  </a:lnTo>
                  <a:lnTo>
                    <a:pt x="58" y="917"/>
                  </a:lnTo>
                  <a:lnTo>
                    <a:pt x="58" y="888"/>
                  </a:lnTo>
                  <a:lnTo>
                    <a:pt x="19" y="849"/>
                  </a:lnTo>
                  <a:lnTo>
                    <a:pt x="78" y="830"/>
                  </a:lnTo>
                  <a:lnTo>
                    <a:pt x="87" y="810"/>
                  </a:lnTo>
                  <a:lnTo>
                    <a:pt x="107" y="791"/>
                  </a:lnTo>
                  <a:lnTo>
                    <a:pt x="136" y="781"/>
                  </a:lnTo>
                  <a:lnTo>
                    <a:pt x="146" y="742"/>
                  </a:lnTo>
                  <a:lnTo>
                    <a:pt x="146" y="722"/>
                  </a:lnTo>
                  <a:lnTo>
                    <a:pt x="136" y="722"/>
                  </a:lnTo>
                  <a:lnTo>
                    <a:pt x="136" y="703"/>
                  </a:lnTo>
                  <a:lnTo>
                    <a:pt x="156" y="693"/>
                  </a:lnTo>
                  <a:lnTo>
                    <a:pt x="165" y="674"/>
                  </a:lnTo>
                  <a:lnTo>
                    <a:pt x="165" y="654"/>
                  </a:lnTo>
                  <a:lnTo>
                    <a:pt x="156" y="635"/>
                  </a:lnTo>
                  <a:lnTo>
                    <a:pt x="146" y="615"/>
                  </a:lnTo>
                  <a:lnTo>
                    <a:pt x="126" y="615"/>
                  </a:lnTo>
                  <a:lnTo>
                    <a:pt x="117" y="615"/>
                  </a:lnTo>
                  <a:lnTo>
                    <a:pt x="107" y="605"/>
                  </a:lnTo>
                  <a:lnTo>
                    <a:pt x="107" y="586"/>
                  </a:lnTo>
                  <a:lnTo>
                    <a:pt x="97" y="576"/>
                  </a:lnTo>
                  <a:lnTo>
                    <a:pt x="87" y="596"/>
                  </a:lnTo>
                  <a:lnTo>
                    <a:pt x="78" y="596"/>
                  </a:lnTo>
                  <a:lnTo>
                    <a:pt x="78" y="586"/>
                  </a:lnTo>
                  <a:lnTo>
                    <a:pt x="78" y="576"/>
                  </a:lnTo>
                  <a:lnTo>
                    <a:pt x="68" y="576"/>
                  </a:lnTo>
                  <a:lnTo>
                    <a:pt x="39" y="566"/>
                  </a:lnTo>
                  <a:lnTo>
                    <a:pt x="19" y="556"/>
                  </a:lnTo>
                  <a:lnTo>
                    <a:pt x="39" y="478"/>
                  </a:lnTo>
                  <a:lnTo>
                    <a:pt x="0" y="469"/>
                  </a:lnTo>
                  <a:lnTo>
                    <a:pt x="19" y="430"/>
                  </a:lnTo>
                  <a:lnTo>
                    <a:pt x="48" y="420"/>
                  </a:lnTo>
                  <a:lnTo>
                    <a:pt x="58" y="381"/>
                  </a:lnTo>
                  <a:lnTo>
                    <a:pt x="68" y="371"/>
                  </a:lnTo>
                  <a:lnTo>
                    <a:pt x="97" y="361"/>
                  </a:lnTo>
                  <a:lnTo>
                    <a:pt x="107" y="352"/>
                  </a:lnTo>
                  <a:lnTo>
                    <a:pt x="126" y="332"/>
                  </a:lnTo>
                  <a:lnTo>
                    <a:pt x="146" y="313"/>
                  </a:lnTo>
                  <a:lnTo>
                    <a:pt x="156" y="303"/>
                  </a:lnTo>
                  <a:lnTo>
                    <a:pt x="165" y="283"/>
                  </a:lnTo>
                  <a:lnTo>
                    <a:pt x="175" y="264"/>
                  </a:lnTo>
                  <a:lnTo>
                    <a:pt x="185" y="264"/>
                  </a:lnTo>
                  <a:lnTo>
                    <a:pt x="214" y="244"/>
                  </a:lnTo>
                  <a:lnTo>
                    <a:pt x="224" y="225"/>
                  </a:lnTo>
                  <a:lnTo>
                    <a:pt x="234" y="215"/>
                  </a:lnTo>
                  <a:lnTo>
                    <a:pt x="243" y="205"/>
                  </a:lnTo>
                  <a:lnTo>
                    <a:pt x="253" y="186"/>
                  </a:lnTo>
                  <a:lnTo>
                    <a:pt x="263" y="176"/>
                  </a:lnTo>
                  <a:lnTo>
                    <a:pt x="273" y="166"/>
                  </a:lnTo>
                  <a:lnTo>
                    <a:pt x="282" y="166"/>
                  </a:lnTo>
                  <a:lnTo>
                    <a:pt x="312" y="166"/>
                  </a:lnTo>
                  <a:lnTo>
                    <a:pt x="331" y="147"/>
                  </a:lnTo>
                  <a:lnTo>
                    <a:pt x="341" y="127"/>
                  </a:lnTo>
                  <a:lnTo>
                    <a:pt x="360" y="117"/>
                  </a:lnTo>
                  <a:lnTo>
                    <a:pt x="360" y="88"/>
                  </a:lnTo>
                  <a:lnTo>
                    <a:pt x="370" y="69"/>
                  </a:lnTo>
                  <a:lnTo>
                    <a:pt x="380" y="69"/>
                  </a:lnTo>
                  <a:lnTo>
                    <a:pt x="409" y="59"/>
                  </a:lnTo>
                  <a:lnTo>
                    <a:pt x="439" y="30"/>
                  </a:lnTo>
                  <a:lnTo>
                    <a:pt x="458" y="30"/>
                  </a:lnTo>
                  <a:lnTo>
                    <a:pt x="468" y="20"/>
                  </a:lnTo>
                  <a:lnTo>
                    <a:pt x="487" y="20"/>
                  </a:lnTo>
                  <a:lnTo>
                    <a:pt x="497" y="10"/>
                  </a:lnTo>
                  <a:lnTo>
                    <a:pt x="536" y="20"/>
                  </a:lnTo>
                  <a:lnTo>
                    <a:pt x="565" y="0"/>
                  </a:lnTo>
                  <a:lnTo>
                    <a:pt x="575" y="10"/>
                  </a:lnTo>
                  <a:lnTo>
                    <a:pt x="595" y="30"/>
                  </a:lnTo>
                  <a:lnTo>
                    <a:pt x="585" y="49"/>
                  </a:lnTo>
                  <a:lnTo>
                    <a:pt x="595" y="49"/>
                  </a:lnTo>
                  <a:lnTo>
                    <a:pt x="604" y="39"/>
                  </a:lnTo>
                  <a:lnTo>
                    <a:pt x="643" y="49"/>
                  </a:lnTo>
                  <a:lnTo>
                    <a:pt x="663" y="39"/>
                  </a:lnTo>
                  <a:lnTo>
                    <a:pt x="673" y="49"/>
                  </a:lnTo>
                  <a:lnTo>
                    <a:pt x="673" y="59"/>
                  </a:lnTo>
                  <a:lnTo>
                    <a:pt x="692" y="69"/>
                  </a:lnTo>
                  <a:lnTo>
                    <a:pt x="721" y="69"/>
                  </a:lnTo>
                  <a:lnTo>
                    <a:pt x="741" y="78"/>
                  </a:lnTo>
                  <a:lnTo>
                    <a:pt x="760" y="59"/>
                  </a:lnTo>
                  <a:lnTo>
                    <a:pt x="760" y="49"/>
                  </a:lnTo>
                  <a:lnTo>
                    <a:pt x="799" y="49"/>
                  </a:lnTo>
                  <a:lnTo>
                    <a:pt x="799" y="59"/>
                  </a:lnTo>
                  <a:lnTo>
                    <a:pt x="809" y="69"/>
                  </a:lnTo>
                  <a:lnTo>
                    <a:pt x="829" y="39"/>
                  </a:lnTo>
                  <a:lnTo>
                    <a:pt x="848" y="39"/>
                  </a:lnTo>
                  <a:lnTo>
                    <a:pt x="838" y="59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7" name="Freeform 255"/>
            <p:cNvSpPr>
              <a:spLocks/>
            </p:cNvSpPr>
            <p:nvPr/>
          </p:nvSpPr>
          <p:spPr bwMode="auto">
            <a:xfrm>
              <a:off x="7677" y="3716"/>
              <a:ext cx="319" cy="226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87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2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9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2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2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9 h 225"/>
                <a:gd name="T66" fmla="*/ 292 w 321"/>
                <a:gd name="T67" fmla="*/ 39 h 225"/>
                <a:gd name="T68" fmla="*/ 273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86 h 225"/>
                <a:gd name="T84" fmla="*/ 146 w 321"/>
                <a:gd name="T85" fmla="*/ 205 h 225"/>
                <a:gd name="T86" fmla="*/ 12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05 h 225"/>
                <a:gd name="T96" fmla="*/ 58 w 321"/>
                <a:gd name="T97" fmla="*/ 20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87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2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9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2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2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9"/>
                  </a:lnTo>
                  <a:lnTo>
                    <a:pt x="273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86"/>
                  </a:lnTo>
                  <a:lnTo>
                    <a:pt x="146" y="205"/>
                  </a:lnTo>
                  <a:lnTo>
                    <a:pt x="12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98" name="Group 252"/>
            <p:cNvGrpSpPr>
              <a:grpSpLocks/>
            </p:cNvGrpSpPr>
            <p:nvPr/>
          </p:nvGrpSpPr>
          <p:grpSpPr bwMode="auto">
            <a:xfrm>
              <a:off x="7676" y="3717"/>
              <a:ext cx="321" cy="225"/>
              <a:chOff x="7677" y="3717"/>
              <a:chExt cx="321" cy="225"/>
            </a:xfrm>
          </p:grpSpPr>
          <p:sp>
            <p:nvSpPr>
              <p:cNvPr id="728" name="Freeform 254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9" name="Freeform 253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99" name="Freeform 251"/>
            <p:cNvSpPr>
              <a:spLocks/>
            </p:cNvSpPr>
            <p:nvPr/>
          </p:nvSpPr>
          <p:spPr bwMode="auto">
            <a:xfrm>
              <a:off x="8083" y="889"/>
              <a:ext cx="704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56 h 1307"/>
                <a:gd name="T4" fmla="*/ 273 w 703"/>
                <a:gd name="T5" fmla="*/ 127 h 1307"/>
                <a:gd name="T6" fmla="*/ 342 w 703"/>
                <a:gd name="T7" fmla="*/ 224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24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2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15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7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24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5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24"/>
                  </a:lnTo>
                  <a:lnTo>
                    <a:pt x="342" y="224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2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3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1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22"/>
                  </a:lnTo>
                  <a:lnTo>
                    <a:pt x="654" y="322"/>
                  </a:lnTo>
                  <a:lnTo>
                    <a:pt x="644" y="322"/>
                  </a:lnTo>
                  <a:lnTo>
                    <a:pt x="625" y="322"/>
                  </a:lnTo>
                  <a:lnTo>
                    <a:pt x="615" y="332"/>
                  </a:lnTo>
                  <a:lnTo>
                    <a:pt x="605" y="32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66" y="45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1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66" y="751"/>
                  </a:lnTo>
                  <a:lnTo>
                    <a:pt x="56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15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093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0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71"/>
                  </a:lnTo>
                  <a:lnTo>
                    <a:pt x="46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093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49" y="1024"/>
                  </a:lnTo>
                  <a:lnTo>
                    <a:pt x="459" y="1015"/>
                  </a:lnTo>
                  <a:lnTo>
                    <a:pt x="449" y="995"/>
                  </a:lnTo>
                  <a:lnTo>
                    <a:pt x="449" y="985"/>
                  </a:lnTo>
                  <a:lnTo>
                    <a:pt x="449" y="946"/>
                  </a:lnTo>
                  <a:lnTo>
                    <a:pt x="459" y="937"/>
                  </a:lnTo>
                  <a:lnTo>
                    <a:pt x="449" y="927"/>
                  </a:lnTo>
                  <a:lnTo>
                    <a:pt x="44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20" y="810"/>
                  </a:lnTo>
                  <a:lnTo>
                    <a:pt x="42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73"/>
                  </a:lnTo>
                  <a:lnTo>
                    <a:pt x="371" y="654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5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5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36"/>
                  </a:lnTo>
                  <a:lnTo>
                    <a:pt x="254" y="53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5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00" name="Group 248"/>
            <p:cNvGrpSpPr>
              <a:grpSpLocks/>
            </p:cNvGrpSpPr>
            <p:nvPr/>
          </p:nvGrpSpPr>
          <p:grpSpPr bwMode="auto">
            <a:xfrm>
              <a:off x="8085" y="888"/>
              <a:ext cx="703" cy="1307"/>
              <a:chOff x="8086" y="888"/>
              <a:chExt cx="703" cy="1307"/>
            </a:xfrm>
          </p:grpSpPr>
          <p:sp>
            <p:nvSpPr>
              <p:cNvPr id="726" name="Freeform 250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  <a:lnTo>
                      <a:pt x="49" y="244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7" name="Freeform 249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01" name="Freeform 247"/>
            <p:cNvSpPr>
              <a:spLocks/>
            </p:cNvSpPr>
            <p:nvPr/>
          </p:nvSpPr>
          <p:spPr bwMode="auto">
            <a:xfrm>
              <a:off x="7607" y="0"/>
              <a:ext cx="1151" cy="1297"/>
            </a:xfrm>
            <a:custGeom>
              <a:avLst/>
              <a:gdLst>
                <a:gd name="T0" fmla="*/ 59 w 1151"/>
                <a:gd name="T1" fmla="*/ 849 h 1298"/>
                <a:gd name="T2" fmla="*/ 117 w 1151"/>
                <a:gd name="T3" fmla="*/ 732 h 1298"/>
                <a:gd name="T4" fmla="*/ 215 w 1151"/>
                <a:gd name="T5" fmla="*/ 722 h 1298"/>
                <a:gd name="T6" fmla="*/ 264 w 1151"/>
                <a:gd name="T7" fmla="*/ 683 h 1298"/>
                <a:gd name="T8" fmla="*/ 195 w 1151"/>
                <a:gd name="T9" fmla="*/ 644 h 1298"/>
                <a:gd name="T10" fmla="*/ 137 w 1151"/>
                <a:gd name="T11" fmla="*/ 624 h 1298"/>
                <a:gd name="T12" fmla="*/ 186 w 1151"/>
                <a:gd name="T13" fmla="*/ 566 h 1298"/>
                <a:gd name="T14" fmla="*/ 234 w 1151"/>
                <a:gd name="T15" fmla="*/ 527 h 1298"/>
                <a:gd name="T16" fmla="*/ 273 w 1151"/>
                <a:gd name="T17" fmla="*/ 439 h 1298"/>
                <a:gd name="T18" fmla="*/ 351 w 1151"/>
                <a:gd name="T19" fmla="*/ 390 h 1298"/>
                <a:gd name="T20" fmla="*/ 400 w 1151"/>
                <a:gd name="T21" fmla="*/ 351 h 1298"/>
                <a:gd name="T22" fmla="*/ 508 w 1151"/>
                <a:gd name="T23" fmla="*/ 293 h 1298"/>
                <a:gd name="T24" fmla="*/ 576 w 1151"/>
                <a:gd name="T25" fmla="*/ 244 h 1298"/>
                <a:gd name="T26" fmla="*/ 644 w 1151"/>
                <a:gd name="T27" fmla="*/ 224 h 1298"/>
                <a:gd name="T28" fmla="*/ 683 w 1151"/>
                <a:gd name="T29" fmla="*/ 205 h 1298"/>
                <a:gd name="T30" fmla="*/ 761 w 1151"/>
                <a:gd name="T31" fmla="*/ 205 h 1298"/>
                <a:gd name="T32" fmla="*/ 810 w 1151"/>
                <a:gd name="T33" fmla="*/ 185 h 1298"/>
                <a:gd name="T34" fmla="*/ 751 w 1151"/>
                <a:gd name="T35" fmla="*/ 176 h 1298"/>
                <a:gd name="T36" fmla="*/ 761 w 1151"/>
                <a:gd name="T37" fmla="*/ 137 h 1298"/>
                <a:gd name="T38" fmla="*/ 771 w 1151"/>
                <a:gd name="T39" fmla="*/ 68 h 1298"/>
                <a:gd name="T40" fmla="*/ 868 w 1151"/>
                <a:gd name="T41" fmla="*/ 29 h 1298"/>
                <a:gd name="T42" fmla="*/ 917 w 1151"/>
                <a:gd name="T43" fmla="*/ 49 h 1298"/>
                <a:gd name="T44" fmla="*/ 927 w 1151"/>
                <a:gd name="T45" fmla="*/ 88 h 1298"/>
                <a:gd name="T46" fmla="*/ 917 w 1151"/>
                <a:gd name="T47" fmla="*/ 146 h 1298"/>
                <a:gd name="T48" fmla="*/ 966 w 1151"/>
                <a:gd name="T49" fmla="*/ 146 h 1298"/>
                <a:gd name="T50" fmla="*/ 1005 w 1151"/>
                <a:gd name="T51" fmla="*/ 185 h 1298"/>
                <a:gd name="T52" fmla="*/ 1064 w 1151"/>
                <a:gd name="T53" fmla="*/ 195 h 1298"/>
                <a:gd name="T54" fmla="*/ 1054 w 1151"/>
                <a:gd name="T55" fmla="*/ 244 h 1298"/>
                <a:gd name="T56" fmla="*/ 976 w 1151"/>
                <a:gd name="T57" fmla="*/ 293 h 1298"/>
                <a:gd name="T58" fmla="*/ 907 w 1151"/>
                <a:gd name="T59" fmla="*/ 312 h 1298"/>
                <a:gd name="T60" fmla="*/ 859 w 1151"/>
                <a:gd name="T61" fmla="*/ 381 h 1298"/>
                <a:gd name="T62" fmla="*/ 781 w 1151"/>
                <a:gd name="T63" fmla="*/ 400 h 1298"/>
                <a:gd name="T64" fmla="*/ 742 w 1151"/>
                <a:gd name="T65" fmla="*/ 420 h 1298"/>
                <a:gd name="T66" fmla="*/ 771 w 1151"/>
                <a:gd name="T67" fmla="*/ 449 h 1298"/>
                <a:gd name="T68" fmla="*/ 820 w 1151"/>
                <a:gd name="T69" fmla="*/ 488 h 1298"/>
                <a:gd name="T70" fmla="*/ 868 w 1151"/>
                <a:gd name="T71" fmla="*/ 517 h 1298"/>
                <a:gd name="T72" fmla="*/ 859 w 1151"/>
                <a:gd name="T73" fmla="*/ 615 h 1298"/>
                <a:gd name="T74" fmla="*/ 800 w 1151"/>
                <a:gd name="T75" fmla="*/ 654 h 1298"/>
                <a:gd name="T76" fmla="*/ 829 w 1151"/>
                <a:gd name="T77" fmla="*/ 644 h 1298"/>
                <a:gd name="T78" fmla="*/ 820 w 1151"/>
                <a:gd name="T79" fmla="*/ 673 h 1298"/>
                <a:gd name="T80" fmla="*/ 849 w 1151"/>
                <a:gd name="T81" fmla="*/ 644 h 1298"/>
                <a:gd name="T82" fmla="*/ 917 w 1151"/>
                <a:gd name="T83" fmla="*/ 605 h 1298"/>
                <a:gd name="T84" fmla="*/ 995 w 1151"/>
                <a:gd name="T85" fmla="*/ 644 h 1298"/>
                <a:gd name="T86" fmla="*/ 1044 w 1151"/>
                <a:gd name="T87" fmla="*/ 615 h 1298"/>
                <a:gd name="T88" fmla="*/ 1112 w 1151"/>
                <a:gd name="T89" fmla="*/ 624 h 1298"/>
                <a:gd name="T90" fmla="*/ 1151 w 1151"/>
                <a:gd name="T91" fmla="*/ 654 h 1298"/>
                <a:gd name="T92" fmla="*/ 1083 w 1151"/>
                <a:gd name="T93" fmla="*/ 722 h 1298"/>
                <a:gd name="T94" fmla="*/ 1064 w 1151"/>
                <a:gd name="T95" fmla="*/ 732 h 1298"/>
                <a:gd name="T96" fmla="*/ 1083 w 1151"/>
                <a:gd name="T97" fmla="*/ 771 h 1298"/>
                <a:gd name="T98" fmla="*/ 1093 w 1151"/>
                <a:gd name="T99" fmla="*/ 868 h 1298"/>
                <a:gd name="T100" fmla="*/ 1025 w 1151"/>
                <a:gd name="T101" fmla="*/ 907 h 1298"/>
                <a:gd name="T102" fmla="*/ 966 w 1151"/>
                <a:gd name="T103" fmla="*/ 976 h 1298"/>
                <a:gd name="T104" fmla="*/ 898 w 1151"/>
                <a:gd name="T105" fmla="*/ 1054 h 1298"/>
                <a:gd name="T106" fmla="*/ 790 w 1151"/>
                <a:gd name="T107" fmla="*/ 1024 h 1298"/>
                <a:gd name="T108" fmla="*/ 654 w 1151"/>
                <a:gd name="T109" fmla="*/ 1044 h 1298"/>
                <a:gd name="T110" fmla="*/ 556 w 1151"/>
                <a:gd name="T111" fmla="*/ 1112 h 1298"/>
                <a:gd name="T112" fmla="*/ 478 w 1151"/>
                <a:gd name="T113" fmla="*/ 1200 h 1298"/>
                <a:gd name="T114" fmla="*/ 381 w 1151"/>
                <a:gd name="T115" fmla="*/ 1268 h 1298"/>
                <a:gd name="T116" fmla="*/ 264 w 1151"/>
                <a:gd name="T117" fmla="*/ 1298 h 1298"/>
                <a:gd name="T118" fmla="*/ 127 w 1151"/>
                <a:gd name="T119" fmla="*/ 1220 h 1298"/>
                <a:gd name="T120" fmla="*/ 49 w 1151"/>
                <a:gd name="T121" fmla="*/ 1112 h 1298"/>
                <a:gd name="T122" fmla="*/ 108 w 1151"/>
                <a:gd name="T123" fmla="*/ 976 h 12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1"/>
                <a:gd name="T187" fmla="*/ 0 h 1298"/>
                <a:gd name="T188" fmla="*/ 1151 w 1151"/>
                <a:gd name="T189" fmla="*/ 1298 h 12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1" h="1298">
                  <a:moveTo>
                    <a:pt x="10" y="937"/>
                  </a:moveTo>
                  <a:lnTo>
                    <a:pt x="10" y="917"/>
                  </a:lnTo>
                  <a:lnTo>
                    <a:pt x="0" y="907"/>
                  </a:lnTo>
                  <a:lnTo>
                    <a:pt x="20" y="878"/>
                  </a:lnTo>
                  <a:lnTo>
                    <a:pt x="30" y="868"/>
                  </a:lnTo>
                  <a:lnTo>
                    <a:pt x="30" y="849"/>
                  </a:lnTo>
                  <a:lnTo>
                    <a:pt x="39" y="849"/>
                  </a:lnTo>
                  <a:lnTo>
                    <a:pt x="59" y="849"/>
                  </a:lnTo>
                  <a:lnTo>
                    <a:pt x="69" y="839"/>
                  </a:lnTo>
                  <a:lnTo>
                    <a:pt x="78" y="820"/>
                  </a:lnTo>
                  <a:lnTo>
                    <a:pt x="88" y="810"/>
                  </a:lnTo>
                  <a:lnTo>
                    <a:pt x="108" y="800"/>
                  </a:lnTo>
                  <a:lnTo>
                    <a:pt x="108" y="790"/>
                  </a:lnTo>
                  <a:lnTo>
                    <a:pt x="117" y="781"/>
                  </a:lnTo>
                  <a:lnTo>
                    <a:pt x="117" y="761"/>
                  </a:lnTo>
                  <a:lnTo>
                    <a:pt x="117" y="732"/>
                  </a:lnTo>
                  <a:lnTo>
                    <a:pt x="117" y="722"/>
                  </a:lnTo>
                  <a:lnTo>
                    <a:pt x="127" y="732"/>
                  </a:lnTo>
                  <a:lnTo>
                    <a:pt x="156" y="732"/>
                  </a:lnTo>
                  <a:lnTo>
                    <a:pt x="166" y="742"/>
                  </a:lnTo>
                  <a:lnTo>
                    <a:pt x="186" y="742"/>
                  </a:lnTo>
                  <a:lnTo>
                    <a:pt x="186" y="732"/>
                  </a:lnTo>
                  <a:lnTo>
                    <a:pt x="195" y="722"/>
                  </a:lnTo>
                  <a:lnTo>
                    <a:pt x="215" y="722"/>
                  </a:lnTo>
                  <a:lnTo>
                    <a:pt x="234" y="722"/>
                  </a:lnTo>
                  <a:lnTo>
                    <a:pt x="244" y="732"/>
                  </a:lnTo>
                  <a:lnTo>
                    <a:pt x="254" y="722"/>
                  </a:lnTo>
                  <a:lnTo>
                    <a:pt x="264" y="722"/>
                  </a:lnTo>
                  <a:lnTo>
                    <a:pt x="264" y="702"/>
                  </a:lnTo>
                  <a:lnTo>
                    <a:pt x="273" y="693"/>
                  </a:lnTo>
                  <a:lnTo>
                    <a:pt x="264" y="683"/>
                  </a:lnTo>
                  <a:lnTo>
                    <a:pt x="254" y="673"/>
                  </a:lnTo>
                  <a:lnTo>
                    <a:pt x="254" y="663"/>
                  </a:lnTo>
                  <a:lnTo>
                    <a:pt x="244" y="663"/>
                  </a:lnTo>
                  <a:lnTo>
                    <a:pt x="244" y="654"/>
                  </a:lnTo>
                  <a:lnTo>
                    <a:pt x="225" y="65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95" y="654"/>
                  </a:lnTo>
                  <a:lnTo>
                    <a:pt x="176" y="654"/>
                  </a:lnTo>
                  <a:lnTo>
                    <a:pt x="176" y="644"/>
                  </a:lnTo>
                  <a:lnTo>
                    <a:pt x="176" y="634"/>
                  </a:lnTo>
                  <a:lnTo>
                    <a:pt x="156" y="624"/>
                  </a:lnTo>
                  <a:lnTo>
                    <a:pt x="137" y="624"/>
                  </a:lnTo>
                  <a:lnTo>
                    <a:pt x="137" y="615"/>
                  </a:lnTo>
                  <a:lnTo>
                    <a:pt x="147" y="605"/>
                  </a:lnTo>
                  <a:lnTo>
                    <a:pt x="156" y="595"/>
                  </a:lnTo>
                  <a:lnTo>
                    <a:pt x="166" y="585"/>
                  </a:lnTo>
                  <a:lnTo>
                    <a:pt x="176" y="585"/>
                  </a:lnTo>
                  <a:lnTo>
                    <a:pt x="176" y="576"/>
                  </a:lnTo>
                  <a:lnTo>
                    <a:pt x="186" y="566"/>
                  </a:lnTo>
                  <a:lnTo>
                    <a:pt x="195" y="546"/>
                  </a:lnTo>
                  <a:lnTo>
                    <a:pt x="205" y="546"/>
                  </a:lnTo>
                  <a:lnTo>
                    <a:pt x="215" y="546"/>
                  </a:lnTo>
                  <a:lnTo>
                    <a:pt x="234" y="546"/>
                  </a:lnTo>
                  <a:lnTo>
                    <a:pt x="234" y="527"/>
                  </a:lnTo>
                  <a:lnTo>
                    <a:pt x="215" y="527"/>
                  </a:lnTo>
                  <a:lnTo>
                    <a:pt x="234" y="527"/>
                  </a:lnTo>
                  <a:lnTo>
                    <a:pt x="234" y="507"/>
                  </a:lnTo>
                  <a:lnTo>
                    <a:pt x="234" y="498"/>
                  </a:lnTo>
                  <a:lnTo>
                    <a:pt x="244" y="478"/>
                  </a:lnTo>
                  <a:lnTo>
                    <a:pt x="254" y="468"/>
                  </a:lnTo>
                  <a:lnTo>
                    <a:pt x="264" y="459"/>
                  </a:lnTo>
                  <a:lnTo>
                    <a:pt x="273" y="449"/>
                  </a:lnTo>
                  <a:lnTo>
                    <a:pt x="273" y="439"/>
                  </a:lnTo>
                  <a:lnTo>
                    <a:pt x="254" y="449"/>
                  </a:lnTo>
                  <a:lnTo>
                    <a:pt x="254" y="439"/>
                  </a:lnTo>
                  <a:lnTo>
                    <a:pt x="264" y="439"/>
                  </a:lnTo>
                  <a:lnTo>
                    <a:pt x="283" y="429"/>
                  </a:lnTo>
                  <a:lnTo>
                    <a:pt x="303" y="420"/>
                  </a:lnTo>
                  <a:lnTo>
                    <a:pt x="312" y="410"/>
                  </a:lnTo>
                  <a:lnTo>
                    <a:pt x="332" y="390"/>
                  </a:lnTo>
                  <a:lnTo>
                    <a:pt x="351" y="390"/>
                  </a:lnTo>
                  <a:lnTo>
                    <a:pt x="351" y="371"/>
                  </a:lnTo>
                  <a:lnTo>
                    <a:pt x="351" y="361"/>
                  </a:lnTo>
                  <a:lnTo>
                    <a:pt x="361" y="361"/>
                  </a:lnTo>
                  <a:lnTo>
                    <a:pt x="381" y="351"/>
                  </a:lnTo>
                  <a:lnTo>
                    <a:pt x="371" y="361"/>
                  </a:lnTo>
                  <a:lnTo>
                    <a:pt x="371" y="371"/>
                  </a:lnTo>
                  <a:lnTo>
                    <a:pt x="381" y="371"/>
                  </a:lnTo>
                  <a:lnTo>
                    <a:pt x="400" y="351"/>
                  </a:lnTo>
                  <a:lnTo>
                    <a:pt x="410" y="341"/>
                  </a:lnTo>
                  <a:lnTo>
                    <a:pt x="430" y="341"/>
                  </a:lnTo>
                  <a:lnTo>
                    <a:pt x="449" y="322"/>
                  </a:lnTo>
                  <a:lnTo>
                    <a:pt x="459" y="312"/>
                  </a:lnTo>
                  <a:lnTo>
                    <a:pt x="469" y="312"/>
                  </a:lnTo>
                  <a:lnTo>
                    <a:pt x="478" y="302"/>
                  </a:lnTo>
                  <a:lnTo>
                    <a:pt x="498" y="302"/>
                  </a:lnTo>
                  <a:lnTo>
                    <a:pt x="508" y="293"/>
                  </a:lnTo>
                  <a:lnTo>
                    <a:pt x="517" y="293"/>
                  </a:lnTo>
                  <a:lnTo>
                    <a:pt x="527" y="283"/>
                  </a:lnTo>
                  <a:lnTo>
                    <a:pt x="537" y="283"/>
                  </a:lnTo>
                  <a:lnTo>
                    <a:pt x="547" y="273"/>
                  </a:lnTo>
                  <a:lnTo>
                    <a:pt x="556" y="273"/>
                  </a:lnTo>
                  <a:lnTo>
                    <a:pt x="556" y="254"/>
                  </a:lnTo>
                  <a:lnTo>
                    <a:pt x="566" y="254"/>
                  </a:lnTo>
                  <a:lnTo>
                    <a:pt x="576" y="244"/>
                  </a:lnTo>
                  <a:lnTo>
                    <a:pt x="586" y="244"/>
                  </a:lnTo>
                  <a:lnTo>
                    <a:pt x="595" y="254"/>
                  </a:lnTo>
                  <a:lnTo>
                    <a:pt x="605" y="244"/>
                  </a:lnTo>
                  <a:lnTo>
                    <a:pt x="615" y="234"/>
                  </a:lnTo>
                  <a:lnTo>
                    <a:pt x="615" y="224"/>
                  </a:lnTo>
                  <a:lnTo>
                    <a:pt x="625" y="224"/>
                  </a:lnTo>
                  <a:lnTo>
                    <a:pt x="634" y="234"/>
                  </a:lnTo>
                  <a:lnTo>
                    <a:pt x="644" y="224"/>
                  </a:lnTo>
                  <a:lnTo>
                    <a:pt x="654" y="224"/>
                  </a:lnTo>
                  <a:lnTo>
                    <a:pt x="644" y="224"/>
                  </a:lnTo>
                  <a:lnTo>
                    <a:pt x="634" y="224"/>
                  </a:lnTo>
                  <a:lnTo>
                    <a:pt x="625" y="215"/>
                  </a:lnTo>
                  <a:lnTo>
                    <a:pt x="634" y="215"/>
                  </a:lnTo>
                  <a:lnTo>
                    <a:pt x="644" y="195"/>
                  </a:lnTo>
                  <a:lnTo>
                    <a:pt x="664" y="195"/>
                  </a:lnTo>
                  <a:lnTo>
                    <a:pt x="683" y="205"/>
                  </a:lnTo>
                  <a:lnTo>
                    <a:pt x="673" y="195"/>
                  </a:lnTo>
                  <a:lnTo>
                    <a:pt x="683" y="185"/>
                  </a:lnTo>
                  <a:lnTo>
                    <a:pt x="703" y="185"/>
                  </a:lnTo>
                  <a:lnTo>
                    <a:pt x="703" y="195"/>
                  </a:lnTo>
                  <a:lnTo>
                    <a:pt x="712" y="205"/>
                  </a:lnTo>
                  <a:lnTo>
                    <a:pt x="732" y="205"/>
                  </a:lnTo>
                  <a:lnTo>
                    <a:pt x="751" y="195"/>
                  </a:lnTo>
                  <a:lnTo>
                    <a:pt x="761" y="205"/>
                  </a:lnTo>
                  <a:lnTo>
                    <a:pt x="761" y="215"/>
                  </a:lnTo>
                  <a:lnTo>
                    <a:pt x="781" y="215"/>
                  </a:lnTo>
                  <a:lnTo>
                    <a:pt x="781" y="205"/>
                  </a:lnTo>
                  <a:lnTo>
                    <a:pt x="800" y="205"/>
                  </a:lnTo>
                  <a:lnTo>
                    <a:pt x="810" y="205"/>
                  </a:lnTo>
                  <a:lnTo>
                    <a:pt x="800" y="205"/>
                  </a:lnTo>
                  <a:lnTo>
                    <a:pt x="800" y="195"/>
                  </a:lnTo>
                  <a:lnTo>
                    <a:pt x="810" y="185"/>
                  </a:lnTo>
                  <a:lnTo>
                    <a:pt x="820" y="195"/>
                  </a:lnTo>
                  <a:lnTo>
                    <a:pt x="820" y="176"/>
                  </a:lnTo>
                  <a:lnTo>
                    <a:pt x="810" y="176"/>
                  </a:lnTo>
                  <a:lnTo>
                    <a:pt x="800" y="185"/>
                  </a:lnTo>
                  <a:lnTo>
                    <a:pt x="790" y="185"/>
                  </a:lnTo>
                  <a:lnTo>
                    <a:pt x="781" y="176"/>
                  </a:lnTo>
                  <a:lnTo>
                    <a:pt x="761" y="176"/>
                  </a:lnTo>
                  <a:lnTo>
                    <a:pt x="751" y="176"/>
                  </a:lnTo>
                  <a:lnTo>
                    <a:pt x="742" y="176"/>
                  </a:lnTo>
                  <a:lnTo>
                    <a:pt x="722" y="185"/>
                  </a:lnTo>
                  <a:lnTo>
                    <a:pt x="722" y="176"/>
                  </a:lnTo>
                  <a:lnTo>
                    <a:pt x="732" y="156"/>
                  </a:lnTo>
                  <a:lnTo>
                    <a:pt x="732" y="146"/>
                  </a:lnTo>
                  <a:lnTo>
                    <a:pt x="742" y="137"/>
                  </a:lnTo>
                  <a:lnTo>
                    <a:pt x="751" y="137"/>
                  </a:lnTo>
                  <a:lnTo>
                    <a:pt x="761" y="137"/>
                  </a:lnTo>
                  <a:lnTo>
                    <a:pt x="761" y="127"/>
                  </a:lnTo>
                  <a:lnTo>
                    <a:pt x="771" y="117"/>
                  </a:lnTo>
                  <a:lnTo>
                    <a:pt x="771" y="107"/>
                  </a:lnTo>
                  <a:lnTo>
                    <a:pt x="761" y="117"/>
                  </a:lnTo>
                  <a:lnTo>
                    <a:pt x="751" y="117"/>
                  </a:lnTo>
                  <a:lnTo>
                    <a:pt x="761" y="98"/>
                  </a:lnTo>
                  <a:lnTo>
                    <a:pt x="771" y="68"/>
                  </a:lnTo>
                  <a:lnTo>
                    <a:pt x="781" y="68"/>
                  </a:lnTo>
                  <a:lnTo>
                    <a:pt x="800" y="68"/>
                  </a:lnTo>
                  <a:lnTo>
                    <a:pt x="810" y="59"/>
                  </a:lnTo>
                  <a:lnTo>
                    <a:pt x="829" y="59"/>
                  </a:lnTo>
                  <a:lnTo>
                    <a:pt x="849" y="49"/>
                  </a:lnTo>
                  <a:lnTo>
                    <a:pt x="859" y="39"/>
                  </a:lnTo>
                  <a:lnTo>
                    <a:pt x="868" y="39"/>
                  </a:lnTo>
                  <a:lnTo>
                    <a:pt x="868" y="29"/>
                  </a:lnTo>
                  <a:lnTo>
                    <a:pt x="878" y="29"/>
                  </a:lnTo>
                  <a:lnTo>
                    <a:pt x="888" y="29"/>
                  </a:lnTo>
                  <a:lnTo>
                    <a:pt x="888" y="20"/>
                  </a:lnTo>
                  <a:lnTo>
                    <a:pt x="888" y="0"/>
                  </a:lnTo>
                  <a:lnTo>
                    <a:pt x="907" y="10"/>
                  </a:lnTo>
                  <a:lnTo>
                    <a:pt x="907" y="29"/>
                  </a:lnTo>
                  <a:lnTo>
                    <a:pt x="907" y="39"/>
                  </a:lnTo>
                  <a:lnTo>
                    <a:pt x="917" y="49"/>
                  </a:lnTo>
                  <a:lnTo>
                    <a:pt x="937" y="59"/>
                  </a:lnTo>
                  <a:lnTo>
                    <a:pt x="946" y="59"/>
                  </a:lnTo>
                  <a:lnTo>
                    <a:pt x="937" y="78"/>
                  </a:lnTo>
                  <a:lnTo>
                    <a:pt x="917" y="88"/>
                  </a:lnTo>
                  <a:lnTo>
                    <a:pt x="927" y="88"/>
                  </a:lnTo>
                  <a:lnTo>
                    <a:pt x="946" y="78"/>
                  </a:lnTo>
                  <a:lnTo>
                    <a:pt x="956" y="88"/>
                  </a:lnTo>
                  <a:lnTo>
                    <a:pt x="946" y="88"/>
                  </a:lnTo>
                  <a:lnTo>
                    <a:pt x="946" y="117"/>
                  </a:lnTo>
                  <a:lnTo>
                    <a:pt x="937" y="127"/>
                  </a:lnTo>
                  <a:lnTo>
                    <a:pt x="927" y="137"/>
                  </a:lnTo>
                  <a:lnTo>
                    <a:pt x="917" y="137"/>
                  </a:lnTo>
                  <a:lnTo>
                    <a:pt x="917" y="146"/>
                  </a:lnTo>
                  <a:lnTo>
                    <a:pt x="917" y="137"/>
                  </a:lnTo>
                  <a:lnTo>
                    <a:pt x="937" y="137"/>
                  </a:lnTo>
                  <a:lnTo>
                    <a:pt x="946" y="146"/>
                  </a:lnTo>
                  <a:lnTo>
                    <a:pt x="946" y="137"/>
                  </a:lnTo>
                  <a:lnTo>
                    <a:pt x="956" y="137"/>
                  </a:lnTo>
                  <a:lnTo>
                    <a:pt x="956" y="156"/>
                  </a:lnTo>
                  <a:lnTo>
                    <a:pt x="966" y="156"/>
                  </a:lnTo>
                  <a:lnTo>
                    <a:pt x="966" y="146"/>
                  </a:lnTo>
                  <a:lnTo>
                    <a:pt x="986" y="146"/>
                  </a:lnTo>
                  <a:lnTo>
                    <a:pt x="1005" y="156"/>
                  </a:lnTo>
                  <a:lnTo>
                    <a:pt x="1005" y="176"/>
                  </a:lnTo>
                  <a:lnTo>
                    <a:pt x="1005" y="185"/>
                  </a:lnTo>
                  <a:lnTo>
                    <a:pt x="995" y="195"/>
                  </a:lnTo>
                  <a:lnTo>
                    <a:pt x="1005" y="205"/>
                  </a:lnTo>
                  <a:lnTo>
                    <a:pt x="1005" y="195"/>
                  </a:lnTo>
                  <a:lnTo>
                    <a:pt x="1005" y="185"/>
                  </a:lnTo>
                  <a:lnTo>
                    <a:pt x="1025" y="195"/>
                  </a:lnTo>
                  <a:lnTo>
                    <a:pt x="1044" y="185"/>
                  </a:lnTo>
                  <a:lnTo>
                    <a:pt x="1044" y="176"/>
                  </a:lnTo>
                  <a:lnTo>
                    <a:pt x="1064" y="176"/>
                  </a:lnTo>
                  <a:lnTo>
                    <a:pt x="1064" y="185"/>
                  </a:lnTo>
                  <a:lnTo>
                    <a:pt x="1044" y="195"/>
                  </a:lnTo>
                  <a:lnTo>
                    <a:pt x="1044" y="205"/>
                  </a:lnTo>
                  <a:lnTo>
                    <a:pt x="1064" y="195"/>
                  </a:lnTo>
                  <a:lnTo>
                    <a:pt x="1064" y="215"/>
                  </a:lnTo>
                  <a:lnTo>
                    <a:pt x="1064" y="224"/>
                  </a:lnTo>
                  <a:lnTo>
                    <a:pt x="1054" y="224"/>
                  </a:lnTo>
                  <a:lnTo>
                    <a:pt x="1044" y="215"/>
                  </a:lnTo>
                  <a:lnTo>
                    <a:pt x="1025" y="224"/>
                  </a:lnTo>
                  <a:lnTo>
                    <a:pt x="1034" y="224"/>
                  </a:lnTo>
                  <a:lnTo>
                    <a:pt x="1044" y="234"/>
                  </a:lnTo>
                  <a:lnTo>
                    <a:pt x="1054" y="244"/>
                  </a:lnTo>
                  <a:lnTo>
                    <a:pt x="1044" y="244"/>
                  </a:lnTo>
                  <a:lnTo>
                    <a:pt x="1034" y="254"/>
                  </a:lnTo>
                  <a:lnTo>
                    <a:pt x="1015" y="254"/>
                  </a:lnTo>
                  <a:lnTo>
                    <a:pt x="1005" y="263"/>
                  </a:lnTo>
                  <a:lnTo>
                    <a:pt x="995" y="273"/>
                  </a:lnTo>
                  <a:lnTo>
                    <a:pt x="976" y="283"/>
                  </a:lnTo>
                  <a:lnTo>
                    <a:pt x="976" y="293"/>
                  </a:lnTo>
                  <a:lnTo>
                    <a:pt x="976" y="302"/>
                  </a:lnTo>
                  <a:lnTo>
                    <a:pt x="966" y="302"/>
                  </a:lnTo>
                  <a:lnTo>
                    <a:pt x="956" y="312"/>
                  </a:lnTo>
                  <a:lnTo>
                    <a:pt x="937" y="322"/>
                  </a:lnTo>
                  <a:lnTo>
                    <a:pt x="927" y="312"/>
                  </a:lnTo>
                  <a:lnTo>
                    <a:pt x="917" y="312"/>
                  </a:lnTo>
                  <a:lnTo>
                    <a:pt x="907" y="312"/>
                  </a:lnTo>
                  <a:lnTo>
                    <a:pt x="898" y="302"/>
                  </a:lnTo>
                  <a:lnTo>
                    <a:pt x="888" y="302"/>
                  </a:lnTo>
                  <a:lnTo>
                    <a:pt x="878" y="312"/>
                  </a:lnTo>
                  <a:lnTo>
                    <a:pt x="868" y="332"/>
                  </a:lnTo>
                  <a:lnTo>
                    <a:pt x="859" y="341"/>
                  </a:lnTo>
                  <a:lnTo>
                    <a:pt x="859" y="351"/>
                  </a:lnTo>
                  <a:lnTo>
                    <a:pt x="859" y="361"/>
                  </a:lnTo>
                  <a:lnTo>
                    <a:pt x="859" y="381"/>
                  </a:lnTo>
                  <a:lnTo>
                    <a:pt x="849" y="400"/>
                  </a:lnTo>
                  <a:lnTo>
                    <a:pt x="839" y="410"/>
                  </a:lnTo>
                  <a:lnTo>
                    <a:pt x="829" y="410"/>
                  </a:lnTo>
                  <a:lnTo>
                    <a:pt x="820" y="410"/>
                  </a:lnTo>
                  <a:lnTo>
                    <a:pt x="810" y="410"/>
                  </a:lnTo>
                  <a:lnTo>
                    <a:pt x="771" y="410"/>
                  </a:lnTo>
                  <a:lnTo>
                    <a:pt x="781" y="400"/>
                  </a:lnTo>
                  <a:lnTo>
                    <a:pt x="771" y="400"/>
                  </a:lnTo>
                  <a:lnTo>
                    <a:pt x="761" y="390"/>
                  </a:lnTo>
                  <a:lnTo>
                    <a:pt x="751" y="381"/>
                  </a:lnTo>
                  <a:lnTo>
                    <a:pt x="751" y="390"/>
                  </a:lnTo>
                  <a:lnTo>
                    <a:pt x="761" y="400"/>
                  </a:lnTo>
                  <a:lnTo>
                    <a:pt x="761" y="410"/>
                  </a:lnTo>
                  <a:lnTo>
                    <a:pt x="751" y="410"/>
                  </a:lnTo>
                  <a:lnTo>
                    <a:pt x="742" y="420"/>
                  </a:lnTo>
                  <a:lnTo>
                    <a:pt x="732" y="429"/>
                  </a:lnTo>
                  <a:lnTo>
                    <a:pt x="742" y="429"/>
                  </a:lnTo>
                  <a:lnTo>
                    <a:pt x="751" y="420"/>
                  </a:lnTo>
                  <a:lnTo>
                    <a:pt x="761" y="429"/>
                  </a:lnTo>
                  <a:lnTo>
                    <a:pt x="761" y="439"/>
                  </a:lnTo>
                  <a:lnTo>
                    <a:pt x="751" y="439"/>
                  </a:lnTo>
                  <a:lnTo>
                    <a:pt x="761" y="449"/>
                  </a:lnTo>
                  <a:lnTo>
                    <a:pt x="771" y="449"/>
                  </a:lnTo>
                  <a:lnTo>
                    <a:pt x="781" y="459"/>
                  </a:lnTo>
                  <a:lnTo>
                    <a:pt x="790" y="459"/>
                  </a:lnTo>
                  <a:lnTo>
                    <a:pt x="810" y="449"/>
                  </a:lnTo>
                  <a:lnTo>
                    <a:pt x="820" y="449"/>
                  </a:lnTo>
                  <a:lnTo>
                    <a:pt x="829" y="459"/>
                  </a:lnTo>
                  <a:lnTo>
                    <a:pt x="829" y="468"/>
                  </a:lnTo>
                  <a:lnTo>
                    <a:pt x="820" y="468"/>
                  </a:lnTo>
                  <a:lnTo>
                    <a:pt x="820" y="488"/>
                  </a:lnTo>
                  <a:lnTo>
                    <a:pt x="829" y="488"/>
                  </a:lnTo>
                  <a:lnTo>
                    <a:pt x="829" y="478"/>
                  </a:lnTo>
                  <a:lnTo>
                    <a:pt x="839" y="468"/>
                  </a:lnTo>
                  <a:lnTo>
                    <a:pt x="849" y="468"/>
                  </a:lnTo>
                  <a:lnTo>
                    <a:pt x="849" y="478"/>
                  </a:lnTo>
                  <a:lnTo>
                    <a:pt x="859" y="488"/>
                  </a:lnTo>
                  <a:lnTo>
                    <a:pt x="859" y="507"/>
                  </a:lnTo>
                  <a:lnTo>
                    <a:pt x="868" y="517"/>
                  </a:lnTo>
                  <a:lnTo>
                    <a:pt x="878" y="527"/>
                  </a:lnTo>
                  <a:lnTo>
                    <a:pt x="878" y="546"/>
                  </a:lnTo>
                  <a:lnTo>
                    <a:pt x="878" y="556"/>
                  </a:lnTo>
                  <a:lnTo>
                    <a:pt x="888" y="585"/>
                  </a:lnTo>
                  <a:lnTo>
                    <a:pt x="878" y="585"/>
                  </a:lnTo>
                  <a:lnTo>
                    <a:pt x="868" y="595"/>
                  </a:lnTo>
                  <a:lnTo>
                    <a:pt x="868" y="605"/>
                  </a:lnTo>
                  <a:lnTo>
                    <a:pt x="859" y="615"/>
                  </a:lnTo>
                  <a:lnTo>
                    <a:pt x="839" y="624"/>
                  </a:lnTo>
                  <a:lnTo>
                    <a:pt x="829" y="624"/>
                  </a:lnTo>
                  <a:lnTo>
                    <a:pt x="810" y="624"/>
                  </a:lnTo>
                  <a:lnTo>
                    <a:pt x="800" y="624"/>
                  </a:lnTo>
                  <a:lnTo>
                    <a:pt x="800" y="644"/>
                  </a:lnTo>
                  <a:lnTo>
                    <a:pt x="800" y="654"/>
                  </a:lnTo>
                  <a:lnTo>
                    <a:pt x="790" y="654"/>
                  </a:lnTo>
                  <a:lnTo>
                    <a:pt x="790" y="663"/>
                  </a:lnTo>
                  <a:lnTo>
                    <a:pt x="800" y="654"/>
                  </a:lnTo>
                  <a:lnTo>
                    <a:pt x="800" y="644"/>
                  </a:lnTo>
                  <a:lnTo>
                    <a:pt x="810" y="634"/>
                  </a:lnTo>
                  <a:lnTo>
                    <a:pt x="820" y="634"/>
                  </a:lnTo>
                  <a:lnTo>
                    <a:pt x="829" y="634"/>
                  </a:lnTo>
                  <a:lnTo>
                    <a:pt x="829" y="644"/>
                  </a:lnTo>
                  <a:lnTo>
                    <a:pt x="829" y="654"/>
                  </a:lnTo>
                  <a:lnTo>
                    <a:pt x="820" y="654"/>
                  </a:lnTo>
                  <a:lnTo>
                    <a:pt x="820" y="663"/>
                  </a:lnTo>
                  <a:lnTo>
                    <a:pt x="810" y="663"/>
                  </a:lnTo>
                  <a:lnTo>
                    <a:pt x="800" y="673"/>
                  </a:lnTo>
                  <a:lnTo>
                    <a:pt x="800" y="683"/>
                  </a:lnTo>
                  <a:lnTo>
                    <a:pt x="820" y="673"/>
                  </a:lnTo>
                  <a:lnTo>
                    <a:pt x="829" y="683"/>
                  </a:lnTo>
                  <a:lnTo>
                    <a:pt x="839" y="683"/>
                  </a:lnTo>
                  <a:lnTo>
                    <a:pt x="839" y="663"/>
                  </a:lnTo>
                  <a:lnTo>
                    <a:pt x="849" y="673"/>
                  </a:lnTo>
                  <a:lnTo>
                    <a:pt x="849" y="663"/>
                  </a:lnTo>
                  <a:lnTo>
                    <a:pt x="849" y="654"/>
                  </a:lnTo>
                  <a:lnTo>
                    <a:pt x="849" y="644"/>
                  </a:lnTo>
                  <a:lnTo>
                    <a:pt x="859" y="634"/>
                  </a:lnTo>
                  <a:lnTo>
                    <a:pt x="868" y="644"/>
                  </a:lnTo>
                  <a:lnTo>
                    <a:pt x="888" y="644"/>
                  </a:lnTo>
                  <a:lnTo>
                    <a:pt x="907" y="634"/>
                  </a:lnTo>
                  <a:lnTo>
                    <a:pt x="917" y="634"/>
                  </a:lnTo>
                  <a:lnTo>
                    <a:pt x="917" y="624"/>
                  </a:lnTo>
                  <a:lnTo>
                    <a:pt x="917" y="615"/>
                  </a:lnTo>
                  <a:lnTo>
                    <a:pt x="917" y="605"/>
                  </a:lnTo>
                  <a:lnTo>
                    <a:pt x="946" y="605"/>
                  </a:lnTo>
                  <a:lnTo>
                    <a:pt x="946" y="624"/>
                  </a:lnTo>
                  <a:lnTo>
                    <a:pt x="956" y="615"/>
                  </a:lnTo>
                  <a:lnTo>
                    <a:pt x="966" y="605"/>
                  </a:lnTo>
                  <a:lnTo>
                    <a:pt x="986" y="615"/>
                  </a:lnTo>
                  <a:lnTo>
                    <a:pt x="995" y="624"/>
                  </a:lnTo>
                  <a:lnTo>
                    <a:pt x="995" y="644"/>
                  </a:lnTo>
                  <a:lnTo>
                    <a:pt x="1005" y="644"/>
                  </a:lnTo>
                  <a:lnTo>
                    <a:pt x="1005" y="634"/>
                  </a:lnTo>
                  <a:lnTo>
                    <a:pt x="1005" y="624"/>
                  </a:lnTo>
                  <a:lnTo>
                    <a:pt x="1005" y="634"/>
                  </a:lnTo>
                  <a:lnTo>
                    <a:pt x="1015" y="634"/>
                  </a:lnTo>
                  <a:lnTo>
                    <a:pt x="1025" y="624"/>
                  </a:lnTo>
                  <a:lnTo>
                    <a:pt x="1034" y="624"/>
                  </a:lnTo>
                  <a:lnTo>
                    <a:pt x="1044" y="615"/>
                  </a:lnTo>
                  <a:lnTo>
                    <a:pt x="1064" y="605"/>
                  </a:lnTo>
                  <a:lnTo>
                    <a:pt x="1073" y="615"/>
                  </a:lnTo>
                  <a:lnTo>
                    <a:pt x="1064" y="634"/>
                  </a:lnTo>
                  <a:lnTo>
                    <a:pt x="1083" y="634"/>
                  </a:lnTo>
                  <a:lnTo>
                    <a:pt x="1083" y="624"/>
                  </a:lnTo>
                  <a:lnTo>
                    <a:pt x="1093" y="624"/>
                  </a:lnTo>
                  <a:lnTo>
                    <a:pt x="1103" y="615"/>
                  </a:lnTo>
                  <a:lnTo>
                    <a:pt x="1112" y="624"/>
                  </a:lnTo>
                  <a:lnTo>
                    <a:pt x="1122" y="624"/>
                  </a:lnTo>
                  <a:lnTo>
                    <a:pt x="1122" y="634"/>
                  </a:lnTo>
                  <a:lnTo>
                    <a:pt x="1132" y="634"/>
                  </a:lnTo>
                  <a:lnTo>
                    <a:pt x="1132" y="644"/>
                  </a:lnTo>
                  <a:lnTo>
                    <a:pt x="1122" y="654"/>
                  </a:lnTo>
                  <a:lnTo>
                    <a:pt x="1142" y="654"/>
                  </a:lnTo>
                  <a:lnTo>
                    <a:pt x="1151" y="654"/>
                  </a:lnTo>
                  <a:lnTo>
                    <a:pt x="1151" y="663"/>
                  </a:lnTo>
                  <a:lnTo>
                    <a:pt x="1142" y="663"/>
                  </a:lnTo>
                  <a:lnTo>
                    <a:pt x="1132" y="683"/>
                  </a:lnTo>
                  <a:lnTo>
                    <a:pt x="1103" y="693"/>
                  </a:lnTo>
                  <a:lnTo>
                    <a:pt x="1103" y="702"/>
                  </a:lnTo>
                  <a:lnTo>
                    <a:pt x="1093" y="712"/>
                  </a:lnTo>
                  <a:lnTo>
                    <a:pt x="1083" y="712"/>
                  </a:lnTo>
                  <a:lnTo>
                    <a:pt x="1083" y="722"/>
                  </a:lnTo>
                  <a:lnTo>
                    <a:pt x="1083" y="732"/>
                  </a:lnTo>
                  <a:lnTo>
                    <a:pt x="1073" y="732"/>
                  </a:lnTo>
                  <a:lnTo>
                    <a:pt x="1064" y="722"/>
                  </a:lnTo>
                  <a:lnTo>
                    <a:pt x="1054" y="722"/>
                  </a:lnTo>
                  <a:lnTo>
                    <a:pt x="1064" y="722"/>
                  </a:lnTo>
                  <a:lnTo>
                    <a:pt x="1064" y="732"/>
                  </a:lnTo>
                  <a:lnTo>
                    <a:pt x="1044" y="732"/>
                  </a:lnTo>
                  <a:lnTo>
                    <a:pt x="1044" y="742"/>
                  </a:lnTo>
                  <a:lnTo>
                    <a:pt x="1064" y="742"/>
                  </a:lnTo>
                  <a:lnTo>
                    <a:pt x="1073" y="742"/>
                  </a:lnTo>
                  <a:lnTo>
                    <a:pt x="1073" y="761"/>
                  </a:lnTo>
                  <a:lnTo>
                    <a:pt x="1073" y="771"/>
                  </a:lnTo>
                  <a:lnTo>
                    <a:pt x="1083" y="771"/>
                  </a:lnTo>
                  <a:lnTo>
                    <a:pt x="1083" y="790"/>
                  </a:lnTo>
                  <a:lnTo>
                    <a:pt x="1083" y="820"/>
                  </a:lnTo>
                  <a:lnTo>
                    <a:pt x="1083" y="839"/>
                  </a:lnTo>
                  <a:lnTo>
                    <a:pt x="1093" y="849"/>
                  </a:lnTo>
                  <a:lnTo>
                    <a:pt x="1083" y="849"/>
                  </a:lnTo>
                  <a:lnTo>
                    <a:pt x="1093" y="859"/>
                  </a:lnTo>
                  <a:lnTo>
                    <a:pt x="1093" y="868"/>
                  </a:lnTo>
                  <a:lnTo>
                    <a:pt x="1093" y="888"/>
                  </a:lnTo>
                  <a:lnTo>
                    <a:pt x="1083" y="888"/>
                  </a:lnTo>
                  <a:lnTo>
                    <a:pt x="1103" y="898"/>
                  </a:lnTo>
                  <a:lnTo>
                    <a:pt x="1083" y="898"/>
                  </a:lnTo>
                  <a:lnTo>
                    <a:pt x="1073" y="898"/>
                  </a:lnTo>
                  <a:lnTo>
                    <a:pt x="1064" y="898"/>
                  </a:lnTo>
                  <a:lnTo>
                    <a:pt x="1034" y="907"/>
                  </a:lnTo>
                  <a:lnTo>
                    <a:pt x="1025" y="907"/>
                  </a:lnTo>
                  <a:lnTo>
                    <a:pt x="1025" y="888"/>
                  </a:lnTo>
                  <a:lnTo>
                    <a:pt x="1015" y="898"/>
                  </a:lnTo>
                  <a:lnTo>
                    <a:pt x="1005" y="898"/>
                  </a:lnTo>
                  <a:lnTo>
                    <a:pt x="1005" y="907"/>
                  </a:lnTo>
                  <a:lnTo>
                    <a:pt x="995" y="937"/>
                  </a:lnTo>
                  <a:lnTo>
                    <a:pt x="995" y="956"/>
                  </a:lnTo>
                  <a:lnTo>
                    <a:pt x="976" y="956"/>
                  </a:lnTo>
                  <a:lnTo>
                    <a:pt x="966" y="976"/>
                  </a:lnTo>
                  <a:lnTo>
                    <a:pt x="966" y="995"/>
                  </a:lnTo>
                  <a:lnTo>
                    <a:pt x="956" y="1015"/>
                  </a:lnTo>
                  <a:lnTo>
                    <a:pt x="956" y="1034"/>
                  </a:lnTo>
                  <a:lnTo>
                    <a:pt x="946" y="1063"/>
                  </a:lnTo>
                  <a:lnTo>
                    <a:pt x="946" y="1073"/>
                  </a:lnTo>
                  <a:lnTo>
                    <a:pt x="927" y="1073"/>
                  </a:lnTo>
                  <a:lnTo>
                    <a:pt x="917" y="1063"/>
                  </a:lnTo>
                  <a:lnTo>
                    <a:pt x="898" y="1054"/>
                  </a:lnTo>
                  <a:lnTo>
                    <a:pt x="878" y="1063"/>
                  </a:lnTo>
                  <a:lnTo>
                    <a:pt x="849" y="1083"/>
                  </a:lnTo>
                  <a:lnTo>
                    <a:pt x="820" y="1093"/>
                  </a:lnTo>
                  <a:lnTo>
                    <a:pt x="820" y="1112"/>
                  </a:lnTo>
                  <a:lnTo>
                    <a:pt x="800" y="1112"/>
                  </a:lnTo>
                  <a:lnTo>
                    <a:pt x="800" y="1083"/>
                  </a:lnTo>
                  <a:lnTo>
                    <a:pt x="790" y="1044"/>
                  </a:lnTo>
                  <a:lnTo>
                    <a:pt x="790" y="1024"/>
                  </a:lnTo>
                  <a:lnTo>
                    <a:pt x="781" y="1015"/>
                  </a:lnTo>
                  <a:lnTo>
                    <a:pt x="751" y="1015"/>
                  </a:lnTo>
                  <a:lnTo>
                    <a:pt x="742" y="1034"/>
                  </a:lnTo>
                  <a:lnTo>
                    <a:pt x="722" y="1034"/>
                  </a:lnTo>
                  <a:lnTo>
                    <a:pt x="693" y="1024"/>
                  </a:lnTo>
                  <a:lnTo>
                    <a:pt x="673" y="1024"/>
                  </a:lnTo>
                  <a:lnTo>
                    <a:pt x="654" y="1034"/>
                  </a:lnTo>
                  <a:lnTo>
                    <a:pt x="654" y="1044"/>
                  </a:lnTo>
                  <a:lnTo>
                    <a:pt x="634" y="1063"/>
                  </a:lnTo>
                  <a:lnTo>
                    <a:pt x="615" y="1063"/>
                  </a:lnTo>
                  <a:lnTo>
                    <a:pt x="615" y="1093"/>
                  </a:lnTo>
                  <a:lnTo>
                    <a:pt x="586" y="1112"/>
                  </a:lnTo>
                  <a:lnTo>
                    <a:pt x="586" y="1132"/>
                  </a:lnTo>
                  <a:lnTo>
                    <a:pt x="566" y="1132"/>
                  </a:lnTo>
                  <a:lnTo>
                    <a:pt x="566" y="1112"/>
                  </a:lnTo>
                  <a:lnTo>
                    <a:pt x="556" y="1112"/>
                  </a:lnTo>
                  <a:lnTo>
                    <a:pt x="556" y="1122"/>
                  </a:lnTo>
                  <a:lnTo>
                    <a:pt x="537" y="1122"/>
                  </a:lnTo>
                  <a:lnTo>
                    <a:pt x="527" y="1132"/>
                  </a:lnTo>
                  <a:lnTo>
                    <a:pt x="537" y="1151"/>
                  </a:lnTo>
                  <a:lnTo>
                    <a:pt x="517" y="1151"/>
                  </a:lnTo>
                  <a:lnTo>
                    <a:pt x="508" y="1161"/>
                  </a:lnTo>
                  <a:lnTo>
                    <a:pt x="498" y="1181"/>
                  </a:lnTo>
                  <a:lnTo>
                    <a:pt x="478" y="1200"/>
                  </a:lnTo>
                  <a:lnTo>
                    <a:pt x="488" y="1210"/>
                  </a:lnTo>
                  <a:lnTo>
                    <a:pt x="498" y="1220"/>
                  </a:lnTo>
                  <a:lnTo>
                    <a:pt x="469" y="1220"/>
                  </a:lnTo>
                  <a:lnTo>
                    <a:pt x="459" y="1229"/>
                  </a:lnTo>
                  <a:lnTo>
                    <a:pt x="430" y="1249"/>
                  </a:lnTo>
                  <a:lnTo>
                    <a:pt x="410" y="1259"/>
                  </a:lnTo>
                  <a:lnTo>
                    <a:pt x="390" y="1259"/>
                  </a:lnTo>
                  <a:lnTo>
                    <a:pt x="381" y="1268"/>
                  </a:lnTo>
                  <a:lnTo>
                    <a:pt x="371" y="1288"/>
                  </a:lnTo>
                  <a:lnTo>
                    <a:pt x="351" y="1288"/>
                  </a:lnTo>
                  <a:lnTo>
                    <a:pt x="342" y="1288"/>
                  </a:lnTo>
                  <a:lnTo>
                    <a:pt x="332" y="1288"/>
                  </a:lnTo>
                  <a:lnTo>
                    <a:pt x="312" y="1298"/>
                  </a:lnTo>
                  <a:lnTo>
                    <a:pt x="303" y="1298"/>
                  </a:lnTo>
                  <a:lnTo>
                    <a:pt x="293" y="1298"/>
                  </a:lnTo>
                  <a:lnTo>
                    <a:pt x="264" y="1298"/>
                  </a:lnTo>
                  <a:lnTo>
                    <a:pt x="244" y="1288"/>
                  </a:lnTo>
                  <a:lnTo>
                    <a:pt x="244" y="1278"/>
                  </a:lnTo>
                  <a:lnTo>
                    <a:pt x="234" y="1268"/>
                  </a:lnTo>
                  <a:lnTo>
                    <a:pt x="186" y="1268"/>
                  </a:lnTo>
                  <a:lnTo>
                    <a:pt x="166" y="1259"/>
                  </a:lnTo>
                  <a:lnTo>
                    <a:pt x="166" y="1239"/>
                  </a:lnTo>
                  <a:lnTo>
                    <a:pt x="156" y="1220"/>
                  </a:lnTo>
                  <a:lnTo>
                    <a:pt x="127" y="1220"/>
                  </a:lnTo>
                  <a:lnTo>
                    <a:pt x="88" y="1220"/>
                  </a:lnTo>
                  <a:lnTo>
                    <a:pt x="59" y="1220"/>
                  </a:lnTo>
                  <a:lnTo>
                    <a:pt x="49" y="1200"/>
                  </a:lnTo>
                  <a:lnTo>
                    <a:pt x="49" y="1181"/>
                  </a:lnTo>
                  <a:lnTo>
                    <a:pt x="39" y="1171"/>
                  </a:lnTo>
                  <a:lnTo>
                    <a:pt x="39" y="1161"/>
                  </a:lnTo>
                  <a:lnTo>
                    <a:pt x="39" y="1142"/>
                  </a:lnTo>
                  <a:lnTo>
                    <a:pt x="49" y="1112"/>
                  </a:lnTo>
                  <a:lnTo>
                    <a:pt x="69" y="1103"/>
                  </a:lnTo>
                  <a:lnTo>
                    <a:pt x="69" y="1093"/>
                  </a:lnTo>
                  <a:lnTo>
                    <a:pt x="88" y="1073"/>
                  </a:lnTo>
                  <a:lnTo>
                    <a:pt x="88" y="1044"/>
                  </a:lnTo>
                  <a:lnTo>
                    <a:pt x="88" y="1034"/>
                  </a:lnTo>
                  <a:lnTo>
                    <a:pt x="108" y="1005"/>
                  </a:lnTo>
                  <a:lnTo>
                    <a:pt x="117" y="995"/>
                  </a:lnTo>
                  <a:lnTo>
                    <a:pt x="108" y="976"/>
                  </a:lnTo>
                  <a:lnTo>
                    <a:pt x="98" y="976"/>
                  </a:lnTo>
                  <a:lnTo>
                    <a:pt x="78" y="976"/>
                  </a:lnTo>
                  <a:lnTo>
                    <a:pt x="78" y="956"/>
                  </a:lnTo>
                  <a:lnTo>
                    <a:pt x="49" y="946"/>
                  </a:lnTo>
                  <a:lnTo>
                    <a:pt x="49" y="937"/>
                  </a:lnTo>
                  <a:lnTo>
                    <a:pt x="30" y="927"/>
                  </a:lnTo>
                  <a:lnTo>
                    <a:pt x="10" y="93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02" name="Group 244"/>
            <p:cNvGrpSpPr>
              <a:grpSpLocks/>
            </p:cNvGrpSpPr>
            <p:nvPr/>
          </p:nvGrpSpPr>
          <p:grpSpPr bwMode="auto">
            <a:xfrm>
              <a:off x="7607" y="0"/>
              <a:ext cx="1151" cy="1298"/>
              <a:chOff x="7608" y="0"/>
              <a:chExt cx="1151" cy="1298"/>
            </a:xfrm>
          </p:grpSpPr>
          <p:sp>
            <p:nvSpPr>
              <p:cNvPr id="724" name="Freeform 246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  <a:lnTo>
                      <a:pt x="10" y="93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5" name="Freeform 245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03" name="Freeform 243"/>
            <p:cNvSpPr>
              <a:spLocks/>
            </p:cNvSpPr>
            <p:nvPr/>
          </p:nvSpPr>
          <p:spPr bwMode="auto">
            <a:xfrm>
              <a:off x="8613" y="158"/>
              <a:ext cx="19" cy="19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04" name="Group 240"/>
            <p:cNvGrpSpPr>
              <a:grpSpLocks/>
            </p:cNvGrpSpPr>
            <p:nvPr/>
          </p:nvGrpSpPr>
          <p:grpSpPr bwMode="auto">
            <a:xfrm>
              <a:off x="8612" y="156"/>
              <a:ext cx="20" cy="20"/>
              <a:chOff x="8613" y="156"/>
              <a:chExt cx="20" cy="20"/>
            </a:xfrm>
          </p:grpSpPr>
          <p:sp>
            <p:nvSpPr>
              <p:cNvPr id="722" name="Freeform 242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3" name="Freeform 241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05" name="Freeform 239"/>
            <p:cNvSpPr>
              <a:spLocks/>
            </p:cNvSpPr>
            <p:nvPr/>
          </p:nvSpPr>
          <p:spPr bwMode="auto">
            <a:xfrm>
              <a:off x="760" y="2654"/>
              <a:ext cx="138" cy="186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3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49 w 136"/>
                <a:gd name="T99" fmla="*/ 136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6"/>
                <a:gd name="T151" fmla="*/ 0 h 185"/>
                <a:gd name="T152" fmla="*/ 136 w 136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39" y="18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06" name="Group 236"/>
            <p:cNvGrpSpPr>
              <a:grpSpLocks/>
            </p:cNvGrpSpPr>
            <p:nvPr/>
          </p:nvGrpSpPr>
          <p:grpSpPr bwMode="auto">
            <a:xfrm>
              <a:off x="761" y="2654"/>
              <a:ext cx="136" cy="185"/>
              <a:chOff x="761" y="2654"/>
              <a:chExt cx="136" cy="185"/>
            </a:xfrm>
          </p:grpSpPr>
          <p:sp>
            <p:nvSpPr>
              <p:cNvPr id="720" name="Freeform 238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>
                  <a:gd name="T0" fmla="*/ 49 w 136"/>
                  <a:gd name="T1" fmla="*/ 136 h 185"/>
                  <a:gd name="T2" fmla="*/ 58 w 136"/>
                  <a:gd name="T3" fmla="*/ 127 h 185"/>
                  <a:gd name="T4" fmla="*/ 68 w 136"/>
                  <a:gd name="T5" fmla="*/ 117 h 185"/>
                  <a:gd name="T6" fmla="*/ 88 w 136"/>
                  <a:gd name="T7" fmla="*/ 107 h 185"/>
                  <a:gd name="T8" fmla="*/ 97 w 136"/>
                  <a:gd name="T9" fmla="*/ 97 h 185"/>
                  <a:gd name="T10" fmla="*/ 97 w 136"/>
                  <a:gd name="T11" fmla="*/ 88 h 185"/>
                  <a:gd name="T12" fmla="*/ 97 w 136"/>
                  <a:gd name="T13" fmla="*/ 78 h 185"/>
                  <a:gd name="T14" fmla="*/ 78 w 136"/>
                  <a:gd name="T15" fmla="*/ 49 h 185"/>
                  <a:gd name="T16" fmla="*/ 68 w 136"/>
                  <a:gd name="T17" fmla="*/ 49 h 185"/>
                  <a:gd name="T18" fmla="*/ 58 w 136"/>
                  <a:gd name="T19" fmla="*/ 39 h 185"/>
                  <a:gd name="T20" fmla="*/ 49 w 136"/>
                  <a:gd name="T21" fmla="*/ 29 h 185"/>
                  <a:gd name="T22" fmla="*/ 49 w 136"/>
                  <a:gd name="T23" fmla="*/ 19 h 185"/>
                  <a:gd name="T24" fmla="*/ 39 w 136"/>
                  <a:gd name="T25" fmla="*/ 10 h 185"/>
                  <a:gd name="T26" fmla="*/ 49 w 136"/>
                  <a:gd name="T27" fmla="*/ 0 h 185"/>
                  <a:gd name="T28" fmla="*/ 49 w 136"/>
                  <a:gd name="T29" fmla="*/ 10 h 185"/>
                  <a:gd name="T30" fmla="*/ 68 w 136"/>
                  <a:gd name="T31" fmla="*/ 29 h 185"/>
                  <a:gd name="T32" fmla="*/ 78 w 136"/>
                  <a:gd name="T33" fmla="*/ 39 h 185"/>
                  <a:gd name="T34" fmla="*/ 88 w 136"/>
                  <a:gd name="T35" fmla="*/ 49 h 185"/>
                  <a:gd name="T36" fmla="*/ 107 w 136"/>
                  <a:gd name="T37" fmla="*/ 49 h 185"/>
                  <a:gd name="T38" fmla="*/ 117 w 136"/>
                  <a:gd name="T39" fmla="*/ 49 h 185"/>
                  <a:gd name="T40" fmla="*/ 117 w 136"/>
                  <a:gd name="T41" fmla="*/ 68 h 185"/>
                  <a:gd name="T42" fmla="*/ 136 w 136"/>
                  <a:gd name="T43" fmla="*/ 97 h 185"/>
                  <a:gd name="T44" fmla="*/ 127 w 136"/>
                  <a:gd name="T45" fmla="*/ 117 h 185"/>
                  <a:gd name="T46" fmla="*/ 127 w 136"/>
                  <a:gd name="T47" fmla="*/ 127 h 185"/>
                  <a:gd name="T48" fmla="*/ 127 w 136"/>
                  <a:gd name="T49" fmla="*/ 146 h 185"/>
                  <a:gd name="T50" fmla="*/ 107 w 136"/>
                  <a:gd name="T51" fmla="*/ 166 h 185"/>
                  <a:gd name="T52" fmla="*/ 97 w 136"/>
                  <a:gd name="T53" fmla="*/ 175 h 185"/>
                  <a:gd name="T54" fmla="*/ 88 w 136"/>
                  <a:gd name="T55" fmla="*/ 175 h 185"/>
                  <a:gd name="T56" fmla="*/ 88 w 136"/>
                  <a:gd name="T57" fmla="*/ 166 h 185"/>
                  <a:gd name="T58" fmla="*/ 88 w 136"/>
                  <a:gd name="T59" fmla="*/ 156 h 185"/>
                  <a:gd name="T60" fmla="*/ 97 w 136"/>
                  <a:gd name="T61" fmla="*/ 146 h 185"/>
                  <a:gd name="T62" fmla="*/ 107 w 136"/>
                  <a:gd name="T63" fmla="*/ 136 h 185"/>
                  <a:gd name="T64" fmla="*/ 97 w 136"/>
                  <a:gd name="T65" fmla="*/ 136 h 185"/>
                  <a:gd name="T66" fmla="*/ 88 w 136"/>
                  <a:gd name="T67" fmla="*/ 136 h 185"/>
                  <a:gd name="T68" fmla="*/ 78 w 136"/>
                  <a:gd name="T69" fmla="*/ 146 h 185"/>
                  <a:gd name="T70" fmla="*/ 68 w 136"/>
                  <a:gd name="T71" fmla="*/ 156 h 185"/>
                  <a:gd name="T72" fmla="*/ 49 w 136"/>
                  <a:gd name="T73" fmla="*/ 175 h 185"/>
                  <a:gd name="T74" fmla="*/ 29 w 136"/>
                  <a:gd name="T75" fmla="*/ 185 h 185"/>
                  <a:gd name="T76" fmla="*/ 29 w 136"/>
                  <a:gd name="T77" fmla="*/ 185 h 185"/>
                  <a:gd name="T78" fmla="*/ 19 w 136"/>
                  <a:gd name="T79" fmla="*/ 175 h 185"/>
                  <a:gd name="T80" fmla="*/ 19 w 136"/>
                  <a:gd name="T81" fmla="*/ 175 h 185"/>
                  <a:gd name="T82" fmla="*/ 10 w 136"/>
                  <a:gd name="T83" fmla="*/ 166 h 185"/>
                  <a:gd name="T84" fmla="*/ 0 w 136"/>
                  <a:gd name="T85" fmla="*/ 156 h 185"/>
                  <a:gd name="T86" fmla="*/ 0 w 136"/>
                  <a:gd name="T87" fmla="*/ 146 h 185"/>
                  <a:gd name="T88" fmla="*/ 19 w 136"/>
                  <a:gd name="T89" fmla="*/ 136 h 185"/>
                  <a:gd name="T90" fmla="*/ 29 w 136"/>
                  <a:gd name="T91" fmla="*/ 136 h 185"/>
                  <a:gd name="T92" fmla="*/ 29 w 136"/>
                  <a:gd name="T93" fmla="*/ 136 h 185"/>
                  <a:gd name="T94" fmla="*/ 39 w 136"/>
                  <a:gd name="T95" fmla="*/ 146 h 185"/>
                  <a:gd name="T96" fmla="*/ 49 w 136"/>
                  <a:gd name="T97" fmla="*/ 146 h 185"/>
                  <a:gd name="T98" fmla="*/ 49 w 136"/>
                  <a:gd name="T99" fmla="*/ 136 h 18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6"/>
                  <a:gd name="T151" fmla="*/ 0 h 185"/>
                  <a:gd name="T152" fmla="*/ 136 w 136"/>
                  <a:gd name="T153" fmla="*/ 185 h 18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  <a:lnTo>
                      <a:pt x="49" y="136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1" name="Freeform 237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>
                  <a:gd name="T0" fmla="*/ 49 w 136"/>
                  <a:gd name="T1" fmla="*/ 136 h 185"/>
                  <a:gd name="T2" fmla="*/ 58 w 136"/>
                  <a:gd name="T3" fmla="*/ 127 h 185"/>
                  <a:gd name="T4" fmla="*/ 68 w 136"/>
                  <a:gd name="T5" fmla="*/ 117 h 185"/>
                  <a:gd name="T6" fmla="*/ 88 w 136"/>
                  <a:gd name="T7" fmla="*/ 107 h 185"/>
                  <a:gd name="T8" fmla="*/ 97 w 136"/>
                  <a:gd name="T9" fmla="*/ 97 h 185"/>
                  <a:gd name="T10" fmla="*/ 97 w 136"/>
                  <a:gd name="T11" fmla="*/ 88 h 185"/>
                  <a:gd name="T12" fmla="*/ 97 w 136"/>
                  <a:gd name="T13" fmla="*/ 78 h 185"/>
                  <a:gd name="T14" fmla="*/ 78 w 136"/>
                  <a:gd name="T15" fmla="*/ 49 h 185"/>
                  <a:gd name="T16" fmla="*/ 68 w 136"/>
                  <a:gd name="T17" fmla="*/ 49 h 185"/>
                  <a:gd name="T18" fmla="*/ 58 w 136"/>
                  <a:gd name="T19" fmla="*/ 39 h 185"/>
                  <a:gd name="T20" fmla="*/ 49 w 136"/>
                  <a:gd name="T21" fmla="*/ 29 h 185"/>
                  <a:gd name="T22" fmla="*/ 49 w 136"/>
                  <a:gd name="T23" fmla="*/ 19 h 185"/>
                  <a:gd name="T24" fmla="*/ 39 w 136"/>
                  <a:gd name="T25" fmla="*/ 10 h 185"/>
                  <a:gd name="T26" fmla="*/ 49 w 136"/>
                  <a:gd name="T27" fmla="*/ 0 h 185"/>
                  <a:gd name="T28" fmla="*/ 49 w 136"/>
                  <a:gd name="T29" fmla="*/ 10 h 185"/>
                  <a:gd name="T30" fmla="*/ 68 w 136"/>
                  <a:gd name="T31" fmla="*/ 29 h 185"/>
                  <a:gd name="T32" fmla="*/ 78 w 136"/>
                  <a:gd name="T33" fmla="*/ 39 h 185"/>
                  <a:gd name="T34" fmla="*/ 88 w 136"/>
                  <a:gd name="T35" fmla="*/ 49 h 185"/>
                  <a:gd name="T36" fmla="*/ 107 w 136"/>
                  <a:gd name="T37" fmla="*/ 49 h 185"/>
                  <a:gd name="T38" fmla="*/ 117 w 136"/>
                  <a:gd name="T39" fmla="*/ 49 h 185"/>
                  <a:gd name="T40" fmla="*/ 117 w 136"/>
                  <a:gd name="T41" fmla="*/ 68 h 185"/>
                  <a:gd name="T42" fmla="*/ 136 w 136"/>
                  <a:gd name="T43" fmla="*/ 97 h 185"/>
                  <a:gd name="T44" fmla="*/ 127 w 136"/>
                  <a:gd name="T45" fmla="*/ 117 h 185"/>
                  <a:gd name="T46" fmla="*/ 127 w 136"/>
                  <a:gd name="T47" fmla="*/ 127 h 185"/>
                  <a:gd name="T48" fmla="*/ 127 w 136"/>
                  <a:gd name="T49" fmla="*/ 146 h 185"/>
                  <a:gd name="T50" fmla="*/ 107 w 136"/>
                  <a:gd name="T51" fmla="*/ 166 h 185"/>
                  <a:gd name="T52" fmla="*/ 97 w 136"/>
                  <a:gd name="T53" fmla="*/ 175 h 185"/>
                  <a:gd name="T54" fmla="*/ 88 w 136"/>
                  <a:gd name="T55" fmla="*/ 175 h 185"/>
                  <a:gd name="T56" fmla="*/ 88 w 136"/>
                  <a:gd name="T57" fmla="*/ 166 h 185"/>
                  <a:gd name="T58" fmla="*/ 88 w 136"/>
                  <a:gd name="T59" fmla="*/ 156 h 185"/>
                  <a:gd name="T60" fmla="*/ 97 w 136"/>
                  <a:gd name="T61" fmla="*/ 146 h 185"/>
                  <a:gd name="T62" fmla="*/ 107 w 136"/>
                  <a:gd name="T63" fmla="*/ 136 h 185"/>
                  <a:gd name="T64" fmla="*/ 97 w 136"/>
                  <a:gd name="T65" fmla="*/ 136 h 185"/>
                  <a:gd name="T66" fmla="*/ 88 w 136"/>
                  <a:gd name="T67" fmla="*/ 136 h 185"/>
                  <a:gd name="T68" fmla="*/ 78 w 136"/>
                  <a:gd name="T69" fmla="*/ 146 h 185"/>
                  <a:gd name="T70" fmla="*/ 68 w 136"/>
                  <a:gd name="T71" fmla="*/ 156 h 185"/>
                  <a:gd name="T72" fmla="*/ 49 w 136"/>
                  <a:gd name="T73" fmla="*/ 175 h 185"/>
                  <a:gd name="T74" fmla="*/ 29 w 136"/>
                  <a:gd name="T75" fmla="*/ 185 h 185"/>
                  <a:gd name="T76" fmla="*/ 29 w 136"/>
                  <a:gd name="T77" fmla="*/ 185 h 185"/>
                  <a:gd name="T78" fmla="*/ 19 w 136"/>
                  <a:gd name="T79" fmla="*/ 175 h 185"/>
                  <a:gd name="T80" fmla="*/ 19 w 136"/>
                  <a:gd name="T81" fmla="*/ 175 h 185"/>
                  <a:gd name="T82" fmla="*/ 10 w 136"/>
                  <a:gd name="T83" fmla="*/ 166 h 185"/>
                  <a:gd name="T84" fmla="*/ 0 w 136"/>
                  <a:gd name="T85" fmla="*/ 156 h 185"/>
                  <a:gd name="T86" fmla="*/ 0 w 136"/>
                  <a:gd name="T87" fmla="*/ 146 h 185"/>
                  <a:gd name="T88" fmla="*/ 19 w 136"/>
                  <a:gd name="T89" fmla="*/ 136 h 185"/>
                  <a:gd name="T90" fmla="*/ 29 w 136"/>
                  <a:gd name="T91" fmla="*/ 136 h 185"/>
                  <a:gd name="T92" fmla="*/ 29 w 136"/>
                  <a:gd name="T93" fmla="*/ 136 h 185"/>
                  <a:gd name="T94" fmla="*/ 39 w 136"/>
                  <a:gd name="T95" fmla="*/ 146 h 185"/>
                  <a:gd name="T96" fmla="*/ 49 w 136"/>
                  <a:gd name="T97" fmla="*/ 146 h 18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36"/>
                  <a:gd name="T148" fmla="*/ 0 h 185"/>
                  <a:gd name="T149" fmla="*/ 136 w 136"/>
                  <a:gd name="T150" fmla="*/ 185 h 18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07" name="Freeform 235"/>
            <p:cNvSpPr>
              <a:spLocks/>
            </p:cNvSpPr>
            <p:nvPr/>
          </p:nvSpPr>
          <p:spPr bwMode="auto">
            <a:xfrm>
              <a:off x="4458" y="3542"/>
              <a:ext cx="324" cy="449"/>
            </a:xfrm>
            <a:custGeom>
              <a:avLst/>
              <a:gdLst>
                <a:gd name="T0" fmla="*/ 126 w 322"/>
                <a:gd name="T1" fmla="*/ 136 h 449"/>
                <a:gd name="T2" fmla="*/ 117 w 322"/>
                <a:gd name="T3" fmla="*/ 107 h 449"/>
                <a:gd name="T4" fmla="*/ 97 w 322"/>
                <a:gd name="T5" fmla="*/ 127 h 449"/>
                <a:gd name="T6" fmla="*/ 97 w 322"/>
                <a:gd name="T7" fmla="*/ 117 h 449"/>
                <a:gd name="T8" fmla="*/ 117 w 322"/>
                <a:gd name="T9" fmla="*/ 78 h 449"/>
                <a:gd name="T10" fmla="*/ 117 w 322"/>
                <a:gd name="T11" fmla="*/ 19 h 449"/>
                <a:gd name="T12" fmla="*/ 126 w 322"/>
                <a:gd name="T13" fmla="*/ 19 h 449"/>
                <a:gd name="T14" fmla="*/ 146 w 322"/>
                <a:gd name="T15" fmla="*/ 19 h 449"/>
                <a:gd name="T16" fmla="*/ 156 w 322"/>
                <a:gd name="T17" fmla="*/ 39 h 449"/>
                <a:gd name="T18" fmla="*/ 166 w 322"/>
                <a:gd name="T19" fmla="*/ 68 h 449"/>
                <a:gd name="T20" fmla="*/ 205 w 322"/>
                <a:gd name="T21" fmla="*/ 68 h 449"/>
                <a:gd name="T22" fmla="*/ 205 w 322"/>
                <a:gd name="T23" fmla="*/ 39 h 449"/>
                <a:gd name="T24" fmla="*/ 224 w 322"/>
                <a:gd name="T25" fmla="*/ 48 h 449"/>
                <a:gd name="T26" fmla="*/ 244 w 322"/>
                <a:gd name="T27" fmla="*/ 68 h 449"/>
                <a:gd name="T28" fmla="*/ 273 w 322"/>
                <a:gd name="T29" fmla="*/ 68 h 449"/>
                <a:gd name="T30" fmla="*/ 283 w 322"/>
                <a:gd name="T31" fmla="*/ 78 h 449"/>
                <a:gd name="T32" fmla="*/ 302 w 322"/>
                <a:gd name="T33" fmla="*/ 88 h 449"/>
                <a:gd name="T34" fmla="*/ 302 w 322"/>
                <a:gd name="T35" fmla="*/ 97 h 449"/>
                <a:gd name="T36" fmla="*/ 302 w 322"/>
                <a:gd name="T37" fmla="*/ 117 h 449"/>
                <a:gd name="T38" fmla="*/ 312 w 322"/>
                <a:gd name="T39" fmla="*/ 136 h 449"/>
                <a:gd name="T40" fmla="*/ 322 w 322"/>
                <a:gd name="T41" fmla="*/ 166 h 449"/>
                <a:gd name="T42" fmla="*/ 312 w 322"/>
                <a:gd name="T43" fmla="*/ 205 h 449"/>
                <a:gd name="T44" fmla="*/ 302 w 322"/>
                <a:gd name="T45" fmla="*/ 234 h 449"/>
                <a:gd name="T46" fmla="*/ 322 w 322"/>
                <a:gd name="T47" fmla="*/ 263 h 449"/>
                <a:gd name="T48" fmla="*/ 312 w 322"/>
                <a:gd name="T49" fmla="*/ 292 h 449"/>
                <a:gd name="T50" fmla="*/ 292 w 322"/>
                <a:gd name="T51" fmla="*/ 312 h 449"/>
                <a:gd name="T52" fmla="*/ 273 w 322"/>
                <a:gd name="T53" fmla="*/ 331 h 449"/>
                <a:gd name="T54" fmla="*/ 244 w 322"/>
                <a:gd name="T55" fmla="*/ 341 h 449"/>
                <a:gd name="T56" fmla="*/ 214 w 322"/>
                <a:gd name="T57" fmla="*/ 361 h 449"/>
                <a:gd name="T58" fmla="*/ 195 w 322"/>
                <a:gd name="T59" fmla="*/ 380 h 449"/>
                <a:gd name="T60" fmla="*/ 185 w 322"/>
                <a:gd name="T61" fmla="*/ 390 h 449"/>
                <a:gd name="T62" fmla="*/ 156 w 322"/>
                <a:gd name="T63" fmla="*/ 390 h 449"/>
                <a:gd name="T64" fmla="*/ 136 w 322"/>
                <a:gd name="T65" fmla="*/ 429 h 449"/>
                <a:gd name="T66" fmla="*/ 107 w 322"/>
                <a:gd name="T67" fmla="*/ 429 h 449"/>
                <a:gd name="T68" fmla="*/ 87 w 322"/>
                <a:gd name="T69" fmla="*/ 419 h 449"/>
                <a:gd name="T70" fmla="*/ 48 w 322"/>
                <a:gd name="T71" fmla="*/ 429 h 449"/>
                <a:gd name="T72" fmla="*/ 68 w 322"/>
                <a:gd name="T73" fmla="*/ 449 h 449"/>
                <a:gd name="T74" fmla="*/ 29 w 322"/>
                <a:gd name="T75" fmla="*/ 449 h 449"/>
                <a:gd name="T76" fmla="*/ 0 w 322"/>
                <a:gd name="T77" fmla="*/ 419 h 449"/>
                <a:gd name="T78" fmla="*/ 9 w 322"/>
                <a:gd name="T79" fmla="*/ 400 h 449"/>
                <a:gd name="T80" fmla="*/ 0 w 322"/>
                <a:gd name="T81" fmla="*/ 380 h 449"/>
                <a:gd name="T82" fmla="*/ 29 w 322"/>
                <a:gd name="T83" fmla="*/ 370 h 449"/>
                <a:gd name="T84" fmla="*/ 48 w 322"/>
                <a:gd name="T85" fmla="*/ 351 h 449"/>
                <a:gd name="T86" fmla="*/ 68 w 322"/>
                <a:gd name="T87" fmla="*/ 351 h 449"/>
                <a:gd name="T88" fmla="*/ 87 w 322"/>
                <a:gd name="T89" fmla="*/ 322 h 449"/>
                <a:gd name="T90" fmla="*/ 117 w 322"/>
                <a:gd name="T91" fmla="*/ 302 h 449"/>
                <a:gd name="T92" fmla="*/ 97 w 322"/>
                <a:gd name="T93" fmla="*/ 283 h 449"/>
                <a:gd name="T94" fmla="*/ 87 w 322"/>
                <a:gd name="T95" fmla="*/ 263 h 449"/>
                <a:gd name="T96" fmla="*/ 107 w 322"/>
                <a:gd name="T97" fmla="*/ 263 h 449"/>
                <a:gd name="T98" fmla="*/ 107 w 322"/>
                <a:gd name="T99" fmla="*/ 234 h 449"/>
                <a:gd name="T100" fmla="*/ 97 w 322"/>
                <a:gd name="T101" fmla="*/ 224 h 449"/>
                <a:gd name="T102" fmla="*/ 117 w 322"/>
                <a:gd name="T103" fmla="*/ 195 h 449"/>
                <a:gd name="T104" fmla="*/ 126 w 322"/>
                <a:gd name="T105" fmla="*/ 166 h 449"/>
                <a:gd name="T106" fmla="*/ 126 w 322"/>
                <a:gd name="T107" fmla="*/ 156 h 449"/>
                <a:gd name="T108" fmla="*/ 136 w 322"/>
                <a:gd name="T109" fmla="*/ 136 h 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2"/>
                <a:gd name="T166" fmla="*/ 0 h 449"/>
                <a:gd name="T167" fmla="*/ 322 w 322"/>
                <a:gd name="T168" fmla="*/ 449 h 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2" h="449">
                  <a:moveTo>
                    <a:pt x="136" y="136"/>
                  </a:moveTo>
                  <a:lnTo>
                    <a:pt x="126" y="136"/>
                  </a:lnTo>
                  <a:lnTo>
                    <a:pt x="126" y="127"/>
                  </a:lnTo>
                  <a:lnTo>
                    <a:pt x="117" y="107"/>
                  </a:lnTo>
                  <a:lnTo>
                    <a:pt x="107" y="127"/>
                  </a:lnTo>
                  <a:lnTo>
                    <a:pt x="97" y="127"/>
                  </a:lnTo>
                  <a:lnTo>
                    <a:pt x="97" y="117"/>
                  </a:lnTo>
                  <a:lnTo>
                    <a:pt x="117" y="97"/>
                  </a:lnTo>
                  <a:lnTo>
                    <a:pt x="117" y="78"/>
                  </a:lnTo>
                  <a:lnTo>
                    <a:pt x="126" y="68"/>
                  </a:lnTo>
                  <a:lnTo>
                    <a:pt x="117" y="19"/>
                  </a:lnTo>
                  <a:lnTo>
                    <a:pt x="126" y="19"/>
                  </a:lnTo>
                  <a:lnTo>
                    <a:pt x="136" y="0"/>
                  </a:lnTo>
                  <a:lnTo>
                    <a:pt x="146" y="19"/>
                  </a:lnTo>
                  <a:lnTo>
                    <a:pt x="146" y="3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85" y="68"/>
                  </a:lnTo>
                  <a:lnTo>
                    <a:pt x="205" y="68"/>
                  </a:lnTo>
                  <a:lnTo>
                    <a:pt x="205" y="58"/>
                  </a:lnTo>
                  <a:lnTo>
                    <a:pt x="205" y="39"/>
                  </a:lnTo>
                  <a:lnTo>
                    <a:pt x="214" y="39"/>
                  </a:lnTo>
                  <a:lnTo>
                    <a:pt x="224" y="48"/>
                  </a:lnTo>
                  <a:lnTo>
                    <a:pt x="234" y="68"/>
                  </a:lnTo>
                  <a:lnTo>
                    <a:pt x="244" y="68"/>
                  </a:lnTo>
                  <a:lnTo>
                    <a:pt x="263" y="68"/>
                  </a:lnTo>
                  <a:lnTo>
                    <a:pt x="273" y="68"/>
                  </a:lnTo>
                  <a:lnTo>
                    <a:pt x="273" y="78"/>
                  </a:lnTo>
                  <a:lnTo>
                    <a:pt x="283" y="78"/>
                  </a:lnTo>
                  <a:lnTo>
                    <a:pt x="292" y="88"/>
                  </a:lnTo>
                  <a:lnTo>
                    <a:pt x="302" y="88"/>
                  </a:lnTo>
                  <a:lnTo>
                    <a:pt x="302" y="97"/>
                  </a:lnTo>
                  <a:lnTo>
                    <a:pt x="292" y="107"/>
                  </a:lnTo>
                  <a:lnTo>
                    <a:pt x="302" y="117"/>
                  </a:lnTo>
                  <a:lnTo>
                    <a:pt x="302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66"/>
                  </a:lnTo>
                  <a:lnTo>
                    <a:pt x="312" y="185"/>
                  </a:lnTo>
                  <a:lnTo>
                    <a:pt x="312" y="205"/>
                  </a:lnTo>
                  <a:lnTo>
                    <a:pt x="302" y="224"/>
                  </a:lnTo>
                  <a:lnTo>
                    <a:pt x="302" y="234"/>
                  </a:lnTo>
                  <a:lnTo>
                    <a:pt x="312" y="263"/>
                  </a:lnTo>
                  <a:lnTo>
                    <a:pt x="322" y="263"/>
                  </a:lnTo>
                  <a:lnTo>
                    <a:pt x="322" y="283"/>
                  </a:lnTo>
                  <a:lnTo>
                    <a:pt x="312" y="292"/>
                  </a:lnTo>
                  <a:lnTo>
                    <a:pt x="292" y="292"/>
                  </a:lnTo>
                  <a:lnTo>
                    <a:pt x="292" y="312"/>
                  </a:lnTo>
                  <a:lnTo>
                    <a:pt x="283" y="322"/>
                  </a:lnTo>
                  <a:lnTo>
                    <a:pt x="273" y="331"/>
                  </a:lnTo>
                  <a:lnTo>
                    <a:pt x="253" y="341"/>
                  </a:lnTo>
                  <a:lnTo>
                    <a:pt x="244" y="341"/>
                  </a:lnTo>
                  <a:lnTo>
                    <a:pt x="224" y="351"/>
                  </a:lnTo>
                  <a:lnTo>
                    <a:pt x="214" y="361"/>
                  </a:lnTo>
                  <a:lnTo>
                    <a:pt x="195" y="370"/>
                  </a:lnTo>
                  <a:lnTo>
                    <a:pt x="195" y="380"/>
                  </a:lnTo>
                  <a:lnTo>
                    <a:pt x="195" y="390"/>
                  </a:lnTo>
                  <a:lnTo>
                    <a:pt x="185" y="390"/>
                  </a:lnTo>
                  <a:lnTo>
                    <a:pt x="166" y="390"/>
                  </a:lnTo>
                  <a:lnTo>
                    <a:pt x="156" y="390"/>
                  </a:lnTo>
                  <a:lnTo>
                    <a:pt x="156" y="419"/>
                  </a:lnTo>
                  <a:lnTo>
                    <a:pt x="136" y="429"/>
                  </a:lnTo>
                  <a:lnTo>
                    <a:pt x="126" y="439"/>
                  </a:lnTo>
                  <a:lnTo>
                    <a:pt x="107" y="429"/>
                  </a:lnTo>
                  <a:lnTo>
                    <a:pt x="87" y="429"/>
                  </a:lnTo>
                  <a:lnTo>
                    <a:pt x="87" y="419"/>
                  </a:lnTo>
                  <a:lnTo>
                    <a:pt x="68" y="419"/>
                  </a:lnTo>
                  <a:lnTo>
                    <a:pt x="48" y="429"/>
                  </a:lnTo>
                  <a:lnTo>
                    <a:pt x="58" y="439"/>
                  </a:lnTo>
                  <a:lnTo>
                    <a:pt x="68" y="449"/>
                  </a:lnTo>
                  <a:lnTo>
                    <a:pt x="39" y="439"/>
                  </a:lnTo>
                  <a:lnTo>
                    <a:pt x="29" y="449"/>
                  </a:lnTo>
                  <a:lnTo>
                    <a:pt x="0" y="429"/>
                  </a:lnTo>
                  <a:lnTo>
                    <a:pt x="0" y="419"/>
                  </a:lnTo>
                  <a:lnTo>
                    <a:pt x="19" y="409"/>
                  </a:lnTo>
                  <a:lnTo>
                    <a:pt x="9" y="40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19" y="370"/>
                  </a:lnTo>
                  <a:lnTo>
                    <a:pt x="29" y="370"/>
                  </a:lnTo>
                  <a:lnTo>
                    <a:pt x="48" y="351"/>
                  </a:lnTo>
                  <a:lnTo>
                    <a:pt x="58" y="351"/>
                  </a:lnTo>
                  <a:lnTo>
                    <a:pt x="68" y="351"/>
                  </a:lnTo>
                  <a:lnTo>
                    <a:pt x="78" y="341"/>
                  </a:lnTo>
                  <a:lnTo>
                    <a:pt x="87" y="322"/>
                  </a:lnTo>
                  <a:lnTo>
                    <a:pt x="97" y="312"/>
                  </a:lnTo>
                  <a:lnTo>
                    <a:pt x="117" y="302"/>
                  </a:lnTo>
                  <a:lnTo>
                    <a:pt x="117" y="292"/>
                  </a:lnTo>
                  <a:lnTo>
                    <a:pt x="97" y="283"/>
                  </a:lnTo>
                  <a:lnTo>
                    <a:pt x="87" y="273"/>
                  </a:lnTo>
                  <a:lnTo>
                    <a:pt x="87" y="263"/>
                  </a:lnTo>
                  <a:lnTo>
                    <a:pt x="97" y="263"/>
                  </a:lnTo>
                  <a:lnTo>
                    <a:pt x="107" y="263"/>
                  </a:lnTo>
                  <a:lnTo>
                    <a:pt x="107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97" y="224"/>
                  </a:lnTo>
                  <a:lnTo>
                    <a:pt x="97" y="205"/>
                  </a:lnTo>
                  <a:lnTo>
                    <a:pt x="117" y="195"/>
                  </a:lnTo>
                  <a:lnTo>
                    <a:pt x="126" y="195"/>
                  </a:lnTo>
                  <a:lnTo>
                    <a:pt x="126" y="166"/>
                  </a:lnTo>
                  <a:lnTo>
                    <a:pt x="126" y="156"/>
                  </a:lnTo>
                  <a:lnTo>
                    <a:pt x="136" y="146"/>
                  </a:lnTo>
                  <a:lnTo>
                    <a:pt x="136" y="13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08" name="Freeform 234"/>
            <p:cNvSpPr>
              <a:spLocks/>
            </p:cNvSpPr>
            <p:nvPr/>
          </p:nvSpPr>
          <p:spPr bwMode="auto">
            <a:xfrm>
              <a:off x="1892" y="1650"/>
              <a:ext cx="273" cy="233"/>
            </a:xfrm>
            <a:custGeom>
              <a:avLst/>
              <a:gdLst>
                <a:gd name="T0" fmla="*/ 273 w 273"/>
                <a:gd name="T1" fmla="*/ 156 h 234"/>
                <a:gd name="T2" fmla="*/ 264 w 273"/>
                <a:gd name="T3" fmla="*/ 166 h 234"/>
                <a:gd name="T4" fmla="*/ 244 w 273"/>
                <a:gd name="T5" fmla="*/ 176 h 234"/>
                <a:gd name="T6" fmla="*/ 225 w 273"/>
                <a:gd name="T7" fmla="*/ 176 h 234"/>
                <a:gd name="T8" fmla="*/ 215 w 273"/>
                <a:gd name="T9" fmla="*/ 185 h 234"/>
                <a:gd name="T10" fmla="*/ 205 w 273"/>
                <a:gd name="T11" fmla="*/ 195 h 234"/>
                <a:gd name="T12" fmla="*/ 195 w 273"/>
                <a:gd name="T13" fmla="*/ 195 h 234"/>
                <a:gd name="T14" fmla="*/ 186 w 273"/>
                <a:gd name="T15" fmla="*/ 195 h 234"/>
                <a:gd name="T16" fmla="*/ 176 w 273"/>
                <a:gd name="T17" fmla="*/ 215 h 234"/>
                <a:gd name="T18" fmla="*/ 166 w 273"/>
                <a:gd name="T19" fmla="*/ 224 h 234"/>
                <a:gd name="T20" fmla="*/ 156 w 273"/>
                <a:gd name="T21" fmla="*/ 224 h 234"/>
                <a:gd name="T22" fmla="*/ 147 w 273"/>
                <a:gd name="T23" fmla="*/ 224 h 234"/>
                <a:gd name="T24" fmla="*/ 137 w 273"/>
                <a:gd name="T25" fmla="*/ 234 h 234"/>
                <a:gd name="T26" fmla="*/ 127 w 273"/>
                <a:gd name="T27" fmla="*/ 234 h 234"/>
                <a:gd name="T28" fmla="*/ 127 w 273"/>
                <a:gd name="T29" fmla="*/ 215 h 234"/>
                <a:gd name="T30" fmla="*/ 108 w 273"/>
                <a:gd name="T31" fmla="*/ 205 h 234"/>
                <a:gd name="T32" fmla="*/ 98 w 273"/>
                <a:gd name="T33" fmla="*/ 205 h 234"/>
                <a:gd name="T34" fmla="*/ 88 w 273"/>
                <a:gd name="T35" fmla="*/ 205 h 234"/>
                <a:gd name="T36" fmla="*/ 78 w 273"/>
                <a:gd name="T37" fmla="*/ 215 h 234"/>
                <a:gd name="T38" fmla="*/ 59 w 273"/>
                <a:gd name="T39" fmla="*/ 215 h 234"/>
                <a:gd name="T40" fmla="*/ 49 w 273"/>
                <a:gd name="T41" fmla="*/ 215 h 234"/>
                <a:gd name="T42" fmla="*/ 30 w 273"/>
                <a:gd name="T43" fmla="*/ 215 h 234"/>
                <a:gd name="T44" fmla="*/ 0 w 273"/>
                <a:gd name="T45" fmla="*/ 185 h 234"/>
                <a:gd name="T46" fmla="*/ 0 w 273"/>
                <a:gd name="T47" fmla="*/ 176 h 234"/>
                <a:gd name="T48" fmla="*/ 0 w 273"/>
                <a:gd name="T49" fmla="*/ 166 h 234"/>
                <a:gd name="T50" fmla="*/ 30 w 273"/>
                <a:gd name="T51" fmla="*/ 146 h 234"/>
                <a:gd name="T52" fmla="*/ 49 w 273"/>
                <a:gd name="T53" fmla="*/ 127 h 234"/>
                <a:gd name="T54" fmla="*/ 59 w 273"/>
                <a:gd name="T55" fmla="*/ 127 h 234"/>
                <a:gd name="T56" fmla="*/ 69 w 273"/>
                <a:gd name="T57" fmla="*/ 117 h 234"/>
                <a:gd name="T58" fmla="*/ 59 w 273"/>
                <a:gd name="T59" fmla="*/ 107 h 234"/>
                <a:gd name="T60" fmla="*/ 59 w 273"/>
                <a:gd name="T61" fmla="*/ 88 h 234"/>
                <a:gd name="T62" fmla="*/ 78 w 273"/>
                <a:gd name="T63" fmla="*/ 68 h 234"/>
                <a:gd name="T64" fmla="*/ 88 w 273"/>
                <a:gd name="T65" fmla="*/ 58 h 234"/>
                <a:gd name="T66" fmla="*/ 88 w 273"/>
                <a:gd name="T67" fmla="*/ 29 h 234"/>
                <a:gd name="T68" fmla="*/ 108 w 273"/>
                <a:gd name="T69" fmla="*/ 29 h 234"/>
                <a:gd name="T70" fmla="*/ 117 w 273"/>
                <a:gd name="T71" fmla="*/ 29 h 234"/>
                <a:gd name="T72" fmla="*/ 108 w 273"/>
                <a:gd name="T73" fmla="*/ 19 h 234"/>
                <a:gd name="T74" fmla="*/ 127 w 273"/>
                <a:gd name="T75" fmla="*/ 10 h 234"/>
                <a:gd name="T76" fmla="*/ 147 w 273"/>
                <a:gd name="T77" fmla="*/ 0 h 234"/>
                <a:gd name="T78" fmla="*/ 137 w 273"/>
                <a:gd name="T79" fmla="*/ 10 h 234"/>
                <a:gd name="T80" fmla="*/ 147 w 273"/>
                <a:gd name="T81" fmla="*/ 19 h 234"/>
                <a:gd name="T82" fmla="*/ 156 w 273"/>
                <a:gd name="T83" fmla="*/ 19 h 234"/>
                <a:gd name="T84" fmla="*/ 166 w 273"/>
                <a:gd name="T85" fmla="*/ 19 h 234"/>
                <a:gd name="T86" fmla="*/ 176 w 273"/>
                <a:gd name="T87" fmla="*/ 19 h 234"/>
                <a:gd name="T88" fmla="*/ 195 w 273"/>
                <a:gd name="T89" fmla="*/ 29 h 234"/>
                <a:gd name="T90" fmla="*/ 215 w 273"/>
                <a:gd name="T91" fmla="*/ 39 h 234"/>
                <a:gd name="T92" fmla="*/ 225 w 273"/>
                <a:gd name="T93" fmla="*/ 58 h 234"/>
                <a:gd name="T94" fmla="*/ 225 w 273"/>
                <a:gd name="T95" fmla="*/ 58 h 234"/>
                <a:gd name="T96" fmla="*/ 244 w 273"/>
                <a:gd name="T97" fmla="*/ 58 h 234"/>
                <a:gd name="T98" fmla="*/ 254 w 273"/>
                <a:gd name="T99" fmla="*/ 58 h 234"/>
                <a:gd name="T100" fmla="*/ 264 w 273"/>
                <a:gd name="T101" fmla="*/ 78 h 234"/>
                <a:gd name="T102" fmla="*/ 264 w 273"/>
                <a:gd name="T103" fmla="*/ 97 h 234"/>
                <a:gd name="T104" fmla="*/ 254 w 273"/>
                <a:gd name="T105" fmla="*/ 127 h 234"/>
                <a:gd name="T106" fmla="*/ 264 w 273"/>
                <a:gd name="T107" fmla="*/ 136 h 234"/>
                <a:gd name="T108" fmla="*/ 264 w 273"/>
                <a:gd name="T109" fmla="*/ 146 h 234"/>
                <a:gd name="T110" fmla="*/ 273 w 273"/>
                <a:gd name="T111" fmla="*/ 156 h 23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73"/>
                <a:gd name="T169" fmla="*/ 0 h 234"/>
                <a:gd name="T170" fmla="*/ 273 w 273"/>
                <a:gd name="T171" fmla="*/ 234 h 23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73" h="234">
                  <a:moveTo>
                    <a:pt x="273" y="156"/>
                  </a:moveTo>
                  <a:lnTo>
                    <a:pt x="264" y="166"/>
                  </a:lnTo>
                  <a:lnTo>
                    <a:pt x="244" y="176"/>
                  </a:lnTo>
                  <a:lnTo>
                    <a:pt x="225" y="176"/>
                  </a:lnTo>
                  <a:lnTo>
                    <a:pt x="215" y="185"/>
                  </a:lnTo>
                  <a:lnTo>
                    <a:pt x="205" y="195"/>
                  </a:lnTo>
                  <a:lnTo>
                    <a:pt x="195" y="195"/>
                  </a:lnTo>
                  <a:lnTo>
                    <a:pt x="186" y="195"/>
                  </a:lnTo>
                  <a:lnTo>
                    <a:pt x="176" y="215"/>
                  </a:lnTo>
                  <a:lnTo>
                    <a:pt x="166" y="224"/>
                  </a:lnTo>
                  <a:lnTo>
                    <a:pt x="156" y="224"/>
                  </a:lnTo>
                  <a:lnTo>
                    <a:pt x="147" y="224"/>
                  </a:lnTo>
                  <a:lnTo>
                    <a:pt x="137" y="234"/>
                  </a:lnTo>
                  <a:lnTo>
                    <a:pt x="127" y="234"/>
                  </a:lnTo>
                  <a:lnTo>
                    <a:pt x="127" y="215"/>
                  </a:lnTo>
                  <a:lnTo>
                    <a:pt x="108" y="205"/>
                  </a:lnTo>
                  <a:lnTo>
                    <a:pt x="98" y="205"/>
                  </a:lnTo>
                  <a:lnTo>
                    <a:pt x="88" y="205"/>
                  </a:lnTo>
                  <a:lnTo>
                    <a:pt x="78" y="215"/>
                  </a:lnTo>
                  <a:lnTo>
                    <a:pt x="59" y="21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6"/>
                  </a:lnTo>
                  <a:lnTo>
                    <a:pt x="30" y="146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69" y="117"/>
                  </a:lnTo>
                  <a:lnTo>
                    <a:pt x="59" y="107"/>
                  </a:lnTo>
                  <a:lnTo>
                    <a:pt x="59" y="88"/>
                  </a:lnTo>
                  <a:lnTo>
                    <a:pt x="78" y="68"/>
                  </a:lnTo>
                  <a:lnTo>
                    <a:pt x="88" y="58"/>
                  </a:lnTo>
                  <a:lnTo>
                    <a:pt x="88" y="29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08" y="19"/>
                  </a:lnTo>
                  <a:lnTo>
                    <a:pt x="127" y="10"/>
                  </a:lnTo>
                  <a:lnTo>
                    <a:pt x="147" y="0"/>
                  </a:lnTo>
                  <a:lnTo>
                    <a:pt x="137" y="10"/>
                  </a:lnTo>
                  <a:lnTo>
                    <a:pt x="147" y="19"/>
                  </a:lnTo>
                  <a:lnTo>
                    <a:pt x="156" y="19"/>
                  </a:lnTo>
                  <a:lnTo>
                    <a:pt x="166" y="19"/>
                  </a:lnTo>
                  <a:lnTo>
                    <a:pt x="176" y="19"/>
                  </a:lnTo>
                  <a:lnTo>
                    <a:pt x="195" y="29"/>
                  </a:lnTo>
                  <a:lnTo>
                    <a:pt x="215" y="39"/>
                  </a:lnTo>
                  <a:lnTo>
                    <a:pt x="225" y="58"/>
                  </a:lnTo>
                  <a:lnTo>
                    <a:pt x="244" y="58"/>
                  </a:lnTo>
                  <a:lnTo>
                    <a:pt x="254" y="58"/>
                  </a:lnTo>
                  <a:lnTo>
                    <a:pt x="264" y="78"/>
                  </a:lnTo>
                  <a:lnTo>
                    <a:pt x="264" y="97"/>
                  </a:lnTo>
                  <a:lnTo>
                    <a:pt x="254" y="127"/>
                  </a:lnTo>
                  <a:lnTo>
                    <a:pt x="264" y="136"/>
                  </a:lnTo>
                  <a:lnTo>
                    <a:pt x="264" y="146"/>
                  </a:lnTo>
                  <a:lnTo>
                    <a:pt x="273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09" name="Group 231"/>
            <p:cNvGrpSpPr>
              <a:grpSpLocks/>
            </p:cNvGrpSpPr>
            <p:nvPr/>
          </p:nvGrpSpPr>
          <p:grpSpPr bwMode="auto">
            <a:xfrm>
              <a:off x="3863" y="917"/>
              <a:ext cx="624" cy="205"/>
              <a:chOff x="3863" y="917"/>
              <a:chExt cx="624" cy="205"/>
            </a:xfrm>
          </p:grpSpPr>
          <p:sp>
            <p:nvSpPr>
              <p:cNvPr id="718" name="Freeform 233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9" name="Freeform 232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10" name="Group 228"/>
            <p:cNvGrpSpPr>
              <a:grpSpLocks/>
            </p:cNvGrpSpPr>
            <p:nvPr/>
          </p:nvGrpSpPr>
          <p:grpSpPr bwMode="auto">
            <a:xfrm>
              <a:off x="3648" y="1054"/>
              <a:ext cx="263" cy="322"/>
              <a:chOff x="3648" y="1054"/>
              <a:chExt cx="263" cy="322"/>
            </a:xfrm>
          </p:grpSpPr>
          <p:sp>
            <p:nvSpPr>
              <p:cNvPr id="716" name="Freeform 230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7" name="Freeform 229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11" name="Group 225"/>
            <p:cNvGrpSpPr>
              <a:grpSpLocks/>
            </p:cNvGrpSpPr>
            <p:nvPr/>
          </p:nvGrpSpPr>
          <p:grpSpPr bwMode="auto">
            <a:xfrm>
              <a:off x="3755" y="1424"/>
              <a:ext cx="59" cy="98"/>
              <a:chOff x="3755" y="1424"/>
              <a:chExt cx="59" cy="98"/>
            </a:xfrm>
          </p:grpSpPr>
          <p:sp>
            <p:nvSpPr>
              <p:cNvPr id="714" name="Freeform 227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5" name="Freeform 226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512" name="Group 222"/>
            <p:cNvGrpSpPr>
              <a:grpSpLocks/>
            </p:cNvGrpSpPr>
            <p:nvPr/>
          </p:nvGrpSpPr>
          <p:grpSpPr bwMode="auto">
            <a:xfrm>
              <a:off x="6720" y="1395"/>
              <a:ext cx="19" cy="20"/>
              <a:chOff x="6721" y="1395"/>
              <a:chExt cx="19" cy="20"/>
            </a:xfrm>
          </p:grpSpPr>
          <p:sp>
            <p:nvSpPr>
              <p:cNvPr id="712" name="Freeform 224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3" name="Freeform 223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13" name="Freeform 221"/>
            <p:cNvSpPr>
              <a:spLocks/>
            </p:cNvSpPr>
            <p:nvPr/>
          </p:nvSpPr>
          <p:spPr bwMode="auto">
            <a:xfrm>
              <a:off x="1737" y="1815"/>
              <a:ext cx="77" cy="59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14" name="Group 218"/>
            <p:cNvGrpSpPr>
              <a:grpSpLocks/>
            </p:cNvGrpSpPr>
            <p:nvPr/>
          </p:nvGrpSpPr>
          <p:grpSpPr bwMode="auto">
            <a:xfrm>
              <a:off x="1736" y="1815"/>
              <a:ext cx="78" cy="58"/>
              <a:chOff x="1736" y="1815"/>
              <a:chExt cx="78" cy="58"/>
            </a:xfrm>
          </p:grpSpPr>
          <p:sp>
            <p:nvSpPr>
              <p:cNvPr id="710" name="Freeform 220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1" name="Freeform 219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15" name="Freeform 217"/>
            <p:cNvSpPr>
              <a:spLocks/>
            </p:cNvSpPr>
            <p:nvPr/>
          </p:nvSpPr>
          <p:spPr bwMode="auto">
            <a:xfrm>
              <a:off x="2567" y="2750"/>
              <a:ext cx="418" cy="421"/>
            </a:xfrm>
            <a:custGeom>
              <a:avLst/>
              <a:gdLst>
                <a:gd name="T0" fmla="*/ 30 w 420"/>
                <a:gd name="T1" fmla="*/ 342 h 420"/>
                <a:gd name="T2" fmla="*/ 69 w 420"/>
                <a:gd name="T3" fmla="*/ 361 h 420"/>
                <a:gd name="T4" fmla="*/ 49 w 420"/>
                <a:gd name="T5" fmla="*/ 381 h 420"/>
                <a:gd name="T6" fmla="*/ 39 w 420"/>
                <a:gd name="T7" fmla="*/ 410 h 420"/>
                <a:gd name="T8" fmla="*/ 88 w 420"/>
                <a:gd name="T9" fmla="*/ 410 h 420"/>
                <a:gd name="T10" fmla="*/ 117 w 420"/>
                <a:gd name="T11" fmla="*/ 420 h 420"/>
                <a:gd name="T12" fmla="*/ 127 w 420"/>
                <a:gd name="T13" fmla="*/ 381 h 420"/>
                <a:gd name="T14" fmla="*/ 137 w 420"/>
                <a:gd name="T15" fmla="*/ 371 h 420"/>
                <a:gd name="T16" fmla="*/ 176 w 420"/>
                <a:gd name="T17" fmla="*/ 361 h 420"/>
                <a:gd name="T18" fmla="*/ 205 w 420"/>
                <a:gd name="T19" fmla="*/ 391 h 420"/>
                <a:gd name="T20" fmla="*/ 234 w 420"/>
                <a:gd name="T21" fmla="*/ 371 h 420"/>
                <a:gd name="T22" fmla="*/ 215 w 420"/>
                <a:gd name="T23" fmla="*/ 352 h 420"/>
                <a:gd name="T24" fmla="*/ 195 w 420"/>
                <a:gd name="T25" fmla="*/ 322 h 420"/>
                <a:gd name="T26" fmla="*/ 225 w 420"/>
                <a:gd name="T27" fmla="*/ 332 h 420"/>
                <a:gd name="T28" fmla="*/ 225 w 420"/>
                <a:gd name="T29" fmla="*/ 303 h 420"/>
                <a:gd name="T30" fmla="*/ 205 w 420"/>
                <a:gd name="T31" fmla="*/ 293 h 420"/>
                <a:gd name="T32" fmla="*/ 225 w 420"/>
                <a:gd name="T33" fmla="*/ 274 h 420"/>
                <a:gd name="T34" fmla="*/ 254 w 420"/>
                <a:gd name="T35" fmla="*/ 274 h 420"/>
                <a:gd name="T36" fmla="*/ 273 w 420"/>
                <a:gd name="T37" fmla="*/ 293 h 420"/>
                <a:gd name="T38" fmla="*/ 293 w 420"/>
                <a:gd name="T39" fmla="*/ 303 h 420"/>
                <a:gd name="T40" fmla="*/ 332 w 420"/>
                <a:gd name="T41" fmla="*/ 313 h 420"/>
                <a:gd name="T42" fmla="*/ 371 w 420"/>
                <a:gd name="T43" fmla="*/ 322 h 420"/>
                <a:gd name="T44" fmla="*/ 371 w 420"/>
                <a:gd name="T45" fmla="*/ 303 h 420"/>
                <a:gd name="T46" fmla="*/ 381 w 420"/>
                <a:gd name="T47" fmla="*/ 293 h 420"/>
                <a:gd name="T48" fmla="*/ 381 w 420"/>
                <a:gd name="T49" fmla="*/ 264 h 420"/>
                <a:gd name="T50" fmla="*/ 352 w 420"/>
                <a:gd name="T51" fmla="*/ 244 h 420"/>
                <a:gd name="T52" fmla="*/ 332 w 420"/>
                <a:gd name="T53" fmla="*/ 235 h 420"/>
                <a:gd name="T54" fmla="*/ 342 w 420"/>
                <a:gd name="T55" fmla="*/ 205 h 420"/>
                <a:gd name="T56" fmla="*/ 371 w 420"/>
                <a:gd name="T57" fmla="*/ 196 h 420"/>
                <a:gd name="T58" fmla="*/ 410 w 420"/>
                <a:gd name="T59" fmla="*/ 186 h 420"/>
                <a:gd name="T60" fmla="*/ 410 w 420"/>
                <a:gd name="T61" fmla="*/ 147 h 420"/>
                <a:gd name="T62" fmla="*/ 410 w 420"/>
                <a:gd name="T63" fmla="*/ 127 h 420"/>
                <a:gd name="T64" fmla="*/ 410 w 420"/>
                <a:gd name="T65" fmla="*/ 98 h 420"/>
                <a:gd name="T66" fmla="*/ 381 w 420"/>
                <a:gd name="T67" fmla="*/ 59 h 420"/>
                <a:gd name="T68" fmla="*/ 352 w 420"/>
                <a:gd name="T69" fmla="*/ 69 h 420"/>
                <a:gd name="T70" fmla="*/ 283 w 420"/>
                <a:gd name="T71" fmla="*/ 20 h 420"/>
                <a:gd name="T72" fmla="*/ 254 w 420"/>
                <a:gd name="T73" fmla="*/ 10 h 420"/>
                <a:gd name="T74" fmla="*/ 234 w 420"/>
                <a:gd name="T75" fmla="*/ 39 h 420"/>
                <a:gd name="T76" fmla="*/ 225 w 420"/>
                <a:gd name="T77" fmla="*/ 59 h 420"/>
                <a:gd name="T78" fmla="*/ 234 w 420"/>
                <a:gd name="T79" fmla="*/ 78 h 420"/>
                <a:gd name="T80" fmla="*/ 205 w 420"/>
                <a:gd name="T81" fmla="*/ 88 h 420"/>
                <a:gd name="T82" fmla="*/ 186 w 420"/>
                <a:gd name="T83" fmla="*/ 78 h 420"/>
                <a:gd name="T84" fmla="*/ 166 w 420"/>
                <a:gd name="T85" fmla="*/ 78 h 420"/>
                <a:gd name="T86" fmla="*/ 147 w 420"/>
                <a:gd name="T87" fmla="*/ 59 h 420"/>
                <a:gd name="T88" fmla="*/ 127 w 420"/>
                <a:gd name="T89" fmla="*/ 59 h 420"/>
                <a:gd name="T90" fmla="*/ 137 w 420"/>
                <a:gd name="T91" fmla="*/ 30 h 420"/>
                <a:gd name="T92" fmla="*/ 88 w 420"/>
                <a:gd name="T93" fmla="*/ 30 h 420"/>
                <a:gd name="T94" fmla="*/ 59 w 420"/>
                <a:gd name="T95" fmla="*/ 59 h 420"/>
                <a:gd name="T96" fmla="*/ 78 w 420"/>
                <a:gd name="T97" fmla="*/ 117 h 420"/>
                <a:gd name="T98" fmla="*/ 127 w 420"/>
                <a:gd name="T99" fmla="*/ 137 h 420"/>
                <a:gd name="T100" fmla="*/ 156 w 420"/>
                <a:gd name="T101" fmla="*/ 137 h 420"/>
                <a:gd name="T102" fmla="*/ 205 w 420"/>
                <a:gd name="T103" fmla="*/ 137 h 420"/>
                <a:gd name="T104" fmla="*/ 215 w 420"/>
                <a:gd name="T105" fmla="*/ 147 h 420"/>
                <a:gd name="T106" fmla="*/ 186 w 420"/>
                <a:gd name="T107" fmla="*/ 176 h 420"/>
                <a:gd name="T108" fmla="*/ 156 w 420"/>
                <a:gd name="T109" fmla="*/ 196 h 420"/>
                <a:gd name="T110" fmla="*/ 127 w 420"/>
                <a:gd name="T111" fmla="*/ 186 h 420"/>
                <a:gd name="T112" fmla="*/ 98 w 420"/>
                <a:gd name="T113" fmla="*/ 205 h 420"/>
                <a:gd name="T114" fmla="*/ 69 w 420"/>
                <a:gd name="T115" fmla="*/ 215 h 420"/>
                <a:gd name="T116" fmla="*/ 39 w 420"/>
                <a:gd name="T117" fmla="*/ 264 h 420"/>
                <a:gd name="T118" fmla="*/ 39 w 420"/>
                <a:gd name="T119" fmla="*/ 274 h 420"/>
                <a:gd name="T120" fmla="*/ 10 w 420"/>
                <a:gd name="T121" fmla="*/ 293 h 420"/>
                <a:gd name="T122" fmla="*/ 10 w 420"/>
                <a:gd name="T123" fmla="*/ 332 h 420"/>
                <a:gd name="T124" fmla="*/ 20 w 420"/>
                <a:gd name="T125" fmla="*/ 342 h 4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0"/>
                <a:gd name="T190" fmla="*/ 0 h 420"/>
                <a:gd name="T191" fmla="*/ 420 w 420"/>
                <a:gd name="T192" fmla="*/ 420 h 4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0" h="420">
                  <a:moveTo>
                    <a:pt x="20" y="342"/>
                  </a:moveTo>
                  <a:lnTo>
                    <a:pt x="30" y="342"/>
                  </a:lnTo>
                  <a:lnTo>
                    <a:pt x="59" y="352"/>
                  </a:lnTo>
                  <a:lnTo>
                    <a:pt x="69" y="361"/>
                  </a:lnTo>
                  <a:lnTo>
                    <a:pt x="69" y="381"/>
                  </a:lnTo>
                  <a:lnTo>
                    <a:pt x="49" y="381"/>
                  </a:lnTo>
                  <a:lnTo>
                    <a:pt x="30" y="391"/>
                  </a:lnTo>
                  <a:lnTo>
                    <a:pt x="39" y="410"/>
                  </a:lnTo>
                  <a:lnTo>
                    <a:pt x="69" y="410"/>
                  </a:lnTo>
                  <a:lnTo>
                    <a:pt x="88" y="410"/>
                  </a:lnTo>
                  <a:lnTo>
                    <a:pt x="108" y="420"/>
                  </a:lnTo>
                  <a:lnTo>
                    <a:pt x="117" y="420"/>
                  </a:lnTo>
                  <a:lnTo>
                    <a:pt x="127" y="400"/>
                  </a:lnTo>
                  <a:lnTo>
                    <a:pt x="127" y="381"/>
                  </a:lnTo>
                  <a:lnTo>
                    <a:pt x="127" y="361"/>
                  </a:lnTo>
                  <a:lnTo>
                    <a:pt x="137" y="371"/>
                  </a:lnTo>
                  <a:lnTo>
                    <a:pt x="156" y="371"/>
                  </a:lnTo>
                  <a:lnTo>
                    <a:pt x="176" y="361"/>
                  </a:lnTo>
                  <a:lnTo>
                    <a:pt x="186" y="371"/>
                  </a:lnTo>
                  <a:lnTo>
                    <a:pt x="205" y="391"/>
                  </a:lnTo>
                  <a:lnTo>
                    <a:pt x="225" y="391"/>
                  </a:lnTo>
                  <a:lnTo>
                    <a:pt x="234" y="371"/>
                  </a:lnTo>
                  <a:lnTo>
                    <a:pt x="225" y="361"/>
                  </a:lnTo>
                  <a:lnTo>
                    <a:pt x="215" y="352"/>
                  </a:lnTo>
                  <a:lnTo>
                    <a:pt x="186" y="332"/>
                  </a:lnTo>
                  <a:lnTo>
                    <a:pt x="195" y="322"/>
                  </a:lnTo>
                  <a:lnTo>
                    <a:pt x="205" y="322"/>
                  </a:lnTo>
                  <a:lnTo>
                    <a:pt x="225" y="332"/>
                  </a:lnTo>
                  <a:lnTo>
                    <a:pt x="225" y="322"/>
                  </a:lnTo>
                  <a:lnTo>
                    <a:pt x="225" y="303"/>
                  </a:lnTo>
                  <a:lnTo>
                    <a:pt x="205" y="303"/>
                  </a:lnTo>
                  <a:lnTo>
                    <a:pt x="205" y="293"/>
                  </a:lnTo>
                  <a:lnTo>
                    <a:pt x="215" y="283"/>
                  </a:lnTo>
                  <a:lnTo>
                    <a:pt x="225" y="274"/>
                  </a:lnTo>
                  <a:lnTo>
                    <a:pt x="244" y="274"/>
                  </a:lnTo>
                  <a:lnTo>
                    <a:pt x="254" y="274"/>
                  </a:lnTo>
                  <a:lnTo>
                    <a:pt x="254" y="293"/>
                  </a:lnTo>
                  <a:lnTo>
                    <a:pt x="273" y="293"/>
                  </a:lnTo>
                  <a:lnTo>
                    <a:pt x="283" y="313"/>
                  </a:lnTo>
                  <a:lnTo>
                    <a:pt x="293" y="303"/>
                  </a:lnTo>
                  <a:lnTo>
                    <a:pt x="312" y="313"/>
                  </a:lnTo>
                  <a:lnTo>
                    <a:pt x="332" y="313"/>
                  </a:lnTo>
                  <a:lnTo>
                    <a:pt x="352" y="322"/>
                  </a:lnTo>
                  <a:lnTo>
                    <a:pt x="371" y="322"/>
                  </a:lnTo>
                  <a:lnTo>
                    <a:pt x="381" y="332"/>
                  </a:lnTo>
                  <a:lnTo>
                    <a:pt x="371" y="303"/>
                  </a:lnTo>
                  <a:lnTo>
                    <a:pt x="371" y="293"/>
                  </a:lnTo>
                  <a:lnTo>
                    <a:pt x="381" y="293"/>
                  </a:lnTo>
                  <a:lnTo>
                    <a:pt x="391" y="274"/>
                  </a:lnTo>
                  <a:lnTo>
                    <a:pt x="381" y="264"/>
                  </a:lnTo>
                  <a:lnTo>
                    <a:pt x="361" y="264"/>
                  </a:lnTo>
                  <a:lnTo>
                    <a:pt x="352" y="244"/>
                  </a:lnTo>
                  <a:lnTo>
                    <a:pt x="332" y="244"/>
                  </a:lnTo>
                  <a:lnTo>
                    <a:pt x="332" y="235"/>
                  </a:lnTo>
                  <a:lnTo>
                    <a:pt x="342" y="225"/>
                  </a:lnTo>
                  <a:lnTo>
                    <a:pt x="342" y="205"/>
                  </a:lnTo>
                  <a:lnTo>
                    <a:pt x="361" y="205"/>
                  </a:lnTo>
                  <a:lnTo>
                    <a:pt x="371" y="196"/>
                  </a:lnTo>
                  <a:lnTo>
                    <a:pt x="371" y="186"/>
                  </a:lnTo>
                  <a:lnTo>
                    <a:pt x="410" y="186"/>
                  </a:lnTo>
                  <a:lnTo>
                    <a:pt x="410" y="166"/>
                  </a:lnTo>
                  <a:lnTo>
                    <a:pt x="410" y="147"/>
                  </a:lnTo>
                  <a:lnTo>
                    <a:pt x="420" y="137"/>
                  </a:lnTo>
                  <a:lnTo>
                    <a:pt x="410" y="127"/>
                  </a:lnTo>
                  <a:lnTo>
                    <a:pt x="420" y="108"/>
                  </a:lnTo>
                  <a:lnTo>
                    <a:pt x="410" y="98"/>
                  </a:lnTo>
                  <a:lnTo>
                    <a:pt x="400" y="78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2" y="69"/>
                  </a:lnTo>
                  <a:lnTo>
                    <a:pt x="322" y="49"/>
                  </a:lnTo>
                  <a:lnTo>
                    <a:pt x="283" y="20"/>
                  </a:lnTo>
                  <a:lnTo>
                    <a:pt x="273" y="0"/>
                  </a:lnTo>
                  <a:lnTo>
                    <a:pt x="254" y="10"/>
                  </a:lnTo>
                  <a:lnTo>
                    <a:pt x="254" y="30"/>
                  </a:lnTo>
                  <a:lnTo>
                    <a:pt x="234" y="39"/>
                  </a:lnTo>
                  <a:lnTo>
                    <a:pt x="234" y="49"/>
                  </a:lnTo>
                  <a:lnTo>
                    <a:pt x="225" y="59"/>
                  </a:lnTo>
                  <a:lnTo>
                    <a:pt x="234" y="59"/>
                  </a:lnTo>
                  <a:lnTo>
                    <a:pt x="234" y="78"/>
                  </a:lnTo>
                  <a:lnTo>
                    <a:pt x="205" y="69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186" y="78"/>
                  </a:lnTo>
                  <a:lnTo>
                    <a:pt x="176" y="78"/>
                  </a:lnTo>
                  <a:lnTo>
                    <a:pt x="166" y="78"/>
                  </a:lnTo>
                  <a:lnTo>
                    <a:pt x="147" y="78"/>
                  </a:lnTo>
                  <a:lnTo>
                    <a:pt x="147" y="59"/>
                  </a:lnTo>
                  <a:lnTo>
                    <a:pt x="127" y="69"/>
                  </a:lnTo>
                  <a:lnTo>
                    <a:pt x="127" y="59"/>
                  </a:lnTo>
                  <a:lnTo>
                    <a:pt x="147" y="49"/>
                  </a:lnTo>
                  <a:lnTo>
                    <a:pt x="137" y="30"/>
                  </a:lnTo>
                  <a:lnTo>
                    <a:pt x="127" y="20"/>
                  </a:lnTo>
                  <a:lnTo>
                    <a:pt x="88" y="30"/>
                  </a:lnTo>
                  <a:lnTo>
                    <a:pt x="78" y="59"/>
                  </a:lnTo>
                  <a:lnTo>
                    <a:pt x="59" y="59"/>
                  </a:lnTo>
                  <a:lnTo>
                    <a:pt x="69" y="88"/>
                  </a:lnTo>
                  <a:lnTo>
                    <a:pt x="78" y="117"/>
                  </a:lnTo>
                  <a:lnTo>
                    <a:pt x="108" y="117"/>
                  </a:lnTo>
                  <a:lnTo>
                    <a:pt x="127" y="137"/>
                  </a:lnTo>
                  <a:lnTo>
                    <a:pt x="137" y="137"/>
                  </a:lnTo>
                  <a:lnTo>
                    <a:pt x="156" y="137"/>
                  </a:lnTo>
                  <a:lnTo>
                    <a:pt x="176" y="147"/>
                  </a:lnTo>
                  <a:lnTo>
                    <a:pt x="205" y="137"/>
                  </a:lnTo>
                  <a:lnTo>
                    <a:pt x="215" y="137"/>
                  </a:lnTo>
                  <a:lnTo>
                    <a:pt x="215" y="147"/>
                  </a:lnTo>
                  <a:lnTo>
                    <a:pt x="205" y="166"/>
                  </a:lnTo>
                  <a:lnTo>
                    <a:pt x="186" y="176"/>
                  </a:lnTo>
                  <a:lnTo>
                    <a:pt x="176" y="186"/>
                  </a:lnTo>
                  <a:lnTo>
                    <a:pt x="156" y="196"/>
                  </a:lnTo>
                  <a:lnTo>
                    <a:pt x="147" y="186"/>
                  </a:lnTo>
                  <a:lnTo>
                    <a:pt x="127" y="186"/>
                  </a:lnTo>
                  <a:lnTo>
                    <a:pt x="108" y="186"/>
                  </a:lnTo>
                  <a:lnTo>
                    <a:pt x="98" y="205"/>
                  </a:lnTo>
                  <a:lnTo>
                    <a:pt x="78" y="215"/>
                  </a:lnTo>
                  <a:lnTo>
                    <a:pt x="69" y="215"/>
                  </a:lnTo>
                  <a:lnTo>
                    <a:pt x="59" y="244"/>
                  </a:lnTo>
                  <a:lnTo>
                    <a:pt x="39" y="264"/>
                  </a:lnTo>
                  <a:lnTo>
                    <a:pt x="49" y="274"/>
                  </a:lnTo>
                  <a:lnTo>
                    <a:pt x="39" y="274"/>
                  </a:lnTo>
                  <a:lnTo>
                    <a:pt x="30" y="274"/>
                  </a:lnTo>
                  <a:lnTo>
                    <a:pt x="10" y="293"/>
                  </a:lnTo>
                  <a:lnTo>
                    <a:pt x="0" y="322"/>
                  </a:lnTo>
                  <a:lnTo>
                    <a:pt x="10" y="332"/>
                  </a:lnTo>
                  <a:lnTo>
                    <a:pt x="10" y="342"/>
                  </a:lnTo>
                  <a:lnTo>
                    <a:pt x="20" y="342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6" name="Rectangle 216"/>
            <p:cNvSpPr>
              <a:spLocks noChangeArrowheads="1"/>
            </p:cNvSpPr>
            <p:nvPr/>
          </p:nvSpPr>
          <p:spPr bwMode="auto">
            <a:xfrm>
              <a:off x="2859" y="264"/>
              <a:ext cx="1698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7" name="Rectangle 212"/>
            <p:cNvSpPr>
              <a:spLocks noChangeArrowheads="1"/>
            </p:cNvSpPr>
            <p:nvPr/>
          </p:nvSpPr>
          <p:spPr bwMode="auto">
            <a:xfrm>
              <a:off x="1" y="1455"/>
              <a:ext cx="1405" cy="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8" name="Rectangle 211"/>
            <p:cNvSpPr>
              <a:spLocks noChangeArrowheads="1"/>
            </p:cNvSpPr>
            <p:nvPr/>
          </p:nvSpPr>
          <p:spPr bwMode="auto">
            <a:xfrm>
              <a:off x="487" y="3523"/>
              <a:ext cx="1405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9" name="Rectangle 210"/>
            <p:cNvSpPr>
              <a:spLocks noChangeArrowheads="1"/>
            </p:cNvSpPr>
            <p:nvPr/>
          </p:nvSpPr>
          <p:spPr bwMode="auto">
            <a:xfrm>
              <a:off x="1657" y="3328"/>
              <a:ext cx="1408" cy="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0" name="Rectangle 208"/>
            <p:cNvSpPr>
              <a:spLocks noChangeArrowheads="1"/>
            </p:cNvSpPr>
            <p:nvPr/>
          </p:nvSpPr>
          <p:spPr bwMode="auto">
            <a:xfrm>
              <a:off x="3745" y="1171"/>
              <a:ext cx="1405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1" name="Rectangle 207"/>
            <p:cNvSpPr>
              <a:spLocks noChangeArrowheads="1"/>
            </p:cNvSpPr>
            <p:nvPr/>
          </p:nvSpPr>
          <p:spPr bwMode="auto">
            <a:xfrm>
              <a:off x="4963" y="4264"/>
              <a:ext cx="1405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2" name="Rectangle 204"/>
            <p:cNvSpPr>
              <a:spLocks noChangeArrowheads="1"/>
            </p:cNvSpPr>
            <p:nvPr/>
          </p:nvSpPr>
          <p:spPr bwMode="auto">
            <a:xfrm>
              <a:off x="6301" y="567"/>
              <a:ext cx="1403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3" name="Freeform 202"/>
            <p:cNvSpPr>
              <a:spLocks/>
            </p:cNvSpPr>
            <p:nvPr/>
          </p:nvSpPr>
          <p:spPr bwMode="auto">
            <a:xfrm>
              <a:off x="1249" y="2391"/>
              <a:ext cx="496" cy="447"/>
            </a:xfrm>
            <a:custGeom>
              <a:avLst/>
              <a:gdLst/>
              <a:ahLst/>
              <a:cxnLst>
                <a:cxn ang="0">
                  <a:pos x="185" y="39"/>
                </a:cxn>
                <a:cxn ang="0">
                  <a:pos x="204" y="20"/>
                </a:cxn>
                <a:cxn ang="0">
                  <a:pos x="214" y="10"/>
                </a:cxn>
                <a:cxn ang="0">
                  <a:pos x="243" y="0"/>
                </a:cxn>
                <a:cxn ang="0">
                  <a:pos x="282" y="10"/>
                </a:cxn>
                <a:cxn ang="0">
                  <a:pos x="341" y="59"/>
                </a:cxn>
                <a:cxn ang="0">
                  <a:pos x="351" y="88"/>
                </a:cxn>
                <a:cxn ang="0">
                  <a:pos x="370" y="108"/>
                </a:cxn>
                <a:cxn ang="0">
                  <a:pos x="380" y="117"/>
                </a:cxn>
                <a:cxn ang="0">
                  <a:pos x="390" y="137"/>
                </a:cxn>
                <a:cxn ang="0">
                  <a:pos x="438" y="157"/>
                </a:cxn>
                <a:cxn ang="0">
                  <a:pos x="419" y="215"/>
                </a:cxn>
                <a:cxn ang="0">
                  <a:pos x="399" y="244"/>
                </a:cxn>
                <a:cxn ang="0">
                  <a:pos x="429" y="254"/>
                </a:cxn>
                <a:cxn ang="0">
                  <a:pos x="438" y="274"/>
                </a:cxn>
                <a:cxn ang="0">
                  <a:pos x="448" y="303"/>
                </a:cxn>
                <a:cxn ang="0">
                  <a:pos x="468" y="293"/>
                </a:cxn>
                <a:cxn ang="0">
                  <a:pos x="468" y="332"/>
                </a:cxn>
                <a:cxn ang="0">
                  <a:pos x="487" y="342"/>
                </a:cxn>
                <a:cxn ang="0">
                  <a:pos x="497" y="361"/>
                </a:cxn>
                <a:cxn ang="0">
                  <a:pos x="477" y="381"/>
                </a:cxn>
                <a:cxn ang="0">
                  <a:pos x="429" y="381"/>
                </a:cxn>
                <a:cxn ang="0">
                  <a:pos x="380" y="410"/>
                </a:cxn>
                <a:cxn ang="0">
                  <a:pos x="380" y="439"/>
                </a:cxn>
                <a:cxn ang="0">
                  <a:pos x="321" y="449"/>
                </a:cxn>
                <a:cxn ang="0">
                  <a:pos x="282" y="420"/>
                </a:cxn>
                <a:cxn ang="0">
                  <a:pos x="243" y="400"/>
                </a:cxn>
                <a:cxn ang="0">
                  <a:pos x="224" y="400"/>
                </a:cxn>
                <a:cxn ang="0">
                  <a:pos x="204" y="391"/>
                </a:cxn>
                <a:cxn ang="0">
                  <a:pos x="195" y="439"/>
                </a:cxn>
                <a:cxn ang="0">
                  <a:pos x="165" y="400"/>
                </a:cxn>
                <a:cxn ang="0">
                  <a:pos x="146" y="391"/>
                </a:cxn>
                <a:cxn ang="0">
                  <a:pos x="126" y="371"/>
                </a:cxn>
                <a:cxn ang="0">
                  <a:pos x="117" y="400"/>
                </a:cxn>
                <a:cxn ang="0">
                  <a:pos x="87" y="381"/>
                </a:cxn>
                <a:cxn ang="0">
                  <a:pos x="58" y="381"/>
                </a:cxn>
                <a:cxn ang="0">
                  <a:pos x="48" y="391"/>
                </a:cxn>
                <a:cxn ang="0">
                  <a:pos x="19" y="342"/>
                </a:cxn>
                <a:cxn ang="0">
                  <a:pos x="19" y="313"/>
                </a:cxn>
                <a:cxn ang="0">
                  <a:pos x="39" y="283"/>
                </a:cxn>
                <a:cxn ang="0">
                  <a:pos x="19" y="254"/>
                </a:cxn>
                <a:cxn ang="0">
                  <a:pos x="58" y="225"/>
                </a:cxn>
                <a:cxn ang="0">
                  <a:pos x="107" y="225"/>
                </a:cxn>
                <a:cxn ang="0">
                  <a:pos x="126" y="176"/>
                </a:cxn>
                <a:cxn ang="0">
                  <a:pos x="136" y="137"/>
                </a:cxn>
                <a:cxn ang="0">
                  <a:pos x="165" y="127"/>
                </a:cxn>
                <a:cxn ang="0">
                  <a:pos x="165" y="49"/>
                </a:cxn>
              </a:cxnLst>
              <a:rect l="0" t="0" r="r" b="b"/>
              <a:pathLst>
                <a:path w="497" h="449">
                  <a:moveTo>
                    <a:pt x="165" y="49"/>
                  </a:moveTo>
                  <a:lnTo>
                    <a:pt x="185" y="39"/>
                  </a:lnTo>
                  <a:lnTo>
                    <a:pt x="195" y="39"/>
                  </a:lnTo>
                  <a:lnTo>
                    <a:pt x="204" y="20"/>
                  </a:lnTo>
                  <a:lnTo>
                    <a:pt x="214" y="20"/>
                  </a:lnTo>
                  <a:lnTo>
                    <a:pt x="214" y="10"/>
                  </a:lnTo>
                  <a:lnTo>
                    <a:pt x="214" y="0"/>
                  </a:lnTo>
                  <a:lnTo>
                    <a:pt x="243" y="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12" y="49"/>
                  </a:lnTo>
                  <a:lnTo>
                    <a:pt x="341" y="59"/>
                  </a:lnTo>
                  <a:lnTo>
                    <a:pt x="351" y="69"/>
                  </a:lnTo>
                  <a:lnTo>
                    <a:pt x="351" y="88"/>
                  </a:lnTo>
                  <a:lnTo>
                    <a:pt x="360" y="108"/>
                  </a:lnTo>
                  <a:lnTo>
                    <a:pt x="370" y="108"/>
                  </a:lnTo>
                  <a:lnTo>
                    <a:pt x="390" y="108"/>
                  </a:lnTo>
                  <a:lnTo>
                    <a:pt x="380" y="117"/>
                  </a:lnTo>
                  <a:lnTo>
                    <a:pt x="380" y="127"/>
                  </a:lnTo>
                  <a:lnTo>
                    <a:pt x="390" y="137"/>
                  </a:lnTo>
                  <a:lnTo>
                    <a:pt x="409" y="127"/>
                  </a:lnTo>
                  <a:lnTo>
                    <a:pt x="438" y="157"/>
                  </a:lnTo>
                  <a:lnTo>
                    <a:pt x="448" y="176"/>
                  </a:lnTo>
                  <a:lnTo>
                    <a:pt x="419" y="215"/>
                  </a:lnTo>
                  <a:lnTo>
                    <a:pt x="390" y="235"/>
                  </a:lnTo>
                  <a:lnTo>
                    <a:pt x="399" y="244"/>
                  </a:lnTo>
                  <a:lnTo>
                    <a:pt x="419" y="264"/>
                  </a:lnTo>
                  <a:lnTo>
                    <a:pt x="429" y="254"/>
                  </a:lnTo>
                  <a:lnTo>
                    <a:pt x="448" y="264"/>
                  </a:lnTo>
                  <a:lnTo>
                    <a:pt x="438" y="274"/>
                  </a:lnTo>
                  <a:lnTo>
                    <a:pt x="429" y="283"/>
                  </a:lnTo>
                  <a:lnTo>
                    <a:pt x="448" y="303"/>
                  </a:lnTo>
                  <a:lnTo>
                    <a:pt x="458" y="293"/>
                  </a:lnTo>
                  <a:lnTo>
                    <a:pt x="468" y="293"/>
                  </a:lnTo>
                  <a:lnTo>
                    <a:pt x="477" y="303"/>
                  </a:lnTo>
                  <a:lnTo>
                    <a:pt x="468" y="332"/>
                  </a:lnTo>
                  <a:lnTo>
                    <a:pt x="487" y="332"/>
                  </a:lnTo>
                  <a:lnTo>
                    <a:pt x="487" y="342"/>
                  </a:lnTo>
                  <a:lnTo>
                    <a:pt x="487" y="352"/>
                  </a:lnTo>
                  <a:lnTo>
                    <a:pt x="497" y="361"/>
                  </a:lnTo>
                  <a:lnTo>
                    <a:pt x="487" y="371"/>
                  </a:lnTo>
                  <a:lnTo>
                    <a:pt x="477" y="381"/>
                  </a:lnTo>
                  <a:lnTo>
                    <a:pt x="458" y="381"/>
                  </a:lnTo>
                  <a:lnTo>
                    <a:pt x="429" y="381"/>
                  </a:lnTo>
                  <a:lnTo>
                    <a:pt x="399" y="391"/>
                  </a:lnTo>
                  <a:lnTo>
                    <a:pt x="380" y="410"/>
                  </a:lnTo>
                  <a:lnTo>
                    <a:pt x="380" y="420"/>
                  </a:lnTo>
                  <a:lnTo>
                    <a:pt x="380" y="439"/>
                  </a:lnTo>
                  <a:lnTo>
                    <a:pt x="360" y="449"/>
                  </a:lnTo>
                  <a:lnTo>
                    <a:pt x="321" y="449"/>
                  </a:lnTo>
                  <a:lnTo>
                    <a:pt x="312" y="439"/>
                  </a:lnTo>
                  <a:lnTo>
                    <a:pt x="282" y="420"/>
                  </a:lnTo>
                  <a:lnTo>
                    <a:pt x="263" y="420"/>
                  </a:lnTo>
                  <a:lnTo>
                    <a:pt x="243" y="400"/>
                  </a:lnTo>
                  <a:lnTo>
                    <a:pt x="224" y="400"/>
                  </a:lnTo>
                  <a:lnTo>
                    <a:pt x="214" y="400"/>
                  </a:lnTo>
                  <a:lnTo>
                    <a:pt x="204" y="391"/>
                  </a:lnTo>
                  <a:lnTo>
                    <a:pt x="195" y="391"/>
                  </a:lnTo>
                  <a:lnTo>
                    <a:pt x="195" y="439"/>
                  </a:lnTo>
                  <a:lnTo>
                    <a:pt x="175" y="420"/>
                  </a:lnTo>
                  <a:lnTo>
                    <a:pt x="165" y="400"/>
                  </a:lnTo>
                  <a:lnTo>
                    <a:pt x="156" y="400"/>
                  </a:lnTo>
                  <a:lnTo>
                    <a:pt x="146" y="391"/>
                  </a:lnTo>
                  <a:lnTo>
                    <a:pt x="146" y="371"/>
                  </a:lnTo>
                  <a:lnTo>
                    <a:pt x="126" y="371"/>
                  </a:lnTo>
                  <a:lnTo>
                    <a:pt x="126" y="391"/>
                  </a:lnTo>
                  <a:lnTo>
                    <a:pt x="117" y="400"/>
                  </a:lnTo>
                  <a:lnTo>
                    <a:pt x="107" y="381"/>
                  </a:lnTo>
                  <a:lnTo>
                    <a:pt x="87" y="381"/>
                  </a:lnTo>
                  <a:lnTo>
                    <a:pt x="58" y="371"/>
                  </a:lnTo>
                  <a:lnTo>
                    <a:pt x="58" y="381"/>
                  </a:lnTo>
                  <a:lnTo>
                    <a:pt x="48" y="400"/>
                  </a:lnTo>
                  <a:lnTo>
                    <a:pt x="48" y="391"/>
                  </a:lnTo>
                  <a:lnTo>
                    <a:pt x="29" y="361"/>
                  </a:lnTo>
                  <a:lnTo>
                    <a:pt x="19" y="342"/>
                  </a:lnTo>
                  <a:lnTo>
                    <a:pt x="0" y="342"/>
                  </a:lnTo>
                  <a:lnTo>
                    <a:pt x="19" y="313"/>
                  </a:lnTo>
                  <a:lnTo>
                    <a:pt x="19" y="293"/>
                  </a:lnTo>
                  <a:lnTo>
                    <a:pt x="39" y="283"/>
                  </a:lnTo>
                  <a:lnTo>
                    <a:pt x="19" y="264"/>
                  </a:lnTo>
                  <a:lnTo>
                    <a:pt x="19" y="254"/>
                  </a:lnTo>
                  <a:lnTo>
                    <a:pt x="39" y="235"/>
                  </a:lnTo>
                  <a:lnTo>
                    <a:pt x="58" y="225"/>
                  </a:lnTo>
                  <a:lnTo>
                    <a:pt x="87" y="235"/>
                  </a:lnTo>
                  <a:lnTo>
                    <a:pt x="107" y="225"/>
                  </a:lnTo>
                  <a:lnTo>
                    <a:pt x="117" y="196"/>
                  </a:lnTo>
                  <a:lnTo>
                    <a:pt x="126" y="176"/>
                  </a:lnTo>
                  <a:lnTo>
                    <a:pt x="126" y="166"/>
                  </a:lnTo>
                  <a:lnTo>
                    <a:pt x="136" y="137"/>
                  </a:lnTo>
                  <a:lnTo>
                    <a:pt x="156" y="137"/>
                  </a:lnTo>
                  <a:lnTo>
                    <a:pt x="165" y="127"/>
                  </a:lnTo>
                  <a:lnTo>
                    <a:pt x="175" y="59"/>
                  </a:lnTo>
                  <a:lnTo>
                    <a:pt x="165" y="4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4" name="Freeform 201"/>
            <p:cNvSpPr>
              <a:spLocks/>
            </p:cNvSpPr>
            <p:nvPr/>
          </p:nvSpPr>
          <p:spPr bwMode="auto">
            <a:xfrm>
              <a:off x="966" y="2412"/>
              <a:ext cx="459" cy="468"/>
            </a:xfrm>
            <a:custGeom>
              <a:avLst/>
              <a:gdLst/>
              <a:ahLst/>
              <a:cxnLst>
                <a:cxn ang="0">
                  <a:pos x="322" y="390"/>
                </a:cxn>
                <a:cxn ang="0">
                  <a:pos x="351" y="390"/>
                </a:cxn>
                <a:cxn ang="0">
                  <a:pos x="370" y="410"/>
                </a:cxn>
                <a:cxn ang="0">
                  <a:pos x="322" y="439"/>
                </a:cxn>
                <a:cxn ang="0">
                  <a:pos x="283" y="439"/>
                </a:cxn>
                <a:cxn ang="0">
                  <a:pos x="273" y="458"/>
                </a:cxn>
                <a:cxn ang="0">
                  <a:pos x="244" y="468"/>
                </a:cxn>
                <a:cxn ang="0">
                  <a:pos x="204" y="449"/>
                </a:cxn>
                <a:cxn ang="0">
                  <a:pos x="195" y="410"/>
                </a:cxn>
                <a:cxn ang="0">
                  <a:pos x="175" y="380"/>
                </a:cxn>
                <a:cxn ang="0">
                  <a:pos x="165" y="341"/>
                </a:cxn>
                <a:cxn ang="0">
                  <a:pos x="156" y="361"/>
                </a:cxn>
                <a:cxn ang="0">
                  <a:pos x="117" y="351"/>
                </a:cxn>
                <a:cxn ang="0">
                  <a:pos x="87" y="361"/>
                </a:cxn>
                <a:cxn ang="0">
                  <a:pos x="58" y="312"/>
                </a:cxn>
                <a:cxn ang="0">
                  <a:pos x="78" y="293"/>
                </a:cxn>
                <a:cxn ang="0">
                  <a:pos x="48" y="263"/>
                </a:cxn>
                <a:cxn ang="0">
                  <a:pos x="48" y="244"/>
                </a:cxn>
                <a:cxn ang="0">
                  <a:pos x="68" y="215"/>
                </a:cxn>
                <a:cxn ang="0">
                  <a:pos x="48" y="156"/>
                </a:cxn>
                <a:cxn ang="0">
                  <a:pos x="19" y="166"/>
                </a:cxn>
                <a:cxn ang="0">
                  <a:pos x="0" y="146"/>
                </a:cxn>
                <a:cxn ang="0">
                  <a:pos x="19" y="117"/>
                </a:cxn>
                <a:cxn ang="0">
                  <a:pos x="58" y="137"/>
                </a:cxn>
                <a:cxn ang="0">
                  <a:pos x="68" y="127"/>
                </a:cxn>
                <a:cxn ang="0">
                  <a:pos x="68" y="97"/>
                </a:cxn>
                <a:cxn ang="0">
                  <a:pos x="48" y="88"/>
                </a:cxn>
                <a:cxn ang="0">
                  <a:pos x="29" y="68"/>
                </a:cxn>
                <a:cxn ang="0">
                  <a:pos x="39" y="68"/>
                </a:cxn>
                <a:cxn ang="0">
                  <a:pos x="58" y="49"/>
                </a:cxn>
                <a:cxn ang="0">
                  <a:pos x="78" y="39"/>
                </a:cxn>
                <a:cxn ang="0">
                  <a:pos x="107" y="58"/>
                </a:cxn>
                <a:cxn ang="0">
                  <a:pos x="136" y="78"/>
                </a:cxn>
                <a:cxn ang="0">
                  <a:pos x="175" y="107"/>
                </a:cxn>
                <a:cxn ang="0">
                  <a:pos x="204" y="97"/>
                </a:cxn>
                <a:cxn ang="0">
                  <a:pos x="224" y="78"/>
                </a:cxn>
                <a:cxn ang="0">
                  <a:pos x="224" y="49"/>
                </a:cxn>
                <a:cxn ang="0">
                  <a:pos x="253" y="39"/>
                </a:cxn>
                <a:cxn ang="0">
                  <a:pos x="283" y="49"/>
                </a:cxn>
                <a:cxn ang="0">
                  <a:pos x="273" y="29"/>
                </a:cxn>
                <a:cxn ang="0">
                  <a:pos x="312" y="29"/>
                </a:cxn>
                <a:cxn ang="0">
                  <a:pos x="322" y="0"/>
                </a:cxn>
                <a:cxn ang="0">
                  <a:pos x="380" y="39"/>
                </a:cxn>
                <a:cxn ang="0">
                  <a:pos x="419" y="19"/>
                </a:cxn>
                <a:cxn ang="0">
                  <a:pos x="439" y="39"/>
                </a:cxn>
                <a:cxn ang="0">
                  <a:pos x="458" y="49"/>
                </a:cxn>
                <a:cxn ang="0">
                  <a:pos x="448" y="117"/>
                </a:cxn>
                <a:cxn ang="0">
                  <a:pos x="409" y="146"/>
                </a:cxn>
                <a:cxn ang="0">
                  <a:pos x="409" y="176"/>
                </a:cxn>
                <a:cxn ang="0">
                  <a:pos x="380" y="215"/>
                </a:cxn>
                <a:cxn ang="0">
                  <a:pos x="322" y="215"/>
                </a:cxn>
                <a:cxn ang="0">
                  <a:pos x="312" y="244"/>
                </a:cxn>
                <a:cxn ang="0">
                  <a:pos x="312" y="273"/>
                </a:cxn>
                <a:cxn ang="0">
                  <a:pos x="292" y="322"/>
                </a:cxn>
                <a:cxn ang="0">
                  <a:pos x="312" y="341"/>
                </a:cxn>
                <a:cxn ang="0">
                  <a:pos x="331" y="371"/>
                </a:cxn>
              </a:cxnLst>
              <a:rect l="0" t="0" r="r" b="b"/>
              <a:pathLst>
                <a:path w="458" h="468">
                  <a:moveTo>
                    <a:pt x="331" y="371"/>
                  </a:moveTo>
                  <a:lnTo>
                    <a:pt x="322" y="390"/>
                  </a:lnTo>
                  <a:lnTo>
                    <a:pt x="331" y="400"/>
                  </a:lnTo>
                  <a:lnTo>
                    <a:pt x="351" y="390"/>
                  </a:lnTo>
                  <a:lnTo>
                    <a:pt x="361" y="400"/>
                  </a:lnTo>
                  <a:lnTo>
                    <a:pt x="370" y="410"/>
                  </a:lnTo>
                  <a:lnTo>
                    <a:pt x="351" y="419"/>
                  </a:lnTo>
                  <a:lnTo>
                    <a:pt x="322" y="439"/>
                  </a:lnTo>
                  <a:lnTo>
                    <a:pt x="302" y="449"/>
                  </a:lnTo>
                  <a:lnTo>
                    <a:pt x="283" y="439"/>
                  </a:lnTo>
                  <a:lnTo>
                    <a:pt x="263" y="449"/>
                  </a:lnTo>
                  <a:lnTo>
                    <a:pt x="273" y="458"/>
                  </a:lnTo>
                  <a:lnTo>
                    <a:pt x="253" y="468"/>
                  </a:lnTo>
                  <a:lnTo>
                    <a:pt x="244" y="468"/>
                  </a:lnTo>
                  <a:lnTo>
                    <a:pt x="244" y="458"/>
                  </a:lnTo>
                  <a:lnTo>
                    <a:pt x="204" y="449"/>
                  </a:lnTo>
                  <a:lnTo>
                    <a:pt x="204" y="439"/>
                  </a:lnTo>
                  <a:lnTo>
                    <a:pt x="195" y="410"/>
                  </a:lnTo>
                  <a:lnTo>
                    <a:pt x="195" y="390"/>
                  </a:lnTo>
                  <a:lnTo>
                    <a:pt x="175" y="380"/>
                  </a:lnTo>
                  <a:lnTo>
                    <a:pt x="175" y="361"/>
                  </a:lnTo>
                  <a:lnTo>
                    <a:pt x="165" y="341"/>
                  </a:lnTo>
                  <a:lnTo>
                    <a:pt x="165" y="351"/>
                  </a:lnTo>
                  <a:lnTo>
                    <a:pt x="156" y="361"/>
                  </a:lnTo>
                  <a:lnTo>
                    <a:pt x="146" y="361"/>
                  </a:lnTo>
                  <a:lnTo>
                    <a:pt x="117" y="351"/>
                  </a:lnTo>
                  <a:lnTo>
                    <a:pt x="107" y="351"/>
                  </a:lnTo>
                  <a:lnTo>
                    <a:pt x="87" y="361"/>
                  </a:lnTo>
                  <a:lnTo>
                    <a:pt x="58" y="33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63"/>
                  </a:lnTo>
                  <a:lnTo>
                    <a:pt x="48" y="244"/>
                  </a:lnTo>
                  <a:lnTo>
                    <a:pt x="58" y="215"/>
                  </a:lnTo>
                  <a:lnTo>
                    <a:pt x="68" y="215"/>
                  </a:lnTo>
                  <a:lnTo>
                    <a:pt x="68" y="185"/>
                  </a:lnTo>
                  <a:lnTo>
                    <a:pt x="48" y="156"/>
                  </a:lnTo>
                  <a:lnTo>
                    <a:pt x="39" y="156"/>
                  </a:lnTo>
                  <a:lnTo>
                    <a:pt x="19" y="166"/>
                  </a:lnTo>
                  <a:lnTo>
                    <a:pt x="9" y="156"/>
                  </a:lnTo>
                  <a:lnTo>
                    <a:pt x="0" y="146"/>
                  </a:lnTo>
                  <a:lnTo>
                    <a:pt x="19" y="137"/>
                  </a:lnTo>
                  <a:lnTo>
                    <a:pt x="19" y="117"/>
                  </a:lnTo>
                  <a:lnTo>
                    <a:pt x="39" y="127"/>
                  </a:lnTo>
                  <a:lnTo>
                    <a:pt x="58" y="137"/>
                  </a:lnTo>
                  <a:lnTo>
                    <a:pt x="68" y="146"/>
                  </a:lnTo>
                  <a:lnTo>
                    <a:pt x="68" y="127"/>
                  </a:lnTo>
                  <a:lnTo>
                    <a:pt x="78" y="117"/>
                  </a:lnTo>
                  <a:lnTo>
                    <a:pt x="68" y="97"/>
                  </a:lnTo>
                  <a:lnTo>
                    <a:pt x="48" y="88"/>
                  </a:lnTo>
                  <a:lnTo>
                    <a:pt x="39" y="88"/>
                  </a:lnTo>
                  <a:lnTo>
                    <a:pt x="29" y="68"/>
                  </a:lnTo>
                  <a:lnTo>
                    <a:pt x="9" y="68"/>
                  </a:lnTo>
                  <a:lnTo>
                    <a:pt x="39" y="68"/>
                  </a:lnTo>
                  <a:lnTo>
                    <a:pt x="39" y="49"/>
                  </a:lnTo>
                  <a:lnTo>
                    <a:pt x="58" y="49"/>
                  </a:lnTo>
                  <a:lnTo>
                    <a:pt x="68" y="39"/>
                  </a:lnTo>
                  <a:lnTo>
                    <a:pt x="78" y="39"/>
                  </a:lnTo>
                  <a:lnTo>
                    <a:pt x="97" y="58"/>
                  </a:lnTo>
                  <a:lnTo>
                    <a:pt x="107" y="58"/>
                  </a:lnTo>
                  <a:lnTo>
                    <a:pt x="126" y="58"/>
                  </a:lnTo>
                  <a:lnTo>
                    <a:pt x="136" y="78"/>
                  </a:lnTo>
                  <a:lnTo>
                    <a:pt x="156" y="97"/>
                  </a:lnTo>
                  <a:lnTo>
                    <a:pt x="175" y="107"/>
                  </a:lnTo>
                  <a:lnTo>
                    <a:pt x="185" y="97"/>
                  </a:lnTo>
                  <a:lnTo>
                    <a:pt x="204" y="97"/>
                  </a:lnTo>
                  <a:lnTo>
                    <a:pt x="204" y="78"/>
                  </a:lnTo>
                  <a:lnTo>
                    <a:pt x="224" y="78"/>
                  </a:lnTo>
                  <a:lnTo>
                    <a:pt x="224" y="68"/>
                  </a:lnTo>
                  <a:lnTo>
                    <a:pt x="224" y="49"/>
                  </a:lnTo>
                  <a:lnTo>
                    <a:pt x="234" y="29"/>
                  </a:lnTo>
                  <a:lnTo>
                    <a:pt x="253" y="39"/>
                  </a:lnTo>
                  <a:lnTo>
                    <a:pt x="273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73" y="29"/>
                  </a:lnTo>
                  <a:lnTo>
                    <a:pt x="292" y="29"/>
                  </a:lnTo>
                  <a:lnTo>
                    <a:pt x="312" y="29"/>
                  </a:lnTo>
                  <a:lnTo>
                    <a:pt x="322" y="19"/>
                  </a:lnTo>
                  <a:lnTo>
                    <a:pt x="322" y="0"/>
                  </a:lnTo>
                  <a:lnTo>
                    <a:pt x="361" y="19"/>
                  </a:lnTo>
                  <a:lnTo>
                    <a:pt x="380" y="39"/>
                  </a:lnTo>
                  <a:lnTo>
                    <a:pt x="390" y="39"/>
                  </a:lnTo>
                  <a:lnTo>
                    <a:pt x="419" y="19"/>
                  </a:lnTo>
                  <a:lnTo>
                    <a:pt x="429" y="19"/>
                  </a:lnTo>
                  <a:lnTo>
                    <a:pt x="439" y="39"/>
                  </a:lnTo>
                  <a:lnTo>
                    <a:pt x="458" y="29"/>
                  </a:lnTo>
                  <a:lnTo>
                    <a:pt x="458" y="49"/>
                  </a:lnTo>
                  <a:lnTo>
                    <a:pt x="458" y="107"/>
                  </a:lnTo>
                  <a:lnTo>
                    <a:pt x="448" y="117"/>
                  </a:lnTo>
                  <a:lnTo>
                    <a:pt x="429" y="117"/>
                  </a:lnTo>
                  <a:lnTo>
                    <a:pt x="409" y="146"/>
                  </a:lnTo>
                  <a:lnTo>
                    <a:pt x="419" y="156"/>
                  </a:lnTo>
                  <a:lnTo>
                    <a:pt x="409" y="176"/>
                  </a:lnTo>
                  <a:lnTo>
                    <a:pt x="390" y="205"/>
                  </a:lnTo>
                  <a:lnTo>
                    <a:pt x="380" y="215"/>
                  </a:lnTo>
                  <a:lnTo>
                    <a:pt x="341" y="205"/>
                  </a:lnTo>
                  <a:lnTo>
                    <a:pt x="322" y="215"/>
                  </a:lnTo>
                  <a:lnTo>
                    <a:pt x="302" y="234"/>
                  </a:lnTo>
                  <a:lnTo>
                    <a:pt x="312" y="244"/>
                  </a:lnTo>
                  <a:lnTo>
                    <a:pt x="322" y="263"/>
                  </a:lnTo>
                  <a:lnTo>
                    <a:pt x="312" y="273"/>
                  </a:lnTo>
                  <a:lnTo>
                    <a:pt x="302" y="293"/>
                  </a:lnTo>
                  <a:lnTo>
                    <a:pt x="292" y="322"/>
                  </a:lnTo>
                  <a:lnTo>
                    <a:pt x="302" y="322"/>
                  </a:lnTo>
                  <a:lnTo>
                    <a:pt x="312" y="341"/>
                  </a:lnTo>
                  <a:lnTo>
                    <a:pt x="331" y="371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25" name="Group 198"/>
            <p:cNvGrpSpPr>
              <a:grpSpLocks/>
            </p:cNvGrpSpPr>
            <p:nvPr/>
          </p:nvGrpSpPr>
          <p:grpSpPr bwMode="auto">
            <a:xfrm>
              <a:off x="7871" y="3825"/>
              <a:ext cx="439" cy="907"/>
              <a:chOff x="7872" y="3825"/>
              <a:chExt cx="439" cy="907"/>
            </a:xfrm>
          </p:grpSpPr>
          <p:sp>
            <p:nvSpPr>
              <p:cNvPr id="708" name="Freeform 200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  <a:lnTo>
                      <a:pt x="390" y="8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9" name="Freeform 199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26" name="Freeform 197"/>
            <p:cNvSpPr>
              <a:spLocks/>
            </p:cNvSpPr>
            <p:nvPr/>
          </p:nvSpPr>
          <p:spPr bwMode="auto">
            <a:xfrm>
              <a:off x="3803" y="3561"/>
              <a:ext cx="624" cy="447"/>
            </a:xfrm>
            <a:custGeom>
              <a:avLst/>
              <a:gdLst>
                <a:gd name="T0" fmla="*/ 488 w 624"/>
                <a:gd name="T1" fmla="*/ 350 h 449"/>
                <a:gd name="T2" fmla="*/ 517 w 624"/>
                <a:gd name="T3" fmla="*/ 331 h 449"/>
                <a:gd name="T4" fmla="*/ 527 w 624"/>
                <a:gd name="T5" fmla="*/ 311 h 449"/>
                <a:gd name="T6" fmla="*/ 556 w 624"/>
                <a:gd name="T7" fmla="*/ 301 h 449"/>
                <a:gd name="T8" fmla="*/ 585 w 624"/>
                <a:gd name="T9" fmla="*/ 301 h 449"/>
                <a:gd name="T10" fmla="*/ 585 w 624"/>
                <a:gd name="T11" fmla="*/ 272 h 449"/>
                <a:gd name="T12" fmla="*/ 624 w 624"/>
                <a:gd name="T13" fmla="*/ 272 h 449"/>
                <a:gd name="T14" fmla="*/ 605 w 624"/>
                <a:gd name="T15" fmla="*/ 253 h 449"/>
                <a:gd name="T16" fmla="*/ 615 w 624"/>
                <a:gd name="T17" fmla="*/ 224 h 449"/>
                <a:gd name="T18" fmla="*/ 595 w 624"/>
                <a:gd name="T19" fmla="*/ 205 h 449"/>
                <a:gd name="T20" fmla="*/ 615 w 624"/>
                <a:gd name="T21" fmla="*/ 195 h 449"/>
                <a:gd name="T22" fmla="*/ 624 w 624"/>
                <a:gd name="T23" fmla="*/ 176 h 449"/>
                <a:gd name="T24" fmla="*/ 605 w 624"/>
                <a:gd name="T25" fmla="*/ 166 h 449"/>
                <a:gd name="T26" fmla="*/ 585 w 624"/>
                <a:gd name="T27" fmla="*/ 127 h 449"/>
                <a:gd name="T28" fmla="*/ 566 w 624"/>
                <a:gd name="T29" fmla="*/ 108 h 449"/>
                <a:gd name="T30" fmla="*/ 546 w 624"/>
                <a:gd name="T31" fmla="*/ 78 h 449"/>
                <a:gd name="T32" fmla="*/ 527 w 624"/>
                <a:gd name="T33" fmla="*/ 59 h 449"/>
                <a:gd name="T34" fmla="*/ 498 w 624"/>
                <a:gd name="T35" fmla="*/ 49 h 449"/>
                <a:gd name="T36" fmla="*/ 478 w 624"/>
                <a:gd name="T37" fmla="*/ 69 h 449"/>
                <a:gd name="T38" fmla="*/ 449 w 624"/>
                <a:gd name="T39" fmla="*/ 59 h 449"/>
                <a:gd name="T40" fmla="*/ 410 w 624"/>
                <a:gd name="T41" fmla="*/ 59 h 449"/>
                <a:gd name="T42" fmla="*/ 390 w 624"/>
                <a:gd name="T43" fmla="*/ 69 h 449"/>
                <a:gd name="T44" fmla="*/ 381 w 624"/>
                <a:gd name="T45" fmla="*/ 59 h 449"/>
                <a:gd name="T46" fmla="*/ 351 w 624"/>
                <a:gd name="T47" fmla="*/ 69 h 449"/>
                <a:gd name="T48" fmla="*/ 342 w 624"/>
                <a:gd name="T49" fmla="*/ 88 h 449"/>
                <a:gd name="T50" fmla="*/ 332 w 624"/>
                <a:gd name="T51" fmla="*/ 98 h 449"/>
                <a:gd name="T52" fmla="*/ 303 w 624"/>
                <a:gd name="T53" fmla="*/ 78 h 449"/>
                <a:gd name="T54" fmla="*/ 293 w 624"/>
                <a:gd name="T55" fmla="*/ 49 h 449"/>
                <a:gd name="T56" fmla="*/ 244 w 624"/>
                <a:gd name="T57" fmla="*/ 0 h 449"/>
                <a:gd name="T58" fmla="*/ 205 w 624"/>
                <a:gd name="T59" fmla="*/ 10 h 449"/>
                <a:gd name="T60" fmla="*/ 137 w 624"/>
                <a:gd name="T61" fmla="*/ 20 h 449"/>
                <a:gd name="T62" fmla="*/ 117 w 624"/>
                <a:gd name="T63" fmla="*/ 29 h 449"/>
                <a:gd name="T64" fmla="*/ 68 w 624"/>
                <a:gd name="T65" fmla="*/ 20 h 449"/>
                <a:gd name="T66" fmla="*/ 20 w 624"/>
                <a:gd name="T67" fmla="*/ 0 h 449"/>
                <a:gd name="T68" fmla="*/ 20 w 624"/>
                <a:gd name="T69" fmla="*/ 20 h 449"/>
                <a:gd name="T70" fmla="*/ 0 w 624"/>
                <a:gd name="T71" fmla="*/ 20 h 449"/>
                <a:gd name="T72" fmla="*/ 20 w 624"/>
                <a:gd name="T73" fmla="*/ 78 h 449"/>
                <a:gd name="T74" fmla="*/ 29 w 624"/>
                <a:gd name="T75" fmla="*/ 156 h 449"/>
                <a:gd name="T76" fmla="*/ 49 w 624"/>
                <a:gd name="T77" fmla="*/ 272 h 449"/>
                <a:gd name="T78" fmla="*/ 68 w 624"/>
                <a:gd name="T79" fmla="*/ 331 h 449"/>
                <a:gd name="T80" fmla="*/ 78 w 624"/>
                <a:gd name="T81" fmla="*/ 350 h 449"/>
                <a:gd name="T82" fmla="*/ 98 w 624"/>
                <a:gd name="T83" fmla="*/ 331 h 449"/>
                <a:gd name="T84" fmla="*/ 107 w 624"/>
                <a:gd name="T85" fmla="*/ 321 h 449"/>
                <a:gd name="T86" fmla="*/ 127 w 624"/>
                <a:gd name="T87" fmla="*/ 301 h 449"/>
                <a:gd name="T88" fmla="*/ 146 w 624"/>
                <a:gd name="T89" fmla="*/ 301 h 449"/>
                <a:gd name="T90" fmla="*/ 146 w 624"/>
                <a:gd name="T91" fmla="*/ 331 h 449"/>
                <a:gd name="T92" fmla="*/ 156 w 624"/>
                <a:gd name="T93" fmla="*/ 350 h 449"/>
                <a:gd name="T94" fmla="*/ 166 w 624"/>
                <a:gd name="T95" fmla="*/ 360 h 449"/>
                <a:gd name="T96" fmla="*/ 176 w 624"/>
                <a:gd name="T97" fmla="*/ 379 h 449"/>
                <a:gd name="T98" fmla="*/ 205 w 624"/>
                <a:gd name="T99" fmla="*/ 379 h 449"/>
                <a:gd name="T100" fmla="*/ 244 w 624"/>
                <a:gd name="T101" fmla="*/ 399 h 449"/>
                <a:gd name="T102" fmla="*/ 264 w 624"/>
                <a:gd name="T103" fmla="*/ 389 h 449"/>
                <a:gd name="T104" fmla="*/ 303 w 624"/>
                <a:gd name="T105" fmla="*/ 379 h 449"/>
                <a:gd name="T106" fmla="*/ 342 w 624"/>
                <a:gd name="T107" fmla="*/ 389 h 449"/>
                <a:gd name="T108" fmla="*/ 351 w 624"/>
                <a:gd name="T109" fmla="*/ 428 h 449"/>
                <a:gd name="T110" fmla="*/ 361 w 624"/>
                <a:gd name="T111" fmla="*/ 438 h 449"/>
                <a:gd name="T112" fmla="*/ 381 w 624"/>
                <a:gd name="T113" fmla="*/ 428 h 449"/>
                <a:gd name="T114" fmla="*/ 381 w 624"/>
                <a:gd name="T115" fmla="*/ 409 h 449"/>
                <a:gd name="T116" fmla="*/ 361 w 624"/>
                <a:gd name="T117" fmla="*/ 379 h 449"/>
                <a:gd name="T118" fmla="*/ 390 w 624"/>
                <a:gd name="T119" fmla="*/ 370 h 449"/>
                <a:gd name="T120" fmla="*/ 449 w 624"/>
                <a:gd name="T121" fmla="*/ 360 h 44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4"/>
                <a:gd name="T184" fmla="*/ 0 h 449"/>
                <a:gd name="T185" fmla="*/ 624 w 624"/>
                <a:gd name="T186" fmla="*/ 449 h 44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4" h="449">
                  <a:moveTo>
                    <a:pt x="468" y="361"/>
                  </a:moveTo>
                  <a:lnTo>
                    <a:pt x="488" y="361"/>
                  </a:lnTo>
                  <a:lnTo>
                    <a:pt x="498" y="361"/>
                  </a:lnTo>
                  <a:lnTo>
                    <a:pt x="517" y="342"/>
                  </a:lnTo>
                  <a:lnTo>
                    <a:pt x="517" y="322"/>
                  </a:lnTo>
                  <a:lnTo>
                    <a:pt x="527" y="322"/>
                  </a:lnTo>
                  <a:lnTo>
                    <a:pt x="546" y="322"/>
                  </a:lnTo>
                  <a:lnTo>
                    <a:pt x="556" y="312"/>
                  </a:lnTo>
                  <a:lnTo>
                    <a:pt x="566" y="312"/>
                  </a:lnTo>
                  <a:lnTo>
                    <a:pt x="585" y="312"/>
                  </a:lnTo>
                  <a:lnTo>
                    <a:pt x="585" y="303"/>
                  </a:lnTo>
                  <a:lnTo>
                    <a:pt x="585" y="283"/>
                  </a:lnTo>
                  <a:lnTo>
                    <a:pt x="595" y="283"/>
                  </a:lnTo>
                  <a:lnTo>
                    <a:pt x="624" y="283"/>
                  </a:lnTo>
                  <a:lnTo>
                    <a:pt x="615" y="273"/>
                  </a:lnTo>
                  <a:lnTo>
                    <a:pt x="605" y="264"/>
                  </a:lnTo>
                  <a:lnTo>
                    <a:pt x="605" y="244"/>
                  </a:lnTo>
                  <a:lnTo>
                    <a:pt x="615" y="225"/>
                  </a:lnTo>
                  <a:lnTo>
                    <a:pt x="605" y="215"/>
                  </a:lnTo>
                  <a:lnTo>
                    <a:pt x="595" y="205"/>
                  </a:lnTo>
                  <a:lnTo>
                    <a:pt x="605" y="195"/>
                  </a:lnTo>
                  <a:lnTo>
                    <a:pt x="615" y="195"/>
                  </a:lnTo>
                  <a:lnTo>
                    <a:pt x="624" y="195"/>
                  </a:lnTo>
                  <a:lnTo>
                    <a:pt x="624" y="176"/>
                  </a:lnTo>
                  <a:lnTo>
                    <a:pt x="624" y="166"/>
                  </a:lnTo>
                  <a:lnTo>
                    <a:pt x="605" y="166"/>
                  </a:lnTo>
                  <a:lnTo>
                    <a:pt x="595" y="147"/>
                  </a:lnTo>
                  <a:lnTo>
                    <a:pt x="585" y="127"/>
                  </a:lnTo>
                  <a:lnTo>
                    <a:pt x="585" y="117"/>
                  </a:lnTo>
                  <a:lnTo>
                    <a:pt x="566" y="108"/>
                  </a:lnTo>
                  <a:lnTo>
                    <a:pt x="556" y="88"/>
                  </a:lnTo>
                  <a:lnTo>
                    <a:pt x="546" y="78"/>
                  </a:lnTo>
                  <a:lnTo>
                    <a:pt x="537" y="78"/>
                  </a:lnTo>
                  <a:lnTo>
                    <a:pt x="527" y="59"/>
                  </a:lnTo>
                  <a:lnTo>
                    <a:pt x="517" y="49"/>
                  </a:lnTo>
                  <a:lnTo>
                    <a:pt x="498" y="49"/>
                  </a:lnTo>
                  <a:lnTo>
                    <a:pt x="488" y="59"/>
                  </a:lnTo>
                  <a:lnTo>
                    <a:pt x="478" y="69"/>
                  </a:lnTo>
                  <a:lnTo>
                    <a:pt x="468" y="69"/>
                  </a:lnTo>
                  <a:lnTo>
                    <a:pt x="449" y="59"/>
                  </a:lnTo>
                  <a:lnTo>
                    <a:pt x="429" y="59"/>
                  </a:lnTo>
                  <a:lnTo>
                    <a:pt x="410" y="59"/>
                  </a:lnTo>
                  <a:lnTo>
                    <a:pt x="410" y="78"/>
                  </a:lnTo>
                  <a:lnTo>
                    <a:pt x="390" y="69"/>
                  </a:lnTo>
                  <a:lnTo>
                    <a:pt x="390" y="59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1" y="69"/>
                  </a:lnTo>
                  <a:lnTo>
                    <a:pt x="351" y="78"/>
                  </a:lnTo>
                  <a:lnTo>
                    <a:pt x="342" y="88"/>
                  </a:lnTo>
                  <a:lnTo>
                    <a:pt x="332" y="88"/>
                  </a:lnTo>
                  <a:lnTo>
                    <a:pt x="332" y="98"/>
                  </a:lnTo>
                  <a:lnTo>
                    <a:pt x="322" y="98"/>
                  </a:lnTo>
                  <a:lnTo>
                    <a:pt x="303" y="78"/>
                  </a:lnTo>
                  <a:lnTo>
                    <a:pt x="283" y="78"/>
                  </a:lnTo>
                  <a:lnTo>
                    <a:pt x="293" y="49"/>
                  </a:lnTo>
                  <a:lnTo>
                    <a:pt x="254" y="20"/>
                  </a:lnTo>
                  <a:lnTo>
                    <a:pt x="244" y="0"/>
                  </a:lnTo>
                  <a:lnTo>
                    <a:pt x="215" y="0"/>
                  </a:lnTo>
                  <a:lnTo>
                    <a:pt x="205" y="10"/>
                  </a:lnTo>
                  <a:lnTo>
                    <a:pt x="156" y="20"/>
                  </a:lnTo>
                  <a:lnTo>
                    <a:pt x="137" y="20"/>
                  </a:lnTo>
                  <a:lnTo>
                    <a:pt x="117" y="29"/>
                  </a:lnTo>
                  <a:lnTo>
                    <a:pt x="107" y="20"/>
                  </a:lnTo>
                  <a:lnTo>
                    <a:pt x="68" y="20"/>
                  </a:lnTo>
                  <a:lnTo>
                    <a:pt x="39" y="20"/>
                  </a:lnTo>
                  <a:lnTo>
                    <a:pt x="2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10" y="49"/>
                  </a:lnTo>
                  <a:lnTo>
                    <a:pt x="20" y="78"/>
                  </a:lnTo>
                  <a:lnTo>
                    <a:pt x="20" y="108"/>
                  </a:lnTo>
                  <a:lnTo>
                    <a:pt x="29" y="156"/>
                  </a:lnTo>
                  <a:lnTo>
                    <a:pt x="49" y="215"/>
                  </a:lnTo>
                  <a:lnTo>
                    <a:pt x="49" y="283"/>
                  </a:lnTo>
                  <a:lnTo>
                    <a:pt x="68" y="322"/>
                  </a:lnTo>
                  <a:lnTo>
                    <a:pt x="68" y="342"/>
                  </a:lnTo>
                  <a:lnTo>
                    <a:pt x="68" y="361"/>
                  </a:lnTo>
                  <a:lnTo>
                    <a:pt x="78" y="361"/>
                  </a:lnTo>
                  <a:lnTo>
                    <a:pt x="78" y="351"/>
                  </a:lnTo>
                  <a:lnTo>
                    <a:pt x="98" y="342"/>
                  </a:lnTo>
                  <a:lnTo>
                    <a:pt x="107" y="342"/>
                  </a:lnTo>
                  <a:lnTo>
                    <a:pt x="107" y="332"/>
                  </a:lnTo>
                  <a:lnTo>
                    <a:pt x="117" y="322"/>
                  </a:lnTo>
                  <a:lnTo>
                    <a:pt x="127" y="312"/>
                  </a:lnTo>
                  <a:lnTo>
                    <a:pt x="137" y="312"/>
                  </a:lnTo>
                  <a:lnTo>
                    <a:pt x="146" y="312"/>
                  </a:lnTo>
                  <a:lnTo>
                    <a:pt x="156" y="322"/>
                  </a:lnTo>
                  <a:lnTo>
                    <a:pt x="146" y="342"/>
                  </a:lnTo>
                  <a:lnTo>
                    <a:pt x="146" y="361"/>
                  </a:lnTo>
                  <a:lnTo>
                    <a:pt x="156" y="361"/>
                  </a:lnTo>
                  <a:lnTo>
                    <a:pt x="166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76" y="390"/>
                  </a:lnTo>
                  <a:lnTo>
                    <a:pt x="195" y="390"/>
                  </a:lnTo>
                  <a:lnTo>
                    <a:pt x="205" y="390"/>
                  </a:lnTo>
                  <a:lnTo>
                    <a:pt x="224" y="400"/>
                  </a:lnTo>
                  <a:lnTo>
                    <a:pt x="244" y="410"/>
                  </a:lnTo>
                  <a:lnTo>
                    <a:pt x="254" y="410"/>
                  </a:lnTo>
                  <a:lnTo>
                    <a:pt x="264" y="400"/>
                  </a:lnTo>
                  <a:lnTo>
                    <a:pt x="283" y="390"/>
                  </a:lnTo>
                  <a:lnTo>
                    <a:pt x="303" y="390"/>
                  </a:lnTo>
                  <a:lnTo>
                    <a:pt x="322" y="400"/>
                  </a:lnTo>
                  <a:lnTo>
                    <a:pt x="342" y="400"/>
                  </a:lnTo>
                  <a:lnTo>
                    <a:pt x="342" y="420"/>
                  </a:lnTo>
                  <a:lnTo>
                    <a:pt x="351" y="439"/>
                  </a:lnTo>
                  <a:lnTo>
                    <a:pt x="351" y="449"/>
                  </a:lnTo>
                  <a:lnTo>
                    <a:pt x="361" y="449"/>
                  </a:lnTo>
                  <a:lnTo>
                    <a:pt x="371" y="439"/>
                  </a:lnTo>
                  <a:lnTo>
                    <a:pt x="381" y="439"/>
                  </a:lnTo>
                  <a:lnTo>
                    <a:pt x="381" y="420"/>
                  </a:lnTo>
                  <a:lnTo>
                    <a:pt x="361" y="410"/>
                  </a:lnTo>
                  <a:lnTo>
                    <a:pt x="361" y="390"/>
                  </a:lnTo>
                  <a:lnTo>
                    <a:pt x="361" y="381"/>
                  </a:lnTo>
                  <a:lnTo>
                    <a:pt x="390" y="381"/>
                  </a:lnTo>
                  <a:lnTo>
                    <a:pt x="420" y="371"/>
                  </a:lnTo>
                  <a:lnTo>
                    <a:pt x="449" y="371"/>
                  </a:lnTo>
                  <a:lnTo>
                    <a:pt x="468" y="361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7" name="Freeform 196"/>
            <p:cNvSpPr>
              <a:spLocks/>
            </p:cNvSpPr>
            <p:nvPr/>
          </p:nvSpPr>
          <p:spPr bwMode="auto">
            <a:xfrm>
              <a:off x="3699" y="3131"/>
              <a:ext cx="643" cy="529"/>
            </a:xfrm>
            <a:custGeom>
              <a:avLst/>
              <a:gdLst>
                <a:gd name="T0" fmla="*/ 127 w 644"/>
                <a:gd name="T1" fmla="*/ 460 h 527"/>
                <a:gd name="T2" fmla="*/ 146 w 644"/>
                <a:gd name="T3" fmla="*/ 450 h 527"/>
                <a:gd name="T4" fmla="*/ 224 w 644"/>
                <a:gd name="T5" fmla="*/ 469 h 527"/>
                <a:gd name="T6" fmla="*/ 263 w 644"/>
                <a:gd name="T7" fmla="*/ 450 h 527"/>
                <a:gd name="T8" fmla="*/ 330 w 644"/>
                <a:gd name="T9" fmla="*/ 440 h 527"/>
                <a:gd name="T10" fmla="*/ 379 w 644"/>
                <a:gd name="T11" fmla="*/ 518 h 527"/>
                <a:gd name="T12" fmla="*/ 428 w 644"/>
                <a:gd name="T13" fmla="*/ 538 h 527"/>
                <a:gd name="T14" fmla="*/ 447 w 644"/>
                <a:gd name="T15" fmla="*/ 518 h 527"/>
                <a:gd name="T16" fmla="*/ 477 w 644"/>
                <a:gd name="T17" fmla="*/ 499 h 527"/>
                <a:gd name="T18" fmla="*/ 506 w 644"/>
                <a:gd name="T19" fmla="*/ 518 h 527"/>
                <a:gd name="T20" fmla="*/ 545 w 644"/>
                <a:gd name="T21" fmla="*/ 499 h 527"/>
                <a:gd name="T22" fmla="*/ 584 w 644"/>
                <a:gd name="T23" fmla="*/ 499 h 527"/>
                <a:gd name="T24" fmla="*/ 603 w 644"/>
                <a:gd name="T25" fmla="*/ 469 h 527"/>
                <a:gd name="T26" fmla="*/ 623 w 644"/>
                <a:gd name="T27" fmla="*/ 450 h 527"/>
                <a:gd name="T28" fmla="*/ 613 w 644"/>
                <a:gd name="T29" fmla="*/ 421 h 527"/>
                <a:gd name="T30" fmla="*/ 633 w 644"/>
                <a:gd name="T31" fmla="*/ 382 h 527"/>
                <a:gd name="T32" fmla="*/ 633 w 644"/>
                <a:gd name="T33" fmla="*/ 362 h 527"/>
                <a:gd name="T34" fmla="*/ 623 w 644"/>
                <a:gd name="T35" fmla="*/ 333 h 527"/>
                <a:gd name="T36" fmla="*/ 603 w 644"/>
                <a:gd name="T37" fmla="*/ 304 h 527"/>
                <a:gd name="T38" fmla="*/ 564 w 644"/>
                <a:gd name="T39" fmla="*/ 323 h 527"/>
                <a:gd name="T40" fmla="*/ 545 w 644"/>
                <a:gd name="T41" fmla="*/ 313 h 527"/>
                <a:gd name="T42" fmla="*/ 545 w 644"/>
                <a:gd name="T43" fmla="*/ 244 h 527"/>
                <a:gd name="T44" fmla="*/ 545 w 644"/>
                <a:gd name="T45" fmla="*/ 224 h 527"/>
                <a:gd name="T46" fmla="*/ 525 w 644"/>
                <a:gd name="T47" fmla="*/ 234 h 527"/>
                <a:gd name="T48" fmla="*/ 467 w 644"/>
                <a:gd name="T49" fmla="*/ 224 h 527"/>
                <a:gd name="T50" fmla="*/ 438 w 644"/>
                <a:gd name="T51" fmla="*/ 185 h 527"/>
                <a:gd name="T52" fmla="*/ 399 w 644"/>
                <a:gd name="T53" fmla="*/ 176 h 527"/>
                <a:gd name="T54" fmla="*/ 360 w 644"/>
                <a:gd name="T55" fmla="*/ 146 h 527"/>
                <a:gd name="T56" fmla="*/ 302 w 644"/>
                <a:gd name="T57" fmla="*/ 78 h 527"/>
                <a:gd name="T58" fmla="*/ 244 w 644"/>
                <a:gd name="T59" fmla="*/ 49 h 527"/>
                <a:gd name="T60" fmla="*/ 185 w 644"/>
                <a:gd name="T61" fmla="*/ 19 h 527"/>
                <a:gd name="T62" fmla="*/ 146 w 644"/>
                <a:gd name="T63" fmla="*/ 39 h 527"/>
                <a:gd name="T64" fmla="*/ 127 w 644"/>
                <a:gd name="T65" fmla="*/ 78 h 527"/>
                <a:gd name="T66" fmla="*/ 127 w 644"/>
                <a:gd name="T67" fmla="*/ 117 h 527"/>
                <a:gd name="T68" fmla="*/ 107 w 644"/>
                <a:gd name="T69" fmla="*/ 127 h 527"/>
                <a:gd name="T70" fmla="*/ 58 w 644"/>
                <a:gd name="T71" fmla="*/ 127 h 527"/>
                <a:gd name="T72" fmla="*/ 39 w 644"/>
                <a:gd name="T73" fmla="*/ 156 h 527"/>
                <a:gd name="T74" fmla="*/ 19 w 644"/>
                <a:gd name="T75" fmla="*/ 176 h 527"/>
                <a:gd name="T76" fmla="*/ 19 w 644"/>
                <a:gd name="T77" fmla="*/ 234 h 527"/>
                <a:gd name="T78" fmla="*/ 29 w 644"/>
                <a:gd name="T79" fmla="*/ 284 h 527"/>
                <a:gd name="T80" fmla="*/ 10 w 644"/>
                <a:gd name="T81" fmla="*/ 304 h 527"/>
                <a:gd name="T82" fmla="*/ 0 w 644"/>
                <a:gd name="T83" fmla="*/ 343 h 527"/>
                <a:gd name="T84" fmla="*/ 39 w 644"/>
                <a:gd name="T85" fmla="*/ 333 h 527"/>
                <a:gd name="T86" fmla="*/ 88 w 644"/>
                <a:gd name="T87" fmla="*/ 333 h 527"/>
                <a:gd name="T88" fmla="*/ 88 w 644"/>
                <a:gd name="T89" fmla="*/ 352 h 527"/>
                <a:gd name="T90" fmla="*/ 49 w 644"/>
                <a:gd name="T91" fmla="*/ 362 h 527"/>
                <a:gd name="T92" fmla="*/ 88 w 644"/>
                <a:gd name="T93" fmla="*/ 430 h 5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4"/>
                <a:gd name="T142" fmla="*/ 0 h 527"/>
                <a:gd name="T143" fmla="*/ 644 w 644"/>
                <a:gd name="T144" fmla="*/ 527 h 5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4" h="527">
                  <a:moveTo>
                    <a:pt x="107" y="449"/>
                  </a:move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46" y="439"/>
                  </a:lnTo>
                  <a:lnTo>
                    <a:pt x="175" y="449"/>
                  </a:lnTo>
                  <a:lnTo>
                    <a:pt x="214" y="449"/>
                  </a:lnTo>
                  <a:lnTo>
                    <a:pt x="224" y="458"/>
                  </a:lnTo>
                  <a:lnTo>
                    <a:pt x="244" y="449"/>
                  </a:lnTo>
                  <a:lnTo>
                    <a:pt x="244" y="439"/>
                  </a:lnTo>
                  <a:lnTo>
                    <a:pt x="263" y="439"/>
                  </a:lnTo>
                  <a:lnTo>
                    <a:pt x="312" y="439"/>
                  </a:lnTo>
                  <a:lnTo>
                    <a:pt x="322" y="429"/>
                  </a:lnTo>
                  <a:lnTo>
                    <a:pt x="341" y="429"/>
                  </a:lnTo>
                  <a:lnTo>
                    <a:pt x="361" y="449"/>
                  </a:lnTo>
                  <a:lnTo>
                    <a:pt x="400" y="478"/>
                  </a:lnTo>
                  <a:lnTo>
                    <a:pt x="390" y="507"/>
                  </a:lnTo>
                  <a:lnTo>
                    <a:pt x="410" y="507"/>
                  </a:lnTo>
                  <a:lnTo>
                    <a:pt x="429" y="527"/>
                  </a:lnTo>
                  <a:lnTo>
                    <a:pt x="439" y="527"/>
                  </a:lnTo>
                  <a:lnTo>
                    <a:pt x="439" y="517"/>
                  </a:lnTo>
                  <a:lnTo>
                    <a:pt x="449" y="517"/>
                  </a:lnTo>
                  <a:lnTo>
                    <a:pt x="458" y="507"/>
                  </a:lnTo>
                  <a:lnTo>
                    <a:pt x="458" y="498"/>
                  </a:lnTo>
                  <a:lnTo>
                    <a:pt x="478" y="498"/>
                  </a:lnTo>
                  <a:lnTo>
                    <a:pt x="488" y="488"/>
                  </a:lnTo>
                  <a:lnTo>
                    <a:pt x="497" y="488"/>
                  </a:lnTo>
                  <a:lnTo>
                    <a:pt x="497" y="498"/>
                  </a:lnTo>
                  <a:lnTo>
                    <a:pt x="517" y="507"/>
                  </a:lnTo>
                  <a:lnTo>
                    <a:pt x="517" y="488"/>
                  </a:lnTo>
                  <a:lnTo>
                    <a:pt x="536" y="488"/>
                  </a:lnTo>
                  <a:lnTo>
                    <a:pt x="556" y="488"/>
                  </a:lnTo>
                  <a:lnTo>
                    <a:pt x="575" y="498"/>
                  </a:lnTo>
                  <a:lnTo>
                    <a:pt x="585" y="498"/>
                  </a:lnTo>
                  <a:lnTo>
                    <a:pt x="595" y="488"/>
                  </a:lnTo>
                  <a:lnTo>
                    <a:pt x="605" y="478"/>
                  </a:lnTo>
                  <a:lnTo>
                    <a:pt x="624" y="478"/>
                  </a:lnTo>
                  <a:lnTo>
                    <a:pt x="614" y="458"/>
                  </a:lnTo>
                  <a:lnTo>
                    <a:pt x="624" y="449"/>
                  </a:lnTo>
                  <a:lnTo>
                    <a:pt x="624" y="439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24" y="419"/>
                  </a:lnTo>
                  <a:lnTo>
                    <a:pt x="624" y="410"/>
                  </a:lnTo>
                  <a:lnTo>
                    <a:pt x="634" y="400"/>
                  </a:lnTo>
                  <a:lnTo>
                    <a:pt x="634" y="380"/>
                  </a:lnTo>
                  <a:lnTo>
                    <a:pt x="644" y="371"/>
                  </a:lnTo>
                  <a:lnTo>
                    <a:pt x="634" y="361"/>
                  </a:lnTo>
                  <a:lnTo>
                    <a:pt x="624" y="351"/>
                  </a:lnTo>
                  <a:lnTo>
                    <a:pt x="644" y="351"/>
                  </a:lnTo>
                  <a:lnTo>
                    <a:pt x="644" y="341"/>
                  </a:lnTo>
                  <a:lnTo>
                    <a:pt x="644" y="332"/>
                  </a:lnTo>
                  <a:lnTo>
                    <a:pt x="634" y="322"/>
                  </a:lnTo>
                  <a:lnTo>
                    <a:pt x="634" y="312"/>
                  </a:lnTo>
                  <a:lnTo>
                    <a:pt x="624" y="293"/>
                  </a:lnTo>
                  <a:lnTo>
                    <a:pt x="614" y="293"/>
                  </a:lnTo>
                  <a:lnTo>
                    <a:pt x="595" y="293"/>
                  </a:lnTo>
                  <a:lnTo>
                    <a:pt x="575" y="302"/>
                  </a:lnTo>
                  <a:lnTo>
                    <a:pt x="575" y="312"/>
                  </a:lnTo>
                  <a:lnTo>
                    <a:pt x="566" y="312"/>
                  </a:lnTo>
                  <a:lnTo>
                    <a:pt x="556" y="312"/>
                  </a:lnTo>
                  <a:lnTo>
                    <a:pt x="556" y="302"/>
                  </a:lnTo>
                  <a:lnTo>
                    <a:pt x="556" y="293"/>
                  </a:lnTo>
                  <a:lnTo>
                    <a:pt x="556" y="263"/>
                  </a:lnTo>
                  <a:lnTo>
                    <a:pt x="556" y="244"/>
                  </a:lnTo>
                  <a:lnTo>
                    <a:pt x="566" y="234"/>
                  </a:lnTo>
                  <a:lnTo>
                    <a:pt x="556" y="224"/>
                  </a:lnTo>
                  <a:lnTo>
                    <a:pt x="546" y="215"/>
                  </a:lnTo>
                  <a:lnTo>
                    <a:pt x="536" y="224"/>
                  </a:lnTo>
                  <a:lnTo>
                    <a:pt x="536" y="234"/>
                  </a:lnTo>
                  <a:lnTo>
                    <a:pt x="517" y="234"/>
                  </a:lnTo>
                  <a:lnTo>
                    <a:pt x="497" y="224"/>
                  </a:lnTo>
                  <a:lnTo>
                    <a:pt x="478" y="224"/>
                  </a:lnTo>
                  <a:lnTo>
                    <a:pt x="468" y="224"/>
                  </a:lnTo>
                  <a:lnTo>
                    <a:pt x="458" y="215"/>
                  </a:lnTo>
                  <a:lnTo>
                    <a:pt x="449" y="185"/>
                  </a:lnTo>
                  <a:lnTo>
                    <a:pt x="439" y="176"/>
                  </a:lnTo>
                  <a:lnTo>
                    <a:pt x="429" y="176"/>
                  </a:lnTo>
                  <a:lnTo>
                    <a:pt x="410" y="176"/>
                  </a:lnTo>
                  <a:lnTo>
                    <a:pt x="390" y="176"/>
                  </a:lnTo>
                  <a:lnTo>
                    <a:pt x="380" y="166"/>
                  </a:lnTo>
                  <a:lnTo>
                    <a:pt x="371" y="146"/>
                  </a:lnTo>
                  <a:lnTo>
                    <a:pt x="351" y="117"/>
                  </a:lnTo>
                  <a:lnTo>
                    <a:pt x="322" y="88"/>
                  </a:lnTo>
                  <a:lnTo>
                    <a:pt x="302" y="78"/>
                  </a:lnTo>
                  <a:lnTo>
                    <a:pt x="292" y="68"/>
                  </a:lnTo>
                  <a:lnTo>
                    <a:pt x="283" y="58"/>
                  </a:lnTo>
                  <a:lnTo>
                    <a:pt x="244" y="49"/>
                  </a:lnTo>
                  <a:lnTo>
                    <a:pt x="224" y="39"/>
                  </a:lnTo>
                  <a:lnTo>
                    <a:pt x="205" y="29"/>
                  </a:lnTo>
                  <a:lnTo>
                    <a:pt x="185" y="19"/>
                  </a:lnTo>
                  <a:lnTo>
                    <a:pt x="166" y="19"/>
                  </a:lnTo>
                  <a:lnTo>
                    <a:pt x="146" y="0"/>
                  </a:lnTo>
                  <a:lnTo>
                    <a:pt x="146" y="39"/>
                  </a:lnTo>
                  <a:lnTo>
                    <a:pt x="146" y="58"/>
                  </a:lnTo>
                  <a:lnTo>
                    <a:pt x="146" y="68"/>
                  </a:lnTo>
                  <a:lnTo>
                    <a:pt x="127" y="78"/>
                  </a:lnTo>
                  <a:lnTo>
                    <a:pt x="117" y="78"/>
                  </a:lnTo>
                  <a:lnTo>
                    <a:pt x="107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17" y="127"/>
                  </a:lnTo>
                  <a:lnTo>
                    <a:pt x="107" y="127"/>
                  </a:lnTo>
                  <a:lnTo>
                    <a:pt x="88" y="117"/>
                  </a:lnTo>
                  <a:lnTo>
                    <a:pt x="88" y="127"/>
                  </a:lnTo>
                  <a:lnTo>
                    <a:pt x="58" y="127"/>
                  </a:lnTo>
                  <a:lnTo>
                    <a:pt x="49" y="137"/>
                  </a:lnTo>
                  <a:lnTo>
                    <a:pt x="49" y="156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76"/>
                  </a:lnTo>
                  <a:lnTo>
                    <a:pt x="19" y="176"/>
                  </a:lnTo>
                  <a:lnTo>
                    <a:pt x="10" y="195"/>
                  </a:lnTo>
                  <a:lnTo>
                    <a:pt x="10" y="215"/>
                  </a:lnTo>
                  <a:lnTo>
                    <a:pt x="19" y="234"/>
                  </a:lnTo>
                  <a:lnTo>
                    <a:pt x="29" y="244"/>
                  </a:lnTo>
                  <a:lnTo>
                    <a:pt x="29" y="263"/>
                  </a:lnTo>
                  <a:lnTo>
                    <a:pt x="29" y="273"/>
                  </a:lnTo>
                  <a:lnTo>
                    <a:pt x="19" y="273"/>
                  </a:lnTo>
                  <a:lnTo>
                    <a:pt x="10" y="293"/>
                  </a:lnTo>
                  <a:lnTo>
                    <a:pt x="10" y="312"/>
                  </a:lnTo>
                  <a:lnTo>
                    <a:pt x="0" y="322"/>
                  </a:lnTo>
                  <a:lnTo>
                    <a:pt x="0" y="332"/>
                  </a:lnTo>
                  <a:lnTo>
                    <a:pt x="10" y="332"/>
                  </a:lnTo>
                  <a:lnTo>
                    <a:pt x="29" y="332"/>
                  </a:lnTo>
                  <a:lnTo>
                    <a:pt x="39" y="322"/>
                  </a:lnTo>
                  <a:lnTo>
                    <a:pt x="49" y="322"/>
                  </a:lnTo>
                  <a:lnTo>
                    <a:pt x="68" y="332"/>
                  </a:lnTo>
                  <a:lnTo>
                    <a:pt x="88" y="322"/>
                  </a:lnTo>
                  <a:lnTo>
                    <a:pt x="97" y="322"/>
                  </a:lnTo>
                  <a:lnTo>
                    <a:pt x="97" y="332"/>
                  </a:lnTo>
                  <a:lnTo>
                    <a:pt x="88" y="341"/>
                  </a:lnTo>
                  <a:lnTo>
                    <a:pt x="78" y="351"/>
                  </a:lnTo>
                  <a:lnTo>
                    <a:pt x="58" y="351"/>
                  </a:lnTo>
                  <a:lnTo>
                    <a:pt x="49" y="351"/>
                  </a:lnTo>
                  <a:lnTo>
                    <a:pt x="58" y="371"/>
                  </a:lnTo>
                  <a:lnTo>
                    <a:pt x="68" y="390"/>
                  </a:lnTo>
                  <a:lnTo>
                    <a:pt x="88" y="419"/>
                  </a:lnTo>
                  <a:lnTo>
                    <a:pt x="97" y="439"/>
                  </a:lnTo>
                  <a:lnTo>
                    <a:pt x="107" y="449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8" name="Freeform 195"/>
            <p:cNvSpPr>
              <a:spLocks/>
            </p:cNvSpPr>
            <p:nvPr/>
          </p:nvSpPr>
          <p:spPr bwMode="auto">
            <a:xfrm>
              <a:off x="2040" y="1784"/>
              <a:ext cx="479" cy="291"/>
            </a:xfrm>
            <a:custGeom>
              <a:avLst/>
              <a:gdLst/>
              <a:ahLst/>
              <a:cxnLst>
                <a:cxn ang="0">
                  <a:pos x="458" y="186"/>
                </a:cxn>
                <a:cxn ang="0">
                  <a:pos x="429" y="176"/>
                </a:cxn>
                <a:cxn ang="0">
                  <a:pos x="400" y="186"/>
                </a:cxn>
                <a:cxn ang="0">
                  <a:pos x="361" y="186"/>
                </a:cxn>
                <a:cxn ang="0">
                  <a:pos x="341" y="157"/>
                </a:cxn>
                <a:cxn ang="0">
                  <a:pos x="312" y="108"/>
                </a:cxn>
                <a:cxn ang="0">
                  <a:pos x="302" y="79"/>
                </a:cxn>
                <a:cxn ang="0">
                  <a:pos x="282" y="49"/>
                </a:cxn>
                <a:cxn ang="0">
                  <a:pos x="263" y="30"/>
                </a:cxn>
                <a:cxn ang="0">
                  <a:pos x="243" y="10"/>
                </a:cxn>
                <a:cxn ang="0">
                  <a:pos x="234" y="20"/>
                </a:cxn>
                <a:cxn ang="0">
                  <a:pos x="175" y="0"/>
                </a:cxn>
                <a:cxn ang="0">
                  <a:pos x="146" y="20"/>
                </a:cxn>
                <a:cxn ang="0">
                  <a:pos x="117" y="30"/>
                </a:cxn>
                <a:cxn ang="0">
                  <a:pos x="78" y="40"/>
                </a:cxn>
                <a:cxn ang="0">
                  <a:pos x="58" y="59"/>
                </a:cxn>
                <a:cxn ang="0">
                  <a:pos x="39" y="59"/>
                </a:cxn>
                <a:cxn ang="0">
                  <a:pos x="19" y="88"/>
                </a:cxn>
                <a:cxn ang="0">
                  <a:pos x="0" y="88"/>
                </a:cxn>
                <a:cxn ang="0">
                  <a:pos x="29" y="118"/>
                </a:cxn>
                <a:cxn ang="0">
                  <a:pos x="48" y="137"/>
                </a:cxn>
                <a:cxn ang="0">
                  <a:pos x="78" y="127"/>
                </a:cxn>
                <a:cxn ang="0">
                  <a:pos x="87" y="157"/>
                </a:cxn>
                <a:cxn ang="0">
                  <a:pos x="117" y="166"/>
                </a:cxn>
                <a:cxn ang="0">
                  <a:pos x="107" y="186"/>
                </a:cxn>
                <a:cxn ang="0">
                  <a:pos x="117" y="215"/>
                </a:cxn>
                <a:cxn ang="0">
                  <a:pos x="136" y="215"/>
                </a:cxn>
                <a:cxn ang="0">
                  <a:pos x="146" y="254"/>
                </a:cxn>
                <a:cxn ang="0">
                  <a:pos x="214" y="254"/>
                </a:cxn>
                <a:cxn ang="0">
                  <a:pos x="243" y="244"/>
                </a:cxn>
                <a:cxn ang="0">
                  <a:pos x="263" y="264"/>
                </a:cxn>
                <a:cxn ang="0">
                  <a:pos x="302" y="283"/>
                </a:cxn>
                <a:cxn ang="0">
                  <a:pos x="331" y="283"/>
                </a:cxn>
                <a:cxn ang="0">
                  <a:pos x="361" y="264"/>
                </a:cxn>
                <a:cxn ang="0">
                  <a:pos x="409" y="274"/>
                </a:cxn>
                <a:cxn ang="0">
                  <a:pos x="458" y="254"/>
                </a:cxn>
                <a:cxn ang="0">
                  <a:pos x="468" y="225"/>
                </a:cxn>
                <a:cxn ang="0">
                  <a:pos x="478" y="205"/>
                </a:cxn>
              </a:cxnLst>
              <a:rect l="0" t="0" r="r" b="b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2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2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96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54"/>
                  </a:lnTo>
                  <a:lnTo>
                    <a:pt x="214" y="254"/>
                  </a:lnTo>
                  <a:lnTo>
                    <a:pt x="234" y="244"/>
                  </a:lnTo>
                  <a:lnTo>
                    <a:pt x="243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74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74"/>
                  </a:lnTo>
                  <a:lnTo>
                    <a:pt x="439" y="274"/>
                  </a:lnTo>
                  <a:lnTo>
                    <a:pt x="458" y="25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  <a:lnTo>
                    <a:pt x="478" y="20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9" name="Freeform 194"/>
            <p:cNvSpPr>
              <a:spLocks/>
            </p:cNvSpPr>
            <p:nvPr/>
          </p:nvSpPr>
          <p:spPr bwMode="auto">
            <a:xfrm>
              <a:off x="2040" y="1787"/>
              <a:ext cx="476" cy="294"/>
            </a:xfrm>
            <a:custGeom>
              <a:avLst/>
              <a:gdLst>
                <a:gd name="T0" fmla="*/ 458 w 478"/>
                <a:gd name="T1" fmla="*/ 186 h 293"/>
                <a:gd name="T2" fmla="*/ 43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64 h 293"/>
                <a:gd name="T58" fmla="*/ 234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83 h 293"/>
                <a:gd name="T70" fmla="*/ 458 w 478"/>
                <a:gd name="T71" fmla="*/ 264 h 293"/>
                <a:gd name="T72" fmla="*/ 468 w 478"/>
                <a:gd name="T73" fmla="*/ 225 h 2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8"/>
                <a:gd name="T112" fmla="*/ 0 h 293"/>
                <a:gd name="T113" fmla="*/ 478 w 478"/>
                <a:gd name="T114" fmla="*/ 293 h 2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3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3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205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64"/>
                  </a:lnTo>
                  <a:lnTo>
                    <a:pt x="214" y="264"/>
                  </a:lnTo>
                  <a:lnTo>
                    <a:pt x="234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83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83"/>
                  </a:lnTo>
                  <a:lnTo>
                    <a:pt x="439" y="283"/>
                  </a:lnTo>
                  <a:lnTo>
                    <a:pt x="458" y="26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</a:path>
              </a:pathLst>
            </a:custGeom>
            <a:noFill/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0" name="Freeform 193"/>
            <p:cNvSpPr>
              <a:spLocks/>
            </p:cNvSpPr>
            <p:nvPr/>
          </p:nvSpPr>
          <p:spPr bwMode="auto">
            <a:xfrm>
              <a:off x="2274" y="1873"/>
              <a:ext cx="566" cy="595"/>
            </a:xfrm>
            <a:custGeom>
              <a:avLst/>
              <a:gdLst/>
              <a:ahLst/>
              <a:cxnLst>
                <a:cxn ang="0">
                  <a:pos x="195" y="547"/>
                </a:cxn>
                <a:cxn ang="0">
                  <a:pos x="224" y="488"/>
                </a:cxn>
                <a:cxn ang="0">
                  <a:pos x="302" y="478"/>
                </a:cxn>
                <a:cxn ang="0">
                  <a:pos x="322" y="420"/>
                </a:cxn>
                <a:cxn ang="0">
                  <a:pos x="380" y="410"/>
                </a:cxn>
                <a:cxn ang="0">
                  <a:pos x="439" y="469"/>
                </a:cxn>
                <a:cxn ang="0">
                  <a:pos x="468" y="439"/>
                </a:cxn>
                <a:cxn ang="0">
                  <a:pos x="487" y="410"/>
                </a:cxn>
                <a:cxn ang="0">
                  <a:pos x="526" y="352"/>
                </a:cxn>
                <a:cxn ang="0">
                  <a:pos x="565" y="322"/>
                </a:cxn>
                <a:cxn ang="0">
                  <a:pos x="526" y="283"/>
                </a:cxn>
                <a:cxn ang="0">
                  <a:pos x="497" y="254"/>
                </a:cxn>
                <a:cxn ang="0">
                  <a:pos x="458" y="225"/>
                </a:cxn>
                <a:cxn ang="0">
                  <a:pos x="370" y="215"/>
                </a:cxn>
                <a:cxn ang="0">
                  <a:pos x="322" y="244"/>
                </a:cxn>
                <a:cxn ang="0">
                  <a:pos x="322" y="205"/>
                </a:cxn>
                <a:cxn ang="0">
                  <a:pos x="322" y="166"/>
                </a:cxn>
                <a:cxn ang="0">
                  <a:pos x="361" y="117"/>
                </a:cxn>
                <a:cxn ang="0">
                  <a:pos x="370" y="108"/>
                </a:cxn>
                <a:cxn ang="0">
                  <a:pos x="370" y="49"/>
                </a:cxn>
                <a:cxn ang="0">
                  <a:pos x="351" y="10"/>
                </a:cxn>
                <a:cxn ang="0">
                  <a:pos x="322" y="39"/>
                </a:cxn>
                <a:cxn ang="0">
                  <a:pos x="273" y="39"/>
                </a:cxn>
                <a:cxn ang="0">
                  <a:pos x="244" y="49"/>
                </a:cxn>
                <a:cxn ang="0">
                  <a:pos x="263" y="78"/>
                </a:cxn>
                <a:cxn ang="0">
                  <a:pos x="244" y="117"/>
                </a:cxn>
                <a:cxn ang="0">
                  <a:pos x="224" y="147"/>
                </a:cxn>
                <a:cxn ang="0">
                  <a:pos x="175" y="186"/>
                </a:cxn>
                <a:cxn ang="0">
                  <a:pos x="107" y="186"/>
                </a:cxn>
                <a:cxn ang="0">
                  <a:pos x="88" y="225"/>
                </a:cxn>
                <a:cxn ang="0">
                  <a:pos x="107" y="273"/>
                </a:cxn>
                <a:cxn ang="0">
                  <a:pos x="68" y="283"/>
                </a:cxn>
                <a:cxn ang="0">
                  <a:pos x="29" y="283"/>
                </a:cxn>
                <a:cxn ang="0">
                  <a:pos x="0" y="313"/>
                </a:cxn>
                <a:cxn ang="0">
                  <a:pos x="9" y="342"/>
                </a:cxn>
                <a:cxn ang="0">
                  <a:pos x="48" y="352"/>
                </a:cxn>
                <a:cxn ang="0">
                  <a:pos x="107" y="371"/>
                </a:cxn>
                <a:cxn ang="0">
                  <a:pos x="136" y="391"/>
                </a:cxn>
                <a:cxn ang="0">
                  <a:pos x="136" y="430"/>
                </a:cxn>
                <a:cxn ang="0">
                  <a:pos x="127" y="478"/>
                </a:cxn>
                <a:cxn ang="0">
                  <a:pos x="136" y="527"/>
                </a:cxn>
                <a:cxn ang="0">
                  <a:pos x="146" y="586"/>
                </a:cxn>
                <a:cxn ang="0">
                  <a:pos x="166" y="576"/>
                </a:cxn>
              </a:cxnLst>
              <a:rect l="0" t="0" r="r" b="b"/>
              <a:pathLst>
                <a:path w="565" h="595">
                  <a:moveTo>
                    <a:pt x="166" y="547"/>
                  </a:moveTo>
                  <a:lnTo>
                    <a:pt x="185" y="537"/>
                  </a:lnTo>
                  <a:lnTo>
                    <a:pt x="195" y="547"/>
                  </a:lnTo>
                  <a:lnTo>
                    <a:pt x="214" y="537"/>
                  </a:lnTo>
                  <a:lnTo>
                    <a:pt x="214" y="508"/>
                  </a:lnTo>
                  <a:lnTo>
                    <a:pt x="224" y="488"/>
                  </a:lnTo>
                  <a:lnTo>
                    <a:pt x="244" y="469"/>
                  </a:lnTo>
                  <a:lnTo>
                    <a:pt x="273" y="488"/>
                  </a:lnTo>
                  <a:lnTo>
                    <a:pt x="302" y="478"/>
                  </a:lnTo>
                  <a:lnTo>
                    <a:pt x="312" y="449"/>
                  </a:lnTo>
                  <a:lnTo>
                    <a:pt x="331" y="439"/>
                  </a:lnTo>
                  <a:lnTo>
                    <a:pt x="322" y="420"/>
                  </a:lnTo>
                  <a:lnTo>
                    <a:pt x="341" y="410"/>
                  </a:lnTo>
                  <a:lnTo>
                    <a:pt x="361" y="410"/>
                  </a:lnTo>
                  <a:lnTo>
                    <a:pt x="380" y="410"/>
                  </a:lnTo>
                  <a:lnTo>
                    <a:pt x="400" y="430"/>
                  </a:lnTo>
                  <a:lnTo>
                    <a:pt x="419" y="439"/>
                  </a:lnTo>
                  <a:lnTo>
                    <a:pt x="439" y="469"/>
                  </a:lnTo>
                  <a:lnTo>
                    <a:pt x="458" y="469"/>
                  </a:lnTo>
                  <a:lnTo>
                    <a:pt x="468" y="469"/>
                  </a:lnTo>
                  <a:lnTo>
                    <a:pt x="468" y="439"/>
                  </a:lnTo>
                  <a:lnTo>
                    <a:pt x="478" y="420"/>
                  </a:lnTo>
                  <a:lnTo>
                    <a:pt x="497" y="410"/>
                  </a:lnTo>
                  <a:lnTo>
                    <a:pt x="487" y="410"/>
                  </a:lnTo>
                  <a:lnTo>
                    <a:pt x="487" y="391"/>
                  </a:lnTo>
                  <a:lnTo>
                    <a:pt x="487" y="381"/>
                  </a:lnTo>
                  <a:lnTo>
                    <a:pt x="526" y="352"/>
                  </a:lnTo>
                  <a:lnTo>
                    <a:pt x="536" y="361"/>
                  </a:lnTo>
                  <a:lnTo>
                    <a:pt x="565" y="342"/>
                  </a:lnTo>
                  <a:lnTo>
                    <a:pt x="565" y="322"/>
                  </a:lnTo>
                  <a:lnTo>
                    <a:pt x="565" y="303"/>
                  </a:lnTo>
                  <a:lnTo>
                    <a:pt x="556" y="303"/>
                  </a:lnTo>
                  <a:lnTo>
                    <a:pt x="526" y="283"/>
                  </a:lnTo>
                  <a:lnTo>
                    <a:pt x="517" y="273"/>
                  </a:lnTo>
                  <a:lnTo>
                    <a:pt x="507" y="244"/>
                  </a:lnTo>
                  <a:lnTo>
                    <a:pt x="497" y="254"/>
                  </a:lnTo>
                  <a:lnTo>
                    <a:pt x="468" y="264"/>
                  </a:lnTo>
                  <a:lnTo>
                    <a:pt x="468" y="244"/>
                  </a:lnTo>
                  <a:lnTo>
                    <a:pt x="458" y="225"/>
                  </a:lnTo>
                  <a:lnTo>
                    <a:pt x="429" y="234"/>
                  </a:lnTo>
                  <a:lnTo>
                    <a:pt x="400" y="225"/>
                  </a:lnTo>
                  <a:lnTo>
                    <a:pt x="370" y="215"/>
                  </a:lnTo>
                  <a:lnTo>
                    <a:pt x="341" y="234"/>
                  </a:lnTo>
                  <a:lnTo>
                    <a:pt x="331" y="254"/>
                  </a:lnTo>
                  <a:lnTo>
                    <a:pt x="322" y="244"/>
                  </a:lnTo>
                  <a:lnTo>
                    <a:pt x="322" y="234"/>
                  </a:lnTo>
                  <a:lnTo>
                    <a:pt x="331" y="225"/>
                  </a:lnTo>
                  <a:lnTo>
                    <a:pt x="322" y="205"/>
                  </a:lnTo>
                  <a:lnTo>
                    <a:pt x="341" y="186"/>
                  </a:lnTo>
                  <a:lnTo>
                    <a:pt x="322" y="166"/>
                  </a:lnTo>
                  <a:lnTo>
                    <a:pt x="322" y="156"/>
                  </a:lnTo>
                  <a:lnTo>
                    <a:pt x="331" y="147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0" y="117"/>
                  </a:lnTo>
                  <a:lnTo>
                    <a:pt x="370" y="108"/>
                  </a:lnTo>
                  <a:lnTo>
                    <a:pt x="380" y="88"/>
                  </a:lnTo>
                  <a:lnTo>
                    <a:pt x="400" y="59"/>
                  </a:lnTo>
                  <a:lnTo>
                    <a:pt x="370" y="49"/>
                  </a:lnTo>
                  <a:lnTo>
                    <a:pt x="400" y="30"/>
                  </a:lnTo>
                  <a:lnTo>
                    <a:pt x="370" y="0"/>
                  </a:lnTo>
                  <a:lnTo>
                    <a:pt x="351" y="10"/>
                  </a:lnTo>
                  <a:lnTo>
                    <a:pt x="341" y="30"/>
                  </a:lnTo>
                  <a:lnTo>
                    <a:pt x="331" y="39"/>
                  </a:lnTo>
                  <a:lnTo>
                    <a:pt x="322" y="39"/>
                  </a:lnTo>
                  <a:lnTo>
                    <a:pt x="302" y="39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63" y="30"/>
                  </a:lnTo>
                  <a:lnTo>
                    <a:pt x="253" y="39"/>
                  </a:lnTo>
                  <a:lnTo>
                    <a:pt x="244" y="49"/>
                  </a:lnTo>
                  <a:lnTo>
                    <a:pt x="263" y="59"/>
                  </a:lnTo>
                  <a:lnTo>
                    <a:pt x="273" y="69"/>
                  </a:lnTo>
                  <a:lnTo>
                    <a:pt x="263" y="78"/>
                  </a:lnTo>
                  <a:lnTo>
                    <a:pt x="263" y="98"/>
                  </a:lnTo>
                  <a:lnTo>
                    <a:pt x="253" y="108"/>
                  </a:lnTo>
                  <a:lnTo>
                    <a:pt x="244" y="117"/>
                  </a:lnTo>
                  <a:lnTo>
                    <a:pt x="244" y="127"/>
                  </a:lnTo>
                  <a:lnTo>
                    <a:pt x="234" y="127"/>
                  </a:lnTo>
                  <a:lnTo>
                    <a:pt x="224" y="147"/>
                  </a:lnTo>
                  <a:lnTo>
                    <a:pt x="224" y="166"/>
                  </a:lnTo>
                  <a:lnTo>
                    <a:pt x="205" y="186"/>
                  </a:lnTo>
                  <a:lnTo>
                    <a:pt x="175" y="186"/>
                  </a:lnTo>
                  <a:lnTo>
                    <a:pt x="146" y="186"/>
                  </a:lnTo>
                  <a:lnTo>
                    <a:pt x="127" y="176"/>
                  </a:lnTo>
                  <a:lnTo>
                    <a:pt x="107" y="186"/>
                  </a:lnTo>
                  <a:lnTo>
                    <a:pt x="97" y="195"/>
                  </a:lnTo>
                  <a:lnTo>
                    <a:pt x="78" y="205"/>
                  </a:lnTo>
                  <a:lnTo>
                    <a:pt x="88" y="225"/>
                  </a:lnTo>
                  <a:lnTo>
                    <a:pt x="107" y="244"/>
                  </a:lnTo>
                  <a:lnTo>
                    <a:pt x="117" y="254"/>
                  </a:lnTo>
                  <a:lnTo>
                    <a:pt x="107" y="273"/>
                  </a:lnTo>
                  <a:lnTo>
                    <a:pt x="97" y="283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73"/>
                  </a:lnTo>
                  <a:lnTo>
                    <a:pt x="39" y="273"/>
                  </a:lnTo>
                  <a:lnTo>
                    <a:pt x="29" y="283"/>
                  </a:lnTo>
                  <a:lnTo>
                    <a:pt x="29" y="293"/>
                  </a:lnTo>
                  <a:lnTo>
                    <a:pt x="9" y="303"/>
                  </a:lnTo>
                  <a:lnTo>
                    <a:pt x="0" y="313"/>
                  </a:lnTo>
                  <a:lnTo>
                    <a:pt x="9" y="322"/>
                  </a:lnTo>
                  <a:lnTo>
                    <a:pt x="9" y="332"/>
                  </a:lnTo>
                  <a:lnTo>
                    <a:pt x="9" y="342"/>
                  </a:lnTo>
                  <a:lnTo>
                    <a:pt x="9" y="352"/>
                  </a:lnTo>
                  <a:lnTo>
                    <a:pt x="29" y="352"/>
                  </a:lnTo>
                  <a:lnTo>
                    <a:pt x="48" y="352"/>
                  </a:lnTo>
                  <a:lnTo>
                    <a:pt x="58" y="361"/>
                  </a:lnTo>
                  <a:lnTo>
                    <a:pt x="88" y="361"/>
                  </a:lnTo>
                  <a:lnTo>
                    <a:pt x="107" y="371"/>
                  </a:lnTo>
                  <a:lnTo>
                    <a:pt x="107" y="391"/>
                  </a:lnTo>
                  <a:lnTo>
                    <a:pt x="127" y="381"/>
                  </a:lnTo>
                  <a:lnTo>
                    <a:pt x="136" y="391"/>
                  </a:lnTo>
                  <a:lnTo>
                    <a:pt x="127" y="410"/>
                  </a:lnTo>
                  <a:lnTo>
                    <a:pt x="146" y="420"/>
                  </a:lnTo>
                  <a:lnTo>
                    <a:pt x="136" y="430"/>
                  </a:lnTo>
                  <a:lnTo>
                    <a:pt x="136" y="439"/>
                  </a:lnTo>
                  <a:lnTo>
                    <a:pt x="136" y="459"/>
                  </a:lnTo>
                  <a:lnTo>
                    <a:pt x="127" y="478"/>
                  </a:lnTo>
                  <a:lnTo>
                    <a:pt x="136" y="488"/>
                  </a:lnTo>
                  <a:lnTo>
                    <a:pt x="136" y="527"/>
                  </a:lnTo>
                  <a:lnTo>
                    <a:pt x="146" y="537"/>
                  </a:lnTo>
                  <a:lnTo>
                    <a:pt x="136" y="556"/>
                  </a:lnTo>
                  <a:lnTo>
                    <a:pt x="146" y="586"/>
                  </a:lnTo>
                  <a:lnTo>
                    <a:pt x="146" y="595"/>
                  </a:lnTo>
                  <a:lnTo>
                    <a:pt x="166" y="586"/>
                  </a:lnTo>
                  <a:lnTo>
                    <a:pt x="166" y="576"/>
                  </a:lnTo>
                  <a:lnTo>
                    <a:pt x="175" y="556"/>
                  </a:lnTo>
                  <a:lnTo>
                    <a:pt x="166" y="54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1" name="Freeform 192"/>
            <p:cNvSpPr>
              <a:spLocks/>
            </p:cNvSpPr>
            <p:nvPr/>
          </p:nvSpPr>
          <p:spPr bwMode="auto">
            <a:xfrm>
              <a:off x="1365" y="1505"/>
              <a:ext cx="334" cy="254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9 w 331"/>
                <a:gd name="T23" fmla="*/ 175 h 253"/>
                <a:gd name="T24" fmla="*/ 9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87 h 253"/>
                <a:gd name="T68" fmla="*/ 224 w 331"/>
                <a:gd name="T69" fmla="*/ 107 h 253"/>
                <a:gd name="T70" fmla="*/ 24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146 w 331"/>
                <a:gd name="T111" fmla="*/ 214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9" y="175"/>
                  </a:lnTo>
                  <a:lnTo>
                    <a:pt x="9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87"/>
                  </a:lnTo>
                  <a:lnTo>
                    <a:pt x="224" y="107"/>
                  </a:lnTo>
                  <a:lnTo>
                    <a:pt x="24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32" name="Group 189"/>
            <p:cNvGrpSpPr>
              <a:grpSpLocks/>
            </p:cNvGrpSpPr>
            <p:nvPr/>
          </p:nvGrpSpPr>
          <p:grpSpPr bwMode="auto">
            <a:xfrm>
              <a:off x="1366" y="1503"/>
              <a:ext cx="331" cy="253"/>
              <a:chOff x="1366" y="1503"/>
              <a:chExt cx="331" cy="253"/>
            </a:xfrm>
          </p:grpSpPr>
          <p:sp>
            <p:nvSpPr>
              <p:cNvPr id="706" name="Freeform 191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25 h 253"/>
                  <a:gd name="T2" fmla="*/ 117 w 331"/>
                  <a:gd name="T3" fmla="*/ 235 h 253"/>
                  <a:gd name="T4" fmla="*/ 97 w 331"/>
                  <a:gd name="T5" fmla="*/ 245 h 253"/>
                  <a:gd name="T6" fmla="*/ 87 w 331"/>
                  <a:gd name="T7" fmla="*/ 245 h 253"/>
                  <a:gd name="T8" fmla="*/ 78 w 331"/>
                  <a:gd name="T9" fmla="*/ 245 h 253"/>
                  <a:gd name="T10" fmla="*/ 48 w 331"/>
                  <a:gd name="T11" fmla="*/ 245 h 253"/>
                  <a:gd name="T12" fmla="*/ 19 w 331"/>
                  <a:gd name="T13" fmla="*/ 245 h 253"/>
                  <a:gd name="T14" fmla="*/ 9 w 331"/>
                  <a:gd name="T15" fmla="*/ 245 h 253"/>
                  <a:gd name="T16" fmla="*/ 0 w 331"/>
                  <a:gd name="T17" fmla="*/ 225 h 253"/>
                  <a:gd name="T18" fmla="*/ 9 w 331"/>
                  <a:gd name="T19" fmla="*/ 206 h 253"/>
                  <a:gd name="T20" fmla="*/ 9 w 331"/>
                  <a:gd name="T21" fmla="*/ 206 h 253"/>
                  <a:gd name="T22" fmla="*/ 0 w 331"/>
                  <a:gd name="T23" fmla="*/ 186 h 253"/>
                  <a:gd name="T24" fmla="*/ 0 w 331"/>
                  <a:gd name="T25" fmla="*/ 167 h 253"/>
                  <a:gd name="T26" fmla="*/ 19 w 331"/>
                  <a:gd name="T27" fmla="*/ 167 h 253"/>
                  <a:gd name="T28" fmla="*/ 29 w 331"/>
                  <a:gd name="T29" fmla="*/ 147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86 w 331"/>
                  <a:gd name="T65" fmla="*/ 39 h 253"/>
                  <a:gd name="T66" fmla="*/ 206 w 331"/>
                  <a:gd name="T67" fmla="*/ 78 h 253"/>
                  <a:gd name="T68" fmla="*/ 235 w 331"/>
                  <a:gd name="T69" fmla="*/ 107 h 253"/>
                  <a:gd name="T70" fmla="*/ 264 w 331"/>
                  <a:gd name="T71" fmla="*/ 126 h 253"/>
                  <a:gd name="T72" fmla="*/ 293 w 331"/>
                  <a:gd name="T73" fmla="*/ 147 h 253"/>
                  <a:gd name="T74" fmla="*/ 313 w 331"/>
                  <a:gd name="T75" fmla="*/ 126 h 253"/>
                  <a:gd name="T76" fmla="*/ 323 w 331"/>
                  <a:gd name="T77" fmla="*/ 147 h 253"/>
                  <a:gd name="T78" fmla="*/ 323 w 331"/>
                  <a:gd name="T79" fmla="*/ 167 h 253"/>
                  <a:gd name="T80" fmla="*/ 323 w 331"/>
                  <a:gd name="T81" fmla="*/ 186 h 253"/>
                  <a:gd name="T82" fmla="*/ 332 w 331"/>
                  <a:gd name="T83" fmla="*/ 196 h 253"/>
                  <a:gd name="T84" fmla="*/ 342 w 331"/>
                  <a:gd name="T85" fmla="*/ 206 h 253"/>
                  <a:gd name="T86" fmla="*/ 342 w 331"/>
                  <a:gd name="T87" fmla="*/ 215 h 253"/>
                  <a:gd name="T88" fmla="*/ 332 w 331"/>
                  <a:gd name="T89" fmla="*/ 225 h 253"/>
                  <a:gd name="T90" fmla="*/ 303 w 331"/>
                  <a:gd name="T91" fmla="*/ 245 h 253"/>
                  <a:gd name="T92" fmla="*/ 284 w 331"/>
                  <a:gd name="T93" fmla="*/ 254 h 253"/>
                  <a:gd name="T94" fmla="*/ 264 w 331"/>
                  <a:gd name="T95" fmla="*/ 264 h 253"/>
                  <a:gd name="T96" fmla="*/ 245 w 331"/>
                  <a:gd name="T97" fmla="*/ 264 h 253"/>
                  <a:gd name="T98" fmla="*/ 225 w 331"/>
                  <a:gd name="T99" fmla="*/ 254 h 253"/>
                  <a:gd name="T100" fmla="*/ 206 w 331"/>
                  <a:gd name="T101" fmla="*/ 264 h 253"/>
                  <a:gd name="T102" fmla="*/ 186 w 331"/>
                  <a:gd name="T103" fmla="*/ 254 h 253"/>
                  <a:gd name="T104" fmla="*/ 165 w 331"/>
                  <a:gd name="T105" fmla="*/ 254 h 253"/>
                  <a:gd name="T106" fmla="*/ 156 w 331"/>
                  <a:gd name="T107" fmla="*/ 254 h 253"/>
                  <a:gd name="T108" fmla="*/ 156 w 331"/>
                  <a:gd name="T109" fmla="*/ 245 h 253"/>
                  <a:gd name="T110" fmla="*/ 146 w 331"/>
                  <a:gd name="T111" fmla="*/ 225 h 2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31"/>
                  <a:gd name="T169" fmla="*/ 0 h 253"/>
                  <a:gd name="T170" fmla="*/ 331 w 331"/>
                  <a:gd name="T171" fmla="*/ 253 h 2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  <a:lnTo>
                      <a:pt x="146" y="214"/>
                    </a:lnTo>
                    <a:close/>
                  </a:path>
                </a:pathLst>
              </a:custGeom>
              <a:solidFill>
                <a:srgbClr val="0078D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7" name="Freeform 190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1"/>
                  <a:gd name="T166" fmla="*/ 0 h 253"/>
                  <a:gd name="T167" fmla="*/ 331 w 331"/>
                  <a:gd name="T168" fmla="*/ 253 h 2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33" name="Freeform 188"/>
            <p:cNvSpPr>
              <a:spLocks/>
            </p:cNvSpPr>
            <p:nvPr/>
          </p:nvSpPr>
          <p:spPr bwMode="auto">
            <a:xfrm>
              <a:off x="1203" y="1678"/>
              <a:ext cx="249" cy="242"/>
            </a:xfrm>
            <a:custGeom>
              <a:avLst/>
              <a:gdLst/>
              <a:ahLst/>
              <a:cxnLst>
                <a:cxn ang="0">
                  <a:pos x="127" y="244"/>
                </a:cxn>
                <a:cxn ang="0">
                  <a:pos x="107" y="244"/>
                </a:cxn>
                <a:cxn ang="0">
                  <a:pos x="78" y="225"/>
                </a:cxn>
                <a:cxn ang="0">
                  <a:pos x="97" y="195"/>
                </a:cxn>
                <a:cxn ang="0">
                  <a:pos x="88" y="166"/>
                </a:cxn>
                <a:cxn ang="0">
                  <a:pos x="68" y="166"/>
                </a:cxn>
                <a:cxn ang="0">
                  <a:pos x="58" y="147"/>
                </a:cxn>
                <a:cxn ang="0">
                  <a:pos x="39" y="107"/>
                </a:cxn>
                <a:cxn ang="0">
                  <a:pos x="19" y="107"/>
                </a:cxn>
                <a:cxn ang="0">
                  <a:pos x="0" y="88"/>
                </a:cxn>
                <a:cxn ang="0">
                  <a:pos x="10" y="59"/>
                </a:cxn>
                <a:cxn ang="0">
                  <a:pos x="29" y="49"/>
                </a:cxn>
                <a:cxn ang="0">
                  <a:pos x="49" y="29"/>
                </a:cxn>
                <a:cxn ang="0">
                  <a:pos x="58" y="10"/>
                </a:cxn>
                <a:cxn ang="0">
                  <a:pos x="78" y="0"/>
                </a:cxn>
                <a:cxn ang="0">
                  <a:pos x="97" y="10"/>
                </a:cxn>
                <a:cxn ang="0">
                  <a:pos x="97" y="39"/>
                </a:cxn>
                <a:cxn ang="0">
                  <a:pos x="117" y="59"/>
                </a:cxn>
                <a:cxn ang="0">
                  <a:pos x="146" y="59"/>
                </a:cxn>
                <a:cxn ang="0">
                  <a:pos x="166" y="39"/>
                </a:cxn>
                <a:cxn ang="0">
                  <a:pos x="185" y="59"/>
                </a:cxn>
                <a:cxn ang="0">
                  <a:pos x="244" y="59"/>
                </a:cxn>
                <a:cxn ang="0">
                  <a:pos x="253" y="59"/>
                </a:cxn>
                <a:cxn ang="0">
                  <a:pos x="253" y="88"/>
                </a:cxn>
                <a:cxn ang="0">
                  <a:pos x="253" y="107"/>
                </a:cxn>
                <a:cxn ang="0">
                  <a:pos x="253" y="137"/>
                </a:cxn>
                <a:cxn ang="0">
                  <a:pos x="234" y="156"/>
                </a:cxn>
                <a:cxn ang="0">
                  <a:pos x="234" y="186"/>
                </a:cxn>
                <a:cxn ang="0">
                  <a:pos x="214" y="205"/>
                </a:cxn>
                <a:cxn ang="0">
                  <a:pos x="185" y="195"/>
                </a:cxn>
                <a:cxn ang="0">
                  <a:pos x="166" y="205"/>
                </a:cxn>
                <a:cxn ang="0">
                  <a:pos x="166" y="225"/>
                </a:cxn>
                <a:cxn ang="0">
                  <a:pos x="146" y="225"/>
                </a:cxn>
                <a:cxn ang="0">
                  <a:pos x="127" y="234"/>
                </a:cxn>
              </a:cxnLst>
              <a:rect l="0" t="0" r="r" b="b"/>
              <a:pathLst>
                <a:path w="253" h="244">
                  <a:moveTo>
                    <a:pt x="136" y="244"/>
                  </a:moveTo>
                  <a:lnTo>
                    <a:pt x="127" y="244"/>
                  </a:lnTo>
                  <a:lnTo>
                    <a:pt x="117" y="244"/>
                  </a:lnTo>
                  <a:lnTo>
                    <a:pt x="107" y="244"/>
                  </a:lnTo>
                  <a:lnTo>
                    <a:pt x="68" y="234"/>
                  </a:lnTo>
                  <a:lnTo>
                    <a:pt x="78" y="225"/>
                  </a:lnTo>
                  <a:lnTo>
                    <a:pt x="88" y="205"/>
                  </a:lnTo>
                  <a:lnTo>
                    <a:pt x="97" y="195"/>
                  </a:lnTo>
                  <a:lnTo>
                    <a:pt x="97" y="186"/>
                  </a:lnTo>
                  <a:lnTo>
                    <a:pt x="88" y="166"/>
                  </a:lnTo>
                  <a:lnTo>
                    <a:pt x="68" y="166"/>
                  </a:lnTo>
                  <a:lnTo>
                    <a:pt x="68" y="156"/>
                  </a:lnTo>
                  <a:lnTo>
                    <a:pt x="58" y="147"/>
                  </a:lnTo>
                  <a:lnTo>
                    <a:pt x="49" y="137"/>
                  </a:lnTo>
                  <a:lnTo>
                    <a:pt x="39" y="107"/>
                  </a:lnTo>
                  <a:lnTo>
                    <a:pt x="29" y="107"/>
                  </a:lnTo>
                  <a:lnTo>
                    <a:pt x="19" y="107"/>
                  </a:lnTo>
                  <a:lnTo>
                    <a:pt x="0" y="107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10" y="5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39" y="39"/>
                  </a:lnTo>
                  <a:lnTo>
                    <a:pt x="49" y="29"/>
                  </a:lnTo>
                  <a:lnTo>
                    <a:pt x="58" y="29"/>
                  </a:lnTo>
                  <a:lnTo>
                    <a:pt x="58" y="10"/>
                  </a:lnTo>
                  <a:lnTo>
                    <a:pt x="68" y="0"/>
                  </a:lnTo>
                  <a:lnTo>
                    <a:pt x="78" y="0"/>
                  </a:lnTo>
                  <a:lnTo>
                    <a:pt x="88" y="0"/>
                  </a:lnTo>
                  <a:lnTo>
                    <a:pt x="97" y="10"/>
                  </a:lnTo>
                  <a:lnTo>
                    <a:pt x="97" y="29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117" y="59"/>
                  </a:lnTo>
                  <a:lnTo>
                    <a:pt x="136" y="59"/>
                  </a:lnTo>
                  <a:lnTo>
                    <a:pt x="146" y="59"/>
                  </a:lnTo>
                  <a:lnTo>
                    <a:pt x="156" y="68"/>
                  </a:lnTo>
                  <a:lnTo>
                    <a:pt x="166" y="39"/>
                  </a:lnTo>
                  <a:lnTo>
                    <a:pt x="175" y="59"/>
                  </a:lnTo>
                  <a:lnTo>
                    <a:pt x="185" y="59"/>
                  </a:lnTo>
                  <a:lnTo>
                    <a:pt x="214" y="59"/>
                  </a:lnTo>
                  <a:lnTo>
                    <a:pt x="244" y="59"/>
                  </a:lnTo>
                  <a:lnTo>
                    <a:pt x="253" y="59"/>
                  </a:lnTo>
                  <a:lnTo>
                    <a:pt x="253" y="78"/>
                  </a:lnTo>
                  <a:lnTo>
                    <a:pt x="253" y="88"/>
                  </a:lnTo>
                  <a:lnTo>
                    <a:pt x="253" y="98"/>
                  </a:lnTo>
                  <a:lnTo>
                    <a:pt x="253" y="107"/>
                  </a:lnTo>
                  <a:lnTo>
                    <a:pt x="253" y="117"/>
                  </a:lnTo>
                  <a:lnTo>
                    <a:pt x="253" y="137"/>
                  </a:lnTo>
                  <a:lnTo>
                    <a:pt x="234" y="147"/>
                  </a:lnTo>
                  <a:lnTo>
                    <a:pt x="234" y="156"/>
                  </a:lnTo>
                  <a:lnTo>
                    <a:pt x="244" y="166"/>
                  </a:lnTo>
                  <a:lnTo>
                    <a:pt x="234" y="186"/>
                  </a:lnTo>
                  <a:lnTo>
                    <a:pt x="224" y="195"/>
                  </a:lnTo>
                  <a:lnTo>
                    <a:pt x="214" y="205"/>
                  </a:lnTo>
                  <a:lnTo>
                    <a:pt x="205" y="205"/>
                  </a:lnTo>
                  <a:lnTo>
                    <a:pt x="185" y="195"/>
                  </a:lnTo>
                  <a:lnTo>
                    <a:pt x="175" y="195"/>
                  </a:lnTo>
                  <a:lnTo>
                    <a:pt x="166" y="205"/>
                  </a:lnTo>
                  <a:lnTo>
                    <a:pt x="175" y="215"/>
                  </a:lnTo>
                  <a:lnTo>
                    <a:pt x="166" y="225"/>
                  </a:lnTo>
                  <a:lnTo>
                    <a:pt x="156" y="225"/>
                  </a:lnTo>
                  <a:lnTo>
                    <a:pt x="146" y="225"/>
                  </a:lnTo>
                  <a:lnTo>
                    <a:pt x="127" y="225"/>
                  </a:lnTo>
                  <a:lnTo>
                    <a:pt x="127" y="234"/>
                  </a:lnTo>
                  <a:lnTo>
                    <a:pt x="136" y="24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4" name="Freeform 187"/>
            <p:cNvSpPr>
              <a:spLocks/>
            </p:cNvSpPr>
            <p:nvPr/>
          </p:nvSpPr>
          <p:spPr bwMode="auto">
            <a:xfrm>
              <a:off x="1435" y="1718"/>
              <a:ext cx="264" cy="183"/>
            </a:xfrm>
            <a:custGeom>
              <a:avLst/>
              <a:gdLst/>
              <a:ahLst/>
              <a:cxnLst>
                <a:cxn ang="0">
                  <a:pos x="244" y="186"/>
                </a:cxn>
                <a:cxn ang="0">
                  <a:pos x="224" y="186"/>
                </a:cxn>
                <a:cxn ang="0">
                  <a:pos x="195" y="186"/>
                </a:cxn>
                <a:cxn ang="0">
                  <a:pos x="166" y="186"/>
                </a:cxn>
                <a:cxn ang="0">
                  <a:pos x="156" y="176"/>
                </a:cxn>
                <a:cxn ang="0">
                  <a:pos x="136" y="156"/>
                </a:cxn>
                <a:cxn ang="0">
                  <a:pos x="136" y="147"/>
                </a:cxn>
                <a:cxn ang="0">
                  <a:pos x="127" y="156"/>
                </a:cxn>
                <a:cxn ang="0">
                  <a:pos x="127" y="176"/>
                </a:cxn>
                <a:cxn ang="0">
                  <a:pos x="107" y="176"/>
                </a:cxn>
                <a:cxn ang="0">
                  <a:pos x="88" y="176"/>
                </a:cxn>
                <a:cxn ang="0">
                  <a:pos x="78" y="186"/>
                </a:cxn>
                <a:cxn ang="0">
                  <a:pos x="68" y="186"/>
                </a:cxn>
                <a:cxn ang="0">
                  <a:pos x="58" y="186"/>
                </a:cxn>
                <a:cxn ang="0">
                  <a:pos x="49" y="176"/>
                </a:cxn>
                <a:cxn ang="0">
                  <a:pos x="10" y="147"/>
                </a:cxn>
                <a:cxn ang="0">
                  <a:pos x="10" y="137"/>
                </a:cxn>
                <a:cxn ang="0">
                  <a:pos x="0" y="117"/>
                </a:cxn>
                <a:cxn ang="0">
                  <a:pos x="10" y="108"/>
                </a:cxn>
                <a:cxn ang="0">
                  <a:pos x="19" y="98"/>
                </a:cxn>
                <a:cxn ang="0">
                  <a:pos x="19" y="88"/>
                </a:cxn>
                <a:cxn ang="0">
                  <a:pos x="19" y="68"/>
                </a:cxn>
                <a:cxn ang="0">
                  <a:pos x="19" y="59"/>
                </a:cxn>
                <a:cxn ang="0">
                  <a:pos x="19" y="49"/>
                </a:cxn>
                <a:cxn ang="0">
                  <a:pos x="29" y="39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29" y="20"/>
                </a:cxn>
                <a:cxn ang="0">
                  <a:pos x="49" y="10"/>
                </a:cxn>
                <a:cxn ang="0">
                  <a:pos x="78" y="0"/>
                </a:cxn>
                <a:cxn ang="0">
                  <a:pos x="88" y="20"/>
                </a:cxn>
                <a:cxn ang="0">
                  <a:pos x="88" y="29"/>
                </a:cxn>
                <a:cxn ang="0">
                  <a:pos x="107" y="29"/>
                </a:cxn>
                <a:cxn ang="0">
                  <a:pos x="107" y="29"/>
                </a:cxn>
                <a:cxn ang="0">
                  <a:pos x="127" y="39"/>
                </a:cxn>
                <a:cxn ang="0">
                  <a:pos x="146" y="29"/>
                </a:cxn>
                <a:cxn ang="0">
                  <a:pos x="166" y="39"/>
                </a:cxn>
                <a:cxn ang="0">
                  <a:pos x="195" y="39"/>
                </a:cxn>
                <a:cxn ang="0">
                  <a:pos x="205" y="29"/>
                </a:cxn>
                <a:cxn ang="0">
                  <a:pos x="214" y="49"/>
                </a:cxn>
                <a:cxn ang="0">
                  <a:pos x="214" y="68"/>
                </a:cxn>
                <a:cxn ang="0">
                  <a:pos x="234" y="88"/>
                </a:cxn>
                <a:cxn ang="0">
                  <a:pos x="244" y="88"/>
                </a:cxn>
                <a:cxn ang="0">
                  <a:pos x="253" y="88"/>
                </a:cxn>
                <a:cxn ang="0">
                  <a:pos x="263" y="117"/>
                </a:cxn>
                <a:cxn ang="0">
                  <a:pos x="263" y="147"/>
                </a:cxn>
                <a:cxn ang="0">
                  <a:pos x="244" y="156"/>
                </a:cxn>
                <a:cxn ang="0">
                  <a:pos x="234" y="176"/>
                </a:cxn>
                <a:cxn ang="0">
                  <a:pos x="244" y="186"/>
                </a:cxn>
              </a:cxnLst>
              <a:rect l="0" t="0" r="r" b="b"/>
              <a:pathLst>
                <a:path w="263" h="186">
                  <a:moveTo>
                    <a:pt x="244" y="186"/>
                  </a:moveTo>
                  <a:lnTo>
                    <a:pt x="224" y="186"/>
                  </a:lnTo>
                  <a:lnTo>
                    <a:pt x="195" y="186"/>
                  </a:lnTo>
                  <a:lnTo>
                    <a:pt x="166" y="186"/>
                  </a:lnTo>
                  <a:lnTo>
                    <a:pt x="156" y="176"/>
                  </a:lnTo>
                  <a:lnTo>
                    <a:pt x="136" y="156"/>
                  </a:lnTo>
                  <a:lnTo>
                    <a:pt x="136" y="147"/>
                  </a:lnTo>
                  <a:lnTo>
                    <a:pt x="127" y="156"/>
                  </a:lnTo>
                  <a:lnTo>
                    <a:pt x="127" y="176"/>
                  </a:lnTo>
                  <a:lnTo>
                    <a:pt x="107" y="17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68" y="186"/>
                  </a:lnTo>
                  <a:lnTo>
                    <a:pt x="58" y="186"/>
                  </a:lnTo>
                  <a:lnTo>
                    <a:pt x="49" y="176"/>
                  </a:lnTo>
                  <a:lnTo>
                    <a:pt x="10" y="147"/>
                  </a:lnTo>
                  <a:lnTo>
                    <a:pt x="10" y="13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9" y="98"/>
                  </a:lnTo>
                  <a:lnTo>
                    <a:pt x="19" y="88"/>
                  </a:lnTo>
                  <a:lnTo>
                    <a:pt x="19" y="68"/>
                  </a:lnTo>
                  <a:lnTo>
                    <a:pt x="19" y="59"/>
                  </a:lnTo>
                  <a:lnTo>
                    <a:pt x="19" y="49"/>
                  </a:lnTo>
                  <a:lnTo>
                    <a:pt x="29" y="39"/>
                  </a:lnTo>
                  <a:lnTo>
                    <a:pt x="19" y="20"/>
                  </a:lnTo>
                  <a:lnTo>
                    <a:pt x="29" y="20"/>
                  </a:lnTo>
                  <a:lnTo>
                    <a:pt x="49" y="10"/>
                  </a:lnTo>
                  <a:lnTo>
                    <a:pt x="78" y="0"/>
                  </a:lnTo>
                  <a:lnTo>
                    <a:pt x="88" y="20"/>
                  </a:lnTo>
                  <a:lnTo>
                    <a:pt x="88" y="29"/>
                  </a:lnTo>
                  <a:lnTo>
                    <a:pt x="107" y="29"/>
                  </a:lnTo>
                  <a:lnTo>
                    <a:pt x="127" y="39"/>
                  </a:lnTo>
                  <a:lnTo>
                    <a:pt x="146" y="29"/>
                  </a:lnTo>
                  <a:lnTo>
                    <a:pt x="166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49"/>
                  </a:lnTo>
                  <a:lnTo>
                    <a:pt x="214" y="68"/>
                  </a:lnTo>
                  <a:lnTo>
                    <a:pt x="234" y="88"/>
                  </a:lnTo>
                  <a:lnTo>
                    <a:pt x="244" y="88"/>
                  </a:lnTo>
                  <a:lnTo>
                    <a:pt x="253" y="88"/>
                  </a:lnTo>
                  <a:lnTo>
                    <a:pt x="263" y="117"/>
                  </a:lnTo>
                  <a:lnTo>
                    <a:pt x="263" y="147"/>
                  </a:lnTo>
                  <a:lnTo>
                    <a:pt x="244" y="156"/>
                  </a:lnTo>
                  <a:lnTo>
                    <a:pt x="234" y="176"/>
                  </a:lnTo>
                  <a:lnTo>
                    <a:pt x="244" y="18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5" name="Freeform 186"/>
            <p:cNvSpPr>
              <a:spLocks/>
            </p:cNvSpPr>
            <p:nvPr/>
          </p:nvSpPr>
          <p:spPr bwMode="auto">
            <a:xfrm>
              <a:off x="1641" y="1688"/>
              <a:ext cx="252" cy="322"/>
            </a:xfrm>
            <a:custGeom>
              <a:avLst/>
              <a:gdLst>
                <a:gd name="T0" fmla="*/ 48 w 253"/>
                <a:gd name="T1" fmla="*/ 245 h 322"/>
                <a:gd name="T2" fmla="*/ 48 w 253"/>
                <a:gd name="T3" fmla="*/ 255 h 322"/>
                <a:gd name="T4" fmla="*/ 48 w 253"/>
                <a:gd name="T5" fmla="*/ 284 h 322"/>
                <a:gd name="T6" fmla="*/ 39 w 253"/>
                <a:gd name="T7" fmla="*/ 313 h 322"/>
                <a:gd name="T8" fmla="*/ 48 w 253"/>
                <a:gd name="T9" fmla="*/ 313 h 322"/>
                <a:gd name="T10" fmla="*/ 68 w 253"/>
                <a:gd name="T11" fmla="*/ 313 h 322"/>
                <a:gd name="T12" fmla="*/ 87 w 253"/>
                <a:gd name="T13" fmla="*/ 304 h 322"/>
                <a:gd name="T14" fmla="*/ 97 w 253"/>
                <a:gd name="T15" fmla="*/ 313 h 322"/>
                <a:gd name="T16" fmla="*/ 135 w 253"/>
                <a:gd name="T17" fmla="*/ 333 h 322"/>
                <a:gd name="T18" fmla="*/ 174 w 253"/>
                <a:gd name="T19" fmla="*/ 333 h 322"/>
                <a:gd name="T20" fmla="*/ 194 w 253"/>
                <a:gd name="T21" fmla="*/ 323 h 322"/>
                <a:gd name="T22" fmla="*/ 213 w 253"/>
                <a:gd name="T23" fmla="*/ 313 h 322"/>
                <a:gd name="T24" fmla="*/ 213 w 253"/>
                <a:gd name="T25" fmla="*/ 284 h 322"/>
                <a:gd name="T26" fmla="*/ 203 w 253"/>
                <a:gd name="T27" fmla="*/ 255 h 322"/>
                <a:gd name="T28" fmla="*/ 203 w 253"/>
                <a:gd name="T29" fmla="*/ 216 h 322"/>
                <a:gd name="T30" fmla="*/ 194 w 253"/>
                <a:gd name="T31" fmla="*/ 187 h 322"/>
                <a:gd name="T32" fmla="*/ 242 w 253"/>
                <a:gd name="T33" fmla="*/ 127 h 322"/>
                <a:gd name="T34" fmla="*/ 242 w 253"/>
                <a:gd name="T35" fmla="*/ 97 h 322"/>
                <a:gd name="T36" fmla="*/ 233 w 253"/>
                <a:gd name="T37" fmla="*/ 88 h 322"/>
                <a:gd name="T38" fmla="*/ 213 w 253"/>
                <a:gd name="T39" fmla="*/ 68 h 322"/>
                <a:gd name="T40" fmla="*/ 194 w 253"/>
                <a:gd name="T41" fmla="*/ 78 h 322"/>
                <a:gd name="T42" fmla="*/ 174 w 253"/>
                <a:gd name="T43" fmla="*/ 78 h 322"/>
                <a:gd name="T44" fmla="*/ 155 w 253"/>
                <a:gd name="T45" fmla="*/ 49 h 322"/>
                <a:gd name="T46" fmla="*/ 126 w 253"/>
                <a:gd name="T47" fmla="*/ 19 h 322"/>
                <a:gd name="T48" fmla="*/ 107 w 253"/>
                <a:gd name="T49" fmla="*/ 0 h 322"/>
                <a:gd name="T50" fmla="*/ 68 w 253"/>
                <a:gd name="T51" fmla="*/ 0 h 322"/>
                <a:gd name="T52" fmla="*/ 58 w 253"/>
                <a:gd name="T53" fmla="*/ 19 h 322"/>
                <a:gd name="T54" fmla="*/ 19 w 253"/>
                <a:gd name="T55" fmla="*/ 49 h 322"/>
                <a:gd name="T56" fmla="*/ 9 w 253"/>
                <a:gd name="T57" fmla="*/ 78 h 322"/>
                <a:gd name="T58" fmla="*/ 29 w 253"/>
                <a:gd name="T59" fmla="*/ 107 h 322"/>
                <a:gd name="T60" fmla="*/ 48 w 253"/>
                <a:gd name="T61" fmla="*/ 117 h 322"/>
                <a:gd name="T62" fmla="*/ 58 w 253"/>
                <a:gd name="T63" fmla="*/ 187 h 322"/>
                <a:gd name="T64" fmla="*/ 97 w 253"/>
                <a:gd name="T65" fmla="*/ 156 h 322"/>
                <a:gd name="T66" fmla="*/ 97 w 253"/>
                <a:gd name="T67" fmla="*/ 146 h 322"/>
                <a:gd name="T68" fmla="*/ 117 w 253"/>
                <a:gd name="T69" fmla="*/ 127 h 322"/>
                <a:gd name="T70" fmla="*/ 135 w 253"/>
                <a:gd name="T71" fmla="*/ 127 h 322"/>
                <a:gd name="T72" fmla="*/ 155 w 253"/>
                <a:gd name="T73" fmla="*/ 127 h 322"/>
                <a:gd name="T74" fmla="*/ 164 w 253"/>
                <a:gd name="T75" fmla="*/ 146 h 322"/>
                <a:gd name="T76" fmla="*/ 164 w 253"/>
                <a:gd name="T77" fmla="*/ 177 h 322"/>
                <a:gd name="T78" fmla="*/ 155 w 253"/>
                <a:gd name="T79" fmla="*/ 196 h 322"/>
                <a:gd name="T80" fmla="*/ 126 w 253"/>
                <a:gd name="T81" fmla="*/ 196 h 322"/>
                <a:gd name="T82" fmla="*/ 117 w 253"/>
                <a:gd name="T83" fmla="*/ 196 h 322"/>
                <a:gd name="T84" fmla="*/ 97 w 253"/>
                <a:gd name="T85" fmla="*/ 187 h 322"/>
                <a:gd name="T86" fmla="*/ 58 w 253"/>
                <a:gd name="T87" fmla="*/ 187 h 322"/>
                <a:gd name="T88" fmla="*/ 29 w 253"/>
                <a:gd name="T89" fmla="*/ 216 h 322"/>
                <a:gd name="T90" fmla="*/ 39 w 253"/>
                <a:gd name="T91" fmla="*/ 235 h 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3"/>
                <a:gd name="T139" fmla="*/ 0 h 322"/>
                <a:gd name="T140" fmla="*/ 253 w 253"/>
                <a:gd name="T141" fmla="*/ 322 h 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3" h="322">
                  <a:moveTo>
                    <a:pt x="39" y="234"/>
                  </a:moveTo>
                  <a:lnTo>
                    <a:pt x="48" y="234"/>
                  </a:lnTo>
                  <a:lnTo>
                    <a:pt x="58" y="234"/>
                  </a:lnTo>
                  <a:lnTo>
                    <a:pt x="48" y="244"/>
                  </a:lnTo>
                  <a:lnTo>
                    <a:pt x="58" y="263"/>
                  </a:lnTo>
                  <a:lnTo>
                    <a:pt x="48" y="273"/>
                  </a:lnTo>
                  <a:lnTo>
                    <a:pt x="39" y="283"/>
                  </a:lnTo>
                  <a:lnTo>
                    <a:pt x="39" y="302"/>
                  </a:lnTo>
                  <a:lnTo>
                    <a:pt x="39" y="312"/>
                  </a:lnTo>
                  <a:lnTo>
                    <a:pt x="48" y="302"/>
                  </a:lnTo>
                  <a:lnTo>
                    <a:pt x="58" y="312"/>
                  </a:lnTo>
                  <a:lnTo>
                    <a:pt x="68" y="302"/>
                  </a:lnTo>
                  <a:lnTo>
                    <a:pt x="68" y="293"/>
                  </a:lnTo>
                  <a:lnTo>
                    <a:pt x="87" y="293"/>
                  </a:lnTo>
                  <a:lnTo>
                    <a:pt x="97" y="302"/>
                  </a:lnTo>
                  <a:lnTo>
                    <a:pt x="117" y="302"/>
                  </a:lnTo>
                  <a:lnTo>
                    <a:pt x="146" y="322"/>
                  </a:lnTo>
                  <a:lnTo>
                    <a:pt x="166" y="312"/>
                  </a:lnTo>
                  <a:lnTo>
                    <a:pt x="185" y="322"/>
                  </a:lnTo>
                  <a:lnTo>
                    <a:pt x="205" y="322"/>
                  </a:lnTo>
                  <a:lnTo>
                    <a:pt x="205" y="312"/>
                  </a:lnTo>
                  <a:lnTo>
                    <a:pt x="224" y="312"/>
                  </a:lnTo>
                  <a:lnTo>
                    <a:pt x="224" y="302"/>
                  </a:lnTo>
                  <a:lnTo>
                    <a:pt x="224" y="283"/>
                  </a:lnTo>
                  <a:lnTo>
                    <a:pt x="224" y="273"/>
                  </a:lnTo>
                  <a:lnTo>
                    <a:pt x="234" y="263"/>
                  </a:lnTo>
                  <a:lnTo>
                    <a:pt x="214" y="244"/>
                  </a:lnTo>
                  <a:lnTo>
                    <a:pt x="214" y="224"/>
                  </a:lnTo>
                  <a:lnTo>
                    <a:pt x="214" y="205"/>
                  </a:lnTo>
                  <a:lnTo>
                    <a:pt x="205" y="195"/>
                  </a:lnTo>
                  <a:lnTo>
                    <a:pt x="205" y="176"/>
                  </a:lnTo>
                  <a:lnTo>
                    <a:pt x="244" y="146"/>
                  </a:lnTo>
                  <a:lnTo>
                    <a:pt x="253" y="127"/>
                  </a:lnTo>
                  <a:lnTo>
                    <a:pt x="253" y="107"/>
                  </a:lnTo>
                  <a:lnTo>
                    <a:pt x="253" y="97"/>
                  </a:lnTo>
                  <a:lnTo>
                    <a:pt x="253" y="88"/>
                  </a:lnTo>
                  <a:lnTo>
                    <a:pt x="244" y="88"/>
                  </a:lnTo>
                  <a:lnTo>
                    <a:pt x="234" y="68"/>
                  </a:lnTo>
                  <a:lnTo>
                    <a:pt x="224" y="68"/>
                  </a:lnTo>
                  <a:lnTo>
                    <a:pt x="214" y="78"/>
                  </a:lnTo>
                  <a:lnTo>
                    <a:pt x="205" y="78"/>
                  </a:lnTo>
                  <a:lnTo>
                    <a:pt x="195" y="78"/>
                  </a:lnTo>
                  <a:lnTo>
                    <a:pt x="185" y="78"/>
                  </a:lnTo>
                  <a:lnTo>
                    <a:pt x="185" y="58"/>
                  </a:lnTo>
                  <a:lnTo>
                    <a:pt x="166" y="49"/>
                  </a:lnTo>
                  <a:lnTo>
                    <a:pt x="127" y="39"/>
                  </a:lnTo>
                  <a:lnTo>
                    <a:pt x="127" y="19"/>
                  </a:lnTo>
                  <a:lnTo>
                    <a:pt x="127" y="0"/>
                  </a:lnTo>
                  <a:lnTo>
                    <a:pt x="107" y="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58" y="10"/>
                  </a:lnTo>
                  <a:lnTo>
                    <a:pt x="58" y="19"/>
                  </a:lnTo>
                  <a:lnTo>
                    <a:pt x="48" y="29"/>
                  </a:lnTo>
                  <a:lnTo>
                    <a:pt x="19" y="49"/>
                  </a:lnTo>
                  <a:lnTo>
                    <a:pt x="0" y="58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29" y="107"/>
                  </a:lnTo>
                  <a:lnTo>
                    <a:pt x="39" y="117"/>
                  </a:lnTo>
                  <a:lnTo>
                    <a:pt x="48" y="117"/>
                  </a:lnTo>
                  <a:lnTo>
                    <a:pt x="58" y="146"/>
                  </a:lnTo>
                  <a:lnTo>
                    <a:pt x="58" y="176"/>
                  </a:lnTo>
                  <a:lnTo>
                    <a:pt x="97" y="166"/>
                  </a:lnTo>
                  <a:lnTo>
                    <a:pt x="97" y="156"/>
                  </a:lnTo>
                  <a:lnTo>
                    <a:pt x="97" y="146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27" y="127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66" y="127"/>
                  </a:lnTo>
                  <a:lnTo>
                    <a:pt x="175" y="137"/>
                  </a:lnTo>
                  <a:lnTo>
                    <a:pt x="175" y="146"/>
                  </a:lnTo>
                  <a:lnTo>
                    <a:pt x="175" y="156"/>
                  </a:lnTo>
                  <a:lnTo>
                    <a:pt x="175" y="166"/>
                  </a:lnTo>
                  <a:lnTo>
                    <a:pt x="175" y="176"/>
                  </a:lnTo>
                  <a:lnTo>
                    <a:pt x="166" y="185"/>
                  </a:lnTo>
                  <a:lnTo>
                    <a:pt x="156" y="185"/>
                  </a:lnTo>
                  <a:lnTo>
                    <a:pt x="136" y="185"/>
                  </a:lnTo>
                  <a:lnTo>
                    <a:pt x="127" y="185"/>
                  </a:lnTo>
                  <a:lnTo>
                    <a:pt x="117" y="185"/>
                  </a:lnTo>
                  <a:lnTo>
                    <a:pt x="107" y="18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58" y="176"/>
                  </a:lnTo>
                  <a:lnTo>
                    <a:pt x="48" y="185"/>
                  </a:lnTo>
                  <a:lnTo>
                    <a:pt x="29" y="205"/>
                  </a:lnTo>
                  <a:lnTo>
                    <a:pt x="39" y="215"/>
                  </a:lnTo>
                  <a:lnTo>
                    <a:pt x="39" y="224"/>
                  </a:lnTo>
                  <a:lnTo>
                    <a:pt x="39" y="234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6" name="Freeform 185"/>
            <p:cNvSpPr>
              <a:spLocks/>
            </p:cNvSpPr>
            <p:nvPr/>
          </p:nvSpPr>
          <p:spPr bwMode="auto">
            <a:xfrm>
              <a:off x="1943" y="1857"/>
              <a:ext cx="235" cy="19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0" y="29"/>
                </a:cxn>
                <a:cxn ang="0">
                  <a:pos x="10" y="39"/>
                </a:cxn>
                <a:cxn ang="0">
                  <a:pos x="0" y="58"/>
                </a:cxn>
                <a:cxn ang="0">
                  <a:pos x="10" y="68"/>
                </a:cxn>
                <a:cxn ang="0">
                  <a:pos x="20" y="68"/>
                </a:cxn>
                <a:cxn ang="0">
                  <a:pos x="39" y="78"/>
                </a:cxn>
                <a:cxn ang="0">
                  <a:pos x="49" y="88"/>
                </a:cxn>
                <a:cxn ang="0">
                  <a:pos x="39" y="107"/>
                </a:cxn>
                <a:cxn ang="0">
                  <a:pos x="59" y="107"/>
                </a:cxn>
                <a:cxn ang="0">
                  <a:pos x="59" y="136"/>
                </a:cxn>
                <a:cxn ang="0">
                  <a:pos x="78" y="156"/>
                </a:cxn>
                <a:cxn ang="0">
                  <a:pos x="88" y="175"/>
                </a:cxn>
                <a:cxn ang="0">
                  <a:pos x="107" y="185"/>
                </a:cxn>
                <a:cxn ang="0">
                  <a:pos x="127" y="195"/>
                </a:cxn>
                <a:cxn ang="0">
                  <a:pos x="137" y="195"/>
                </a:cxn>
                <a:cxn ang="0">
                  <a:pos x="137" y="175"/>
                </a:cxn>
                <a:cxn ang="0">
                  <a:pos x="146" y="175"/>
                </a:cxn>
                <a:cxn ang="0">
                  <a:pos x="166" y="185"/>
                </a:cxn>
                <a:cxn ang="0">
                  <a:pos x="185" y="195"/>
                </a:cxn>
                <a:cxn ang="0">
                  <a:pos x="195" y="195"/>
                </a:cxn>
                <a:cxn ang="0">
                  <a:pos x="205" y="175"/>
                </a:cxn>
                <a:cxn ang="0">
                  <a:pos x="215" y="185"/>
                </a:cxn>
                <a:cxn ang="0">
                  <a:pos x="224" y="175"/>
                </a:cxn>
                <a:cxn ang="0">
                  <a:pos x="234" y="175"/>
                </a:cxn>
                <a:cxn ang="0">
                  <a:pos x="234" y="146"/>
                </a:cxn>
                <a:cxn ang="0">
                  <a:pos x="224" y="156"/>
                </a:cxn>
                <a:cxn ang="0">
                  <a:pos x="215" y="146"/>
                </a:cxn>
                <a:cxn ang="0">
                  <a:pos x="195" y="136"/>
                </a:cxn>
                <a:cxn ang="0">
                  <a:pos x="205" y="127"/>
                </a:cxn>
                <a:cxn ang="0">
                  <a:pos x="215" y="117"/>
                </a:cxn>
                <a:cxn ang="0">
                  <a:pos x="215" y="97"/>
                </a:cxn>
                <a:cxn ang="0">
                  <a:pos x="205" y="97"/>
                </a:cxn>
                <a:cxn ang="0">
                  <a:pos x="185" y="88"/>
                </a:cxn>
                <a:cxn ang="0">
                  <a:pos x="176" y="68"/>
                </a:cxn>
                <a:cxn ang="0">
                  <a:pos x="176" y="58"/>
                </a:cxn>
                <a:cxn ang="0">
                  <a:pos x="156" y="58"/>
                </a:cxn>
                <a:cxn ang="0">
                  <a:pos x="146" y="68"/>
                </a:cxn>
                <a:cxn ang="0">
                  <a:pos x="137" y="68"/>
                </a:cxn>
                <a:cxn ang="0">
                  <a:pos x="127" y="49"/>
                </a:cxn>
                <a:cxn ang="0">
                  <a:pos x="98" y="29"/>
                </a:cxn>
                <a:cxn ang="0">
                  <a:pos x="98" y="19"/>
                </a:cxn>
                <a:cxn ang="0">
                  <a:pos x="88" y="29"/>
                </a:cxn>
                <a:cxn ang="0">
                  <a:pos x="78" y="29"/>
                </a:cxn>
                <a:cxn ang="0">
                  <a:pos x="88" y="10"/>
                </a:cxn>
                <a:cxn ang="0">
                  <a:pos x="59" y="10"/>
                </a:cxn>
                <a:cxn ang="0">
                  <a:pos x="49" y="0"/>
                </a:cxn>
                <a:cxn ang="0">
                  <a:pos x="39" y="10"/>
                </a:cxn>
                <a:cxn ang="0">
                  <a:pos x="29" y="10"/>
                </a:cxn>
                <a:cxn ang="0">
                  <a:pos x="10" y="10"/>
                </a:cxn>
                <a:cxn ang="0">
                  <a:pos x="0" y="10"/>
                </a:cxn>
              </a:cxnLst>
              <a:rect l="0" t="0" r="r" b="b"/>
              <a:pathLst>
                <a:path w="234" h="195">
                  <a:moveTo>
                    <a:pt x="0" y="10"/>
                  </a:moveTo>
                  <a:lnTo>
                    <a:pt x="10" y="29"/>
                  </a:lnTo>
                  <a:lnTo>
                    <a:pt x="10" y="39"/>
                  </a:lnTo>
                  <a:lnTo>
                    <a:pt x="0" y="58"/>
                  </a:lnTo>
                  <a:lnTo>
                    <a:pt x="10" y="68"/>
                  </a:lnTo>
                  <a:lnTo>
                    <a:pt x="20" y="68"/>
                  </a:lnTo>
                  <a:lnTo>
                    <a:pt x="39" y="78"/>
                  </a:lnTo>
                  <a:lnTo>
                    <a:pt x="4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59" y="136"/>
                  </a:lnTo>
                  <a:lnTo>
                    <a:pt x="78" y="156"/>
                  </a:lnTo>
                  <a:lnTo>
                    <a:pt x="88" y="175"/>
                  </a:lnTo>
                  <a:lnTo>
                    <a:pt x="107" y="185"/>
                  </a:lnTo>
                  <a:lnTo>
                    <a:pt x="127" y="195"/>
                  </a:lnTo>
                  <a:lnTo>
                    <a:pt x="137" y="195"/>
                  </a:lnTo>
                  <a:lnTo>
                    <a:pt x="137" y="175"/>
                  </a:lnTo>
                  <a:lnTo>
                    <a:pt x="146" y="175"/>
                  </a:lnTo>
                  <a:lnTo>
                    <a:pt x="166" y="185"/>
                  </a:lnTo>
                  <a:lnTo>
                    <a:pt x="185" y="195"/>
                  </a:lnTo>
                  <a:lnTo>
                    <a:pt x="195" y="195"/>
                  </a:lnTo>
                  <a:lnTo>
                    <a:pt x="205" y="175"/>
                  </a:lnTo>
                  <a:lnTo>
                    <a:pt x="215" y="185"/>
                  </a:lnTo>
                  <a:lnTo>
                    <a:pt x="224" y="175"/>
                  </a:lnTo>
                  <a:lnTo>
                    <a:pt x="234" y="175"/>
                  </a:lnTo>
                  <a:lnTo>
                    <a:pt x="234" y="146"/>
                  </a:lnTo>
                  <a:lnTo>
                    <a:pt x="224" y="156"/>
                  </a:lnTo>
                  <a:lnTo>
                    <a:pt x="215" y="146"/>
                  </a:lnTo>
                  <a:lnTo>
                    <a:pt x="195" y="136"/>
                  </a:lnTo>
                  <a:lnTo>
                    <a:pt x="205" y="127"/>
                  </a:lnTo>
                  <a:lnTo>
                    <a:pt x="215" y="117"/>
                  </a:lnTo>
                  <a:lnTo>
                    <a:pt x="215" y="97"/>
                  </a:lnTo>
                  <a:lnTo>
                    <a:pt x="205" y="97"/>
                  </a:lnTo>
                  <a:lnTo>
                    <a:pt x="185" y="88"/>
                  </a:lnTo>
                  <a:lnTo>
                    <a:pt x="176" y="68"/>
                  </a:lnTo>
                  <a:lnTo>
                    <a:pt x="176" y="58"/>
                  </a:lnTo>
                  <a:lnTo>
                    <a:pt x="156" y="58"/>
                  </a:lnTo>
                  <a:lnTo>
                    <a:pt x="146" y="68"/>
                  </a:lnTo>
                  <a:lnTo>
                    <a:pt x="137" y="68"/>
                  </a:lnTo>
                  <a:lnTo>
                    <a:pt x="127" y="49"/>
                  </a:lnTo>
                  <a:lnTo>
                    <a:pt x="98" y="29"/>
                  </a:lnTo>
                  <a:lnTo>
                    <a:pt x="98" y="19"/>
                  </a:lnTo>
                  <a:lnTo>
                    <a:pt x="88" y="29"/>
                  </a:lnTo>
                  <a:lnTo>
                    <a:pt x="78" y="29"/>
                  </a:lnTo>
                  <a:lnTo>
                    <a:pt x="88" y="10"/>
                  </a:lnTo>
                  <a:lnTo>
                    <a:pt x="59" y="10"/>
                  </a:lnTo>
                  <a:lnTo>
                    <a:pt x="49" y="0"/>
                  </a:lnTo>
                  <a:lnTo>
                    <a:pt x="39" y="10"/>
                  </a:lnTo>
                  <a:lnTo>
                    <a:pt x="29" y="10"/>
                  </a:lnTo>
                  <a:lnTo>
                    <a:pt x="1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7" name="Freeform 184"/>
            <p:cNvSpPr>
              <a:spLocks/>
            </p:cNvSpPr>
            <p:nvPr/>
          </p:nvSpPr>
          <p:spPr bwMode="auto">
            <a:xfrm>
              <a:off x="1836" y="1815"/>
              <a:ext cx="220" cy="291"/>
            </a:xfrm>
            <a:custGeom>
              <a:avLst/>
              <a:gdLst/>
              <a:ahLst/>
              <a:cxnLst>
                <a:cxn ang="0">
                  <a:pos x="10" y="195"/>
                </a:cxn>
                <a:cxn ang="0">
                  <a:pos x="19" y="205"/>
                </a:cxn>
                <a:cxn ang="0">
                  <a:pos x="19" y="224"/>
                </a:cxn>
                <a:cxn ang="0">
                  <a:pos x="29" y="224"/>
                </a:cxn>
                <a:cxn ang="0">
                  <a:pos x="39" y="234"/>
                </a:cxn>
                <a:cxn ang="0">
                  <a:pos x="39" y="244"/>
                </a:cxn>
                <a:cxn ang="0">
                  <a:pos x="49" y="253"/>
                </a:cxn>
                <a:cxn ang="0">
                  <a:pos x="58" y="273"/>
                </a:cxn>
                <a:cxn ang="0">
                  <a:pos x="58" y="292"/>
                </a:cxn>
                <a:cxn ang="0">
                  <a:pos x="88" y="283"/>
                </a:cxn>
                <a:cxn ang="0">
                  <a:pos x="107" y="273"/>
                </a:cxn>
                <a:cxn ang="0">
                  <a:pos x="127" y="273"/>
                </a:cxn>
                <a:cxn ang="0">
                  <a:pos x="146" y="273"/>
                </a:cxn>
                <a:cxn ang="0">
                  <a:pos x="156" y="253"/>
                </a:cxn>
                <a:cxn ang="0">
                  <a:pos x="166" y="253"/>
                </a:cxn>
                <a:cxn ang="0">
                  <a:pos x="195" y="263"/>
                </a:cxn>
                <a:cxn ang="0">
                  <a:pos x="205" y="253"/>
                </a:cxn>
                <a:cxn ang="0">
                  <a:pos x="205" y="244"/>
                </a:cxn>
                <a:cxn ang="0">
                  <a:pos x="224" y="234"/>
                </a:cxn>
                <a:cxn ang="0">
                  <a:pos x="214" y="224"/>
                </a:cxn>
                <a:cxn ang="0">
                  <a:pos x="195" y="214"/>
                </a:cxn>
                <a:cxn ang="0">
                  <a:pos x="175" y="195"/>
                </a:cxn>
                <a:cxn ang="0">
                  <a:pos x="156" y="175"/>
                </a:cxn>
                <a:cxn ang="0">
                  <a:pos x="156" y="146"/>
                </a:cxn>
                <a:cxn ang="0">
                  <a:pos x="136" y="146"/>
                </a:cxn>
                <a:cxn ang="0">
                  <a:pos x="146" y="127"/>
                </a:cxn>
                <a:cxn ang="0">
                  <a:pos x="136" y="117"/>
                </a:cxn>
                <a:cxn ang="0">
                  <a:pos x="127" y="107"/>
                </a:cxn>
                <a:cxn ang="0">
                  <a:pos x="107" y="107"/>
                </a:cxn>
                <a:cxn ang="0">
                  <a:pos x="107" y="97"/>
                </a:cxn>
                <a:cxn ang="0">
                  <a:pos x="117" y="78"/>
                </a:cxn>
                <a:cxn ang="0">
                  <a:pos x="117" y="68"/>
                </a:cxn>
                <a:cxn ang="0">
                  <a:pos x="107" y="49"/>
                </a:cxn>
                <a:cxn ang="0">
                  <a:pos x="88" y="49"/>
                </a:cxn>
                <a:cxn ang="0">
                  <a:pos x="58" y="19"/>
                </a:cxn>
                <a:cxn ang="0">
                  <a:pos x="58" y="10"/>
                </a:cxn>
                <a:cxn ang="0">
                  <a:pos x="58" y="0"/>
                </a:cxn>
                <a:cxn ang="0">
                  <a:pos x="39" y="19"/>
                </a:cxn>
                <a:cxn ang="0">
                  <a:pos x="10" y="49"/>
                </a:cxn>
                <a:cxn ang="0">
                  <a:pos x="0" y="68"/>
                </a:cxn>
                <a:cxn ang="0">
                  <a:pos x="19" y="78"/>
                </a:cxn>
                <a:cxn ang="0">
                  <a:pos x="19" y="97"/>
                </a:cxn>
                <a:cxn ang="0">
                  <a:pos x="19" y="117"/>
                </a:cxn>
                <a:cxn ang="0">
                  <a:pos x="39" y="136"/>
                </a:cxn>
                <a:cxn ang="0">
                  <a:pos x="29" y="146"/>
                </a:cxn>
                <a:cxn ang="0">
                  <a:pos x="29" y="156"/>
                </a:cxn>
                <a:cxn ang="0">
                  <a:pos x="29" y="175"/>
                </a:cxn>
                <a:cxn ang="0">
                  <a:pos x="29" y="185"/>
                </a:cxn>
                <a:cxn ang="0">
                  <a:pos x="10" y="185"/>
                </a:cxn>
                <a:cxn ang="0">
                  <a:pos x="10" y="195"/>
                </a:cxn>
              </a:cxnLst>
              <a:rect l="0" t="0" r="r" b="b"/>
              <a:pathLst>
                <a:path w="224" h="292">
                  <a:moveTo>
                    <a:pt x="10" y="195"/>
                  </a:moveTo>
                  <a:lnTo>
                    <a:pt x="19" y="205"/>
                  </a:lnTo>
                  <a:lnTo>
                    <a:pt x="19" y="224"/>
                  </a:lnTo>
                  <a:lnTo>
                    <a:pt x="29" y="224"/>
                  </a:lnTo>
                  <a:lnTo>
                    <a:pt x="39" y="234"/>
                  </a:lnTo>
                  <a:lnTo>
                    <a:pt x="39" y="244"/>
                  </a:lnTo>
                  <a:lnTo>
                    <a:pt x="49" y="253"/>
                  </a:lnTo>
                  <a:lnTo>
                    <a:pt x="58" y="273"/>
                  </a:lnTo>
                  <a:lnTo>
                    <a:pt x="58" y="292"/>
                  </a:lnTo>
                  <a:lnTo>
                    <a:pt x="88" y="283"/>
                  </a:lnTo>
                  <a:lnTo>
                    <a:pt x="107" y="27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53"/>
                  </a:lnTo>
                  <a:lnTo>
                    <a:pt x="166" y="253"/>
                  </a:lnTo>
                  <a:lnTo>
                    <a:pt x="195" y="263"/>
                  </a:lnTo>
                  <a:lnTo>
                    <a:pt x="205" y="253"/>
                  </a:lnTo>
                  <a:lnTo>
                    <a:pt x="205" y="244"/>
                  </a:lnTo>
                  <a:lnTo>
                    <a:pt x="224" y="234"/>
                  </a:lnTo>
                  <a:lnTo>
                    <a:pt x="214" y="224"/>
                  </a:lnTo>
                  <a:lnTo>
                    <a:pt x="195" y="214"/>
                  </a:lnTo>
                  <a:lnTo>
                    <a:pt x="175" y="195"/>
                  </a:lnTo>
                  <a:lnTo>
                    <a:pt x="156" y="175"/>
                  </a:lnTo>
                  <a:lnTo>
                    <a:pt x="156" y="146"/>
                  </a:lnTo>
                  <a:lnTo>
                    <a:pt x="136" y="146"/>
                  </a:lnTo>
                  <a:lnTo>
                    <a:pt x="146" y="127"/>
                  </a:lnTo>
                  <a:lnTo>
                    <a:pt x="136" y="117"/>
                  </a:lnTo>
                  <a:lnTo>
                    <a:pt x="127" y="107"/>
                  </a:lnTo>
                  <a:lnTo>
                    <a:pt x="107" y="107"/>
                  </a:lnTo>
                  <a:lnTo>
                    <a:pt x="107" y="97"/>
                  </a:lnTo>
                  <a:lnTo>
                    <a:pt x="117" y="78"/>
                  </a:lnTo>
                  <a:lnTo>
                    <a:pt x="117" y="68"/>
                  </a:lnTo>
                  <a:lnTo>
                    <a:pt x="107" y="49"/>
                  </a:lnTo>
                  <a:lnTo>
                    <a:pt x="88" y="49"/>
                  </a:lnTo>
                  <a:lnTo>
                    <a:pt x="58" y="19"/>
                  </a:lnTo>
                  <a:lnTo>
                    <a:pt x="58" y="10"/>
                  </a:lnTo>
                  <a:lnTo>
                    <a:pt x="58" y="0"/>
                  </a:lnTo>
                  <a:lnTo>
                    <a:pt x="39" y="19"/>
                  </a:lnTo>
                  <a:lnTo>
                    <a:pt x="10" y="49"/>
                  </a:lnTo>
                  <a:lnTo>
                    <a:pt x="0" y="68"/>
                  </a:lnTo>
                  <a:lnTo>
                    <a:pt x="19" y="78"/>
                  </a:lnTo>
                  <a:lnTo>
                    <a:pt x="19" y="97"/>
                  </a:lnTo>
                  <a:lnTo>
                    <a:pt x="19" y="117"/>
                  </a:lnTo>
                  <a:lnTo>
                    <a:pt x="39" y="136"/>
                  </a:lnTo>
                  <a:lnTo>
                    <a:pt x="29" y="146"/>
                  </a:lnTo>
                  <a:lnTo>
                    <a:pt x="29" y="156"/>
                  </a:lnTo>
                  <a:lnTo>
                    <a:pt x="29" y="175"/>
                  </a:lnTo>
                  <a:lnTo>
                    <a:pt x="29" y="185"/>
                  </a:lnTo>
                  <a:lnTo>
                    <a:pt x="10" y="185"/>
                  </a:lnTo>
                  <a:lnTo>
                    <a:pt x="10" y="19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8" name="Freeform 183"/>
            <p:cNvSpPr>
              <a:spLocks/>
            </p:cNvSpPr>
            <p:nvPr/>
          </p:nvSpPr>
          <p:spPr bwMode="auto">
            <a:xfrm>
              <a:off x="1892" y="2031"/>
              <a:ext cx="498" cy="273"/>
            </a:xfrm>
            <a:custGeom>
              <a:avLst/>
              <a:gdLst/>
              <a:ahLst/>
              <a:cxnLst>
                <a:cxn ang="0">
                  <a:pos x="10" y="108"/>
                </a:cxn>
                <a:cxn ang="0">
                  <a:pos x="0" y="78"/>
                </a:cxn>
                <a:cxn ang="0">
                  <a:pos x="49" y="59"/>
                </a:cxn>
                <a:cxn ang="0">
                  <a:pos x="88" y="59"/>
                </a:cxn>
                <a:cxn ang="0">
                  <a:pos x="117" y="39"/>
                </a:cxn>
                <a:cxn ang="0">
                  <a:pos x="147" y="39"/>
                </a:cxn>
                <a:cxn ang="0">
                  <a:pos x="176" y="20"/>
                </a:cxn>
                <a:cxn ang="0">
                  <a:pos x="186" y="0"/>
                </a:cxn>
                <a:cxn ang="0">
                  <a:pos x="215" y="10"/>
                </a:cxn>
                <a:cxn ang="0">
                  <a:pos x="254" y="20"/>
                </a:cxn>
                <a:cxn ang="0">
                  <a:pos x="264" y="10"/>
                </a:cxn>
                <a:cxn ang="0">
                  <a:pos x="293" y="0"/>
                </a:cxn>
                <a:cxn ang="0">
                  <a:pos x="312" y="20"/>
                </a:cxn>
                <a:cxn ang="0">
                  <a:pos x="381" y="0"/>
                </a:cxn>
                <a:cxn ang="0">
                  <a:pos x="410" y="0"/>
                </a:cxn>
                <a:cxn ang="0">
                  <a:pos x="429" y="30"/>
                </a:cxn>
                <a:cxn ang="0">
                  <a:pos x="459" y="49"/>
                </a:cxn>
                <a:cxn ang="0">
                  <a:pos x="488" y="88"/>
                </a:cxn>
                <a:cxn ang="0">
                  <a:pos x="498" y="117"/>
                </a:cxn>
                <a:cxn ang="0">
                  <a:pos x="459" y="137"/>
                </a:cxn>
                <a:cxn ang="0">
                  <a:pos x="429" y="117"/>
                </a:cxn>
                <a:cxn ang="0">
                  <a:pos x="410" y="127"/>
                </a:cxn>
                <a:cxn ang="0">
                  <a:pos x="400" y="147"/>
                </a:cxn>
                <a:cxn ang="0">
                  <a:pos x="351" y="137"/>
                </a:cxn>
                <a:cxn ang="0">
                  <a:pos x="332" y="147"/>
                </a:cxn>
                <a:cxn ang="0">
                  <a:pos x="312" y="157"/>
                </a:cxn>
                <a:cxn ang="0">
                  <a:pos x="283" y="157"/>
                </a:cxn>
                <a:cxn ang="0">
                  <a:pos x="293" y="176"/>
                </a:cxn>
                <a:cxn ang="0">
                  <a:pos x="273" y="196"/>
                </a:cxn>
                <a:cxn ang="0">
                  <a:pos x="264" y="205"/>
                </a:cxn>
                <a:cxn ang="0">
                  <a:pos x="234" y="225"/>
                </a:cxn>
                <a:cxn ang="0">
                  <a:pos x="234" y="264"/>
                </a:cxn>
                <a:cxn ang="0">
                  <a:pos x="215" y="274"/>
                </a:cxn>
                <a:cxn ang="0">
                  <a:pos x="195" y="274"/>
                </a:cxn>
                <a:cxn ang="0">
                  <a:pos x="176" y="264"/>
                </a:cxn>
                <a:cxn ang="0">
                  <a:pos x="166" y="244"/>
                </a:cxn>
                <a:cxn ang="0">
                  <a:pos x="108" y="254"/>
                </a:cxn>
                <a:cxn ang="0">
                  <a:pos x="98" y="274"/>
                </a:cxn>
                <a:cxn ang="0">
                  <a:pos x="78" y="254"/>
                </a:cxn>
                <a:cxn ang="0">
                  <a:pos x="59" y="244"/>
                </a:cxn>
                <a:cxn ang="0">
                  <a:pos x="69" y="215"/>
                </a:cxn>
                <a:cxn ang="0">
                  <a:pos x="59" y="186"/>
                </a:cxn>
                <a:cxn ang="0">
                  <a:pos x="49" y="157"/>
                </a:cxn>
                <a:cxn ang="0">
                  <a:pos x="20" y="137"/>
                </a:cxn>
              </a:cxnLst>
              <a:rect l="0" t="0" r="r" b="b"/>
              <a:pathLst>
                <a:path w="498" h="274">
                  <a:moveTo>
                    <a:pt x="10" y="127"/>
                  </a:moveTo>
                  <a:lnTo>
                    <a:pt x="10" y="108"/>
                  </a:lnTo>
                  <a:lnTo>
                    <a:pt x="0" y="98"/>
                  </a:lnTo>
                  <a:lnTo>
                    <a:pt x="0" y="78"/>
                  </a:lnTo>
                  <a:lnTo>
                    <a:pt x="30" y="69"/>
                  </a:lnTo>
                  <a:lnTo>
                    <a:pt x="49" y="59"/>
                  </a:lnTo>
                  <a:lnTo>
                    <a:pt x="69" y="59"/>
                  </a:lnTo>
                  <a:lnTo>
                    <a:pt x="88" y="59"/>
                  </a:lnTo>
                  <a:lnTo>
                    <a:pt x="108" y="39"/>
                  </a:lnTo>
                  <a:lnTo>
                    <a:pt x="117" y="39"/>
                  </a:lnTo>
                  <a:lnTo>
                    <a:pt x="137" y="49"/>
                  </a:lnTo>
                  <a:lnTo>
                    <a:pt x="147" y="39"/>
                  </a:lnTo>
                  <a:lnTo>
                    <a:pt x="147" y="30"/>
                  </a:lnTo>
                  <a:lnTo>
                    <a:pt x="176" y="20"/>
                  </a:lnTo>
                  <a:lnTo>
                    <a:pt x="186" y="20"/>
                  </a:lnTo>
                  <a:lnTo>
                    <a:pt x="186" y="0"/>
                  </a:lnTo>
                  <a:lnTo>
                    <a:pt x="205" y="0"/>
                  </a:lnTo>
                  <a:lnTo>
                    <a:pt x="215" y="10"/>
                  </a:lnTo>
                  <a:lnTo>
                    <a:pt x="234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64" y="10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293" y="10"/>
                  </a:lnTo>
                  <a:lnTo>
                    <a:pt x="312" y="20"/>
                  </a:lnTo>
                  <a:lnTo>
                    <a:pt x="361" y="20"/>
                  </a:lnTo>
                  <a:lnTo>
                    <a:pt x="381" y="0"/>
                  </a:lnTo>
                  <a:lnTo>
                    <a:pt x="390" y="0"/>
                  </a:lnTo>
                  <a:lnTo>
                    <a:pt x="410" y="0"/>
                  </a:lnTo>
                  <a:lnTo>
                    <a:pt x="410" y="20"/>
                  </a:lnTo>
                  <a:lnTo>
                    <a:pt x="429" y="30"/>
                  </a:lnTo>
                  <a:lnTo>
                    <a:pt x="449" y="39"/>
                  </a:lnTo>
                  <a:lnTo>
                    <a:pt x="459" y="49"/>
                  </a:lnTo>
                  <a:lnTo>
                    <a:pt x="469" y="69"/>
                  </a:lnTo>
                  <a:lnTo>
                    <a:pt x="488" y="88"/>
                  </a:lnTo>
                  <a:lnTo>
                    <a:pt x="498" y="98"/>
                  </a:lnTo>
                  <a:lnTo>
                    <a:pt x="498" y="117"/>
                  </a:lnTo>
                  <a:lnTo>
                    <a:pt x="478" y="127"/>
                  </a:lnTo>
                  <a:lnTo>
                    <a:pt x="459" y="137"/>
                  </a:lnTo>
                  <a:lnTo>
                    <a:pt x="449" y="127"/>
                  </a:lnTo>
                  <a:lnTo>
                    <a:pt x="429" y="117"/>
                  </a:lnTo>
                  <a:lnTo>
                    <a:pt x="420" y="117"/>
                  </a:lnTo>
                  <a:lnTo>
                    <a:pt x="410" y="127"/>
                  </a:lnTo>
                  <a:lnTo>
                    <a:pt x="410" y="137"/>
                  </a:lnTo>
                  <a:lnTo>
                    <a:pt x="400" y="147"/>
                  </a:lnTo>
                  <a:lnTo>
                    <a:pt x="381" y="166"/>
                  </a:lnTo>
                  <a:lnTo>
                    <a:pt x="351" y="137"/>
                  </a:lnTo>
                  <a:lnTo>
                    <a:pt x="342" y="137"/>
                  </a:lnTo>
                  <a:lnTo>
                    <a:pt x="332" y="147"/>
                  </a:lnTo>
                  <a:lnTo>
                    <a:pt x="312" y="147"/>
                  </a:lnTo>
                  <a:lnTo>
                    <a:pt x="312" y="157"/>
                  </a:lnTo>
                  <a:lnTo>
                    <a:pt x="293" y="137"/>
                  </a:lnTo>
                  <a:lnTo>
                    <a:pt x="283" y="157"/>
                  </a:lnTo>
                  <a:lnTo>
                    <a:pt x="293" y="166"/>
                  </a:lnTo>
                  <a:lnTo>
                    <a:pt x="293" y="176"/>
                  </a:lnTo>
                  <a:lnTo>
                    <a:pt x="283" y="176"/>
                  </a:lnTo>
                  <a:lnTo>
                    <a:pt x="273" y="196"/>
                  </a:lnTo>
                  <a:lnTo>
                    <a:pt x="273" y="205"/>
                  </a:lnTo>
                  <a:lnTo>
                    <a:pt x="264" y="205"/>
                  </a:lnTo>
                  <a:lnTo>
                    <a:pt x="254" y="225"/>
                  </a:lnTo>
                  <a:lnTo>
                    <a:pt x="234" y="225"/>
                  </a:lnTo>
                  <a:lnTo>
                    <a:pt x="234" y="235"/>
                  </a:lnTo>
                  <a:lnTo>
                    <a:pt x="234" y="264"/>
                  </a:lnTo>
                  <a:lnTo>
                    <a:pt x="215" y="27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76" y="274"/>
                  </a:lnTo>
                  <a:lnTo>
                    <a:pt x="176" y="264"/>
                  </a:lnTo>
                  <a:lnTo>
                    <a:pt x="176" y="254"/>
                  </a:lnTo>
                  <a:lnTo>
                    <a:pt x="166" y="244"/>
                  </a:lnTo>
                  <a:lnTo>
                    <a:pt x="137" y="264"/>
                  </a:lnTo>
                  <a:lnTo>
                    <a:pt x="108" y="254"/>
                  </a:lnTo>
                  <a:lnTo>
                    <a:pt x="108" y="264"/>
                  </a:lnTo>
                  <a:lnTo>
                    <a:pt x="98" y="274"/>
                  </a:lnTo>
                  <a:lnTo>
                    <a:pt x="88" y="274"/>
                  </a:lnTo>
                  <a:lnTo>
                    <a:pt x="78" y="254"/>
                  </a:lnTo>
                  <a:lnTo>
                    <a:pt x="78" y="244"/>
                  </a:lnTo>
                  <a:lnTo>
                    <a:pt x="59" y="244"/>
                  </a:lnTo>
                  <a:lnTo>
                    <a:pt x="59" y="225"/>
                  </a:lnTo>
                  <a:lnTo>
                    <a:pt x="69" y="215"/>
                  </a:lnTo>
                  <a:lnTo>
                    <a:pt x="69" y="196"/>
                  </a:lnTo>
                  <a:lnTo>
                    <a:pt x="59" y="186"/>
                  </a:lnTo>
                  <a:lnTo>
                    <a:pt x="59" y="166"/>
                  </a:lnTo>
                  <a:lnTo>
                    <a:pt x="49" y="157"/>
                  </a:lnTo>
                  <a:lnTo>
                    <a:pt x="39" y="147"/>
                  </a:lnTo>
                  <a:lnTo>
                    <a:pt x="20" y="137"/>
                  </a:lnTo>
                  <a:lnTo>
                    <a:pt x="10" y="12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9" name="Freeform 182"/>
            <p:cNvSpPr>
              <a:spLocks/>
            </p:cNvSpPr>
            <p:nvPr/>
          </p:nvSpPr>
          <p:spPr bwMode="auto">
            <a:xfrm>
              <a:off x="2168" y="2167"/>
              <a:ext cx="254" cy="207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0" y="59"/>
                </a:cxn>
                <a:cxn ang="0">
                  <a:pos x="0" y="39"/>
                </a:cxn>
                <a:cxn ang="0">
                  <a:pos x="10" y="39"/>
                </a:cxn>
                <a:cxn ang="0">
                  <a:pos x="20" y="29"/>
                </a:cxn>
                <a:cxn ang="0">
                  <a:pos x="10" y="20"/>
                </a:cxn>
                <a:cxn ang="0">
                  <a:pos x="20" y="10"/>
                </a:cxn>
                <a:cxn ang="0">
                  <a:pos x="39" y="20"/>
                </a:cxn>
                <a:cxn ang="0">
                  <a:pos x="39" y="10"/>
                </a:cxn>
                <a:cxn ang="0">
                  <a:pos x="49" y="10"/>
                </a:cxn>
                <a:cxn ang="0">
                  <a:pos x="69" y="0"/>
                </a:cxn>
                <a:cxn ang="0">
                  <a:pos x="78" y="10"/>
                </a:cxn>
                <a:cxn ang="0">
                  <a:pos x="108" y="29"/>
                </a:cxn>
                <a:cxn ang="0">
                  <a:pos x="117" y="29"/>
                </a:cxn>
                <a:cxn ang="0">
                  <a:pos x="117" y="39"/>
                </a:cxn>
                <a:cxn ang="0">
                  <a:pos x="117" y="49"/>
                </a:cxn>
                <a:cxn ang="0">
                  <a:pos x="117" y="59"/>
                </a:cxn>
                <a:cxn ang="0">
                  <a:pos x="137" y="59"/>
                </a:cxn>
                <a:cxn ang="0">
                  <a:pos x="156" y="59"/>
                </a:cxn>
                <a:cxn ang="0">
                  <a:pos x="166" y="68"/>
                </a:cxn>
                <a:cxn ang="0">
                  <a:pos x="196" y="78"/>
                </a:cxn>
                <a:cxn ang="0">
                  <a:pos x="215" y="78"/>
                </a:cxn>
                <a:cxn ang="0">
                  <a:pos x="225" y="98"/>
                </a:cxn>
                <a:cxn ang="0">
                  <a:pos x="235" y="88"/>
                </a:cxn>
                <a:cxn ang="0">
                  <a:pos x="244" y="98"/>
                </a:cxn>
                <a:cxn ang="0">
                  <a:pos x="235" y="117"/>
                </a:cxn>
                <a:cxn ang="0">
                  <a:pos x="254" y="127"/>
                </a:cxn>
                <a:cxn ang="0">
                  <a:pos x="244" y="137"/>
                </a:cxn>
                <a:cxn ang="0">
                  <a:pos x="244" y="156"/>
                </a:cxn>
                <a:cxn ang="0">
                  <a:pos x="244" y="166"/>
                </a:cxn>
                <a:cxn ang="0">
                  <a:pos x="235" y="185"/>
                </a:cxn>
                <a:cxn ang="0">
                  <a:pos x="244" y="195"/>
                </a:cxn>
                <a:cxn ang="0">
                  <a:pos x="225" y="205"/>
                </a:cxn>
                <a:cxn ang="0">
                  <a:pos x="215" y="185"/>
                </a:cxn>
                <a:cxn ang="0">
                  <a:pos x="205" y="176"/>
                </a:cxn>
                <a:cxn ang="0">
                  <a:pos x="186" y="176"/>
                </a:cxn>
                <a:cxn ang="0">
                  <a:pos x="176" y="176"/>
                </a:cxn>
                <a:cxn ang="0">
                  <a:pos x="147" y="176"/>
                </a:cxn>
                <a:cxn ang="0">
                  <a:pos x="117" y="176"/>
                </a:cxn>
                <a:cxn ang="0">
                  <a:pos x="108" y="176"/>
                </a:cxn>
                <a:cxn ang="0">
                  <a:pos x="88" y="176"/>
                </a:cxn>
                <a:cxn ang="0">
                  <a:pos x="78" y="156"/>
                </a:cxn>
                <a:cxn ang="0">
                  <a:pos x="88" y="137"/>
                </a:cxn>
                <a:cxn ang="0">
                  <a:pos x="69" y="127"/>
                </a:cxn>
                <a:cxn ang="0">
                  <a:pos x="59" y="117"/>
                </a:cxn>
                <a:cxn ang="0">
                  <a:pos x="69" y="107"/>
                </a:cxn>
                <a:cxn ang="0">
                  <a:pos x="69" y="88"/>
                </a:cxn>
                <a:cxn ang="0">
                  <a:pos x="59" y="88"/>
                </a:cxn>
                <a:cxn ang="0">
                  <a:pos x="49" y="88"/>
                </a:cxn>
                <a:cxn ang="0">
                  <a:pos x="20" y="78"/>
                </a:cxn>
                <a:cxn ang="0">
                  <a:pos x="0" y="68"/>
                </a:cxn>
              </a:cxnLst>
              <a:rect l="0" t="0" r="r" b="b"/>
              <a:pathLst>
                <a:path w="254" h="205">
                  <a:moveTo>
                    <a:pt x="0" y="68"/>
                  </a:moveTo>
                  <a:lnTo>
                    <a:pt x="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29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39" y="2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117" y="59"/>
                  </a:lnTo>
                  <a:lnTo>
                    <a:pt x="137" y="59"/>
                  </a:lnTo>
                  <a:lnTo>
                    <a:pt x="156" y="59"/>
                  </a:lnTo>
                  <a:lnTo>
                    <a:pt x="166" y="68"/>
                  </a:lnTo>
                  <a:lnTo>
                    <a:pt x="196" y="78"/>
                  </a:lnTo>
                  <a:lnTo>
                    <a:pt x="215" y="78"/>
                  </a:lnTo>
                  <a:lnTo>
                    <a:pt x="225" y="98"/>
                  </a:lnTo>
                  <a:lnTo>
                    <a:pt x="235" y="88"/>
                  </a:lnTo>
                  <a:lnTo>
                    <a:pt x="244" y="98"/>
                  </a:lnTo>
                  <a:lnTo>
                    <a:pt x="235" y="117"/>
                  </a:lnTo>
                  <a:lnTo>
                    <a:pt x="254" y="127"/>
                  </a:lnTo>
                  <a:lnTo>
                    <a:pt x="244" y="137"/>
                  </a:lnTo>
                  <a:lnTo>
                    <a:pt x="244" y="156"/>
                  </a:lnTo>
                  <a:lnTo>
                    <a:pt x="244" y="166"/>
                  </a:lnTo>
                  <a:lnTo>
                    <a:pt x="235" y="185"/>
                  </a:lnTo>
                  <a:lnTo>
                    <a:pt x="244" y="195"/>
                  </a:lnTo>
                  <a:lnTo>
                    <a:pt x="225" y="205"/>
                  </a:lnTo>
                  <a:lnTo>
                    <a:pt x="215" y="185"/>
                  </a:lnTo>
                  <a:lnTo>
                    <a:pt x="205" y="176"/>
                  </a:lnTo>
                  <a:lnTo>
                    <a:pt x="186" y="176"/>
                  </a:lnTo>
                  <a:lnTo>
                    <a:pt x="176" y="176"/>
                  </a:lnTo>
                  <a:lnTo>
                    <a:pt x="147" y="176"/>
                  </a:lnTo>
                  <a:lnTo>
                    <a:pt x="117" y="176"/>
                  </a:lnTo>
                  <a:lnTo>
                    <a:pt x="108" y="176"/>
                  </a:lnTo>
                  <a:lnTo>
                    <a:pt x="88" y="176"/>
                  </a:lnTo>
                  <a:lnTo>
                    <a:pt x="78" y="156"/>
                  </a:lnTo>
                  <a:lnTo>
                    <a:pt x="88" y="137"/>
                  </a:lnTo>
                  <a:lnTo>
                    <a:pt x="69" y="127"/>
                  </a:lnTo>
                  <a:lnTo>
                    <a:pt x="59" y="117"/>
                  </a:lnTo>
                  <a:lnTo>
                    <a:pt x="69" y="107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49" y="88"/>
                  </a:lnTo>
                  <a:lnTo>
                    <a:pt x="20" y="7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0" name="Freeform 181"/>
            <p:cNvSpPr>
              <a:spLocks/>
            </p:cNvSpPr>
            <p:nvPr/>
          </p:nvSpPr>
          <p:spPr bwMode="auto">
            <a:xfrm>
              <a:off x="2606" y="633"/>
              <a:ext cx="421" cy="595"/>
            </a:xfrm>
            <a:custGeom>
              <a:avLst/>
              <a:gdLst/>
              <a:ahLst/>
              <a:cxnLst>
                <a:cxn ang="0">
                  <a:pos x="30" y="137"/>
                </a:cxn>
                <a:cxn ang="0">
                  <a:pos x="117" y="137"/>
                </a:cxn>
                <a:cxn ang="0">
                  <a:pos x="147" y="98"/>
                </a:cxn>
                <a:cxn ang="0">
                  <a:pos x="147" y="49"/>
                </a:cxn>
                <a:cxn ang="0">
                  <a:pos x="215" y="20"/>
                </a:cxn>
                <a:cxn ang="0">
                  <a:pos x="254" y="10"/>
                </a:cxn>
                <a:cxn ang="0">
                  <a:pos x="313" y="29"/>
                </a:cxn>
                <a:cxn ang="0">
                  <a:pos x="322" y="49"/>
                </a:cxn>
                <a:cxn ang="0">
                  <a:pos x="361" y="49"/>
                </a:cxn>
                <a:cxn ang="0">
                  <a:pos x="381" y="68"/>
                </a:cxn>
                <a:cxn ang="0">
                  <a:pos x="400" y="78"/>
                </a:cxn>
                <a:cxn ang="0">
                  <a:pos x="391" y="127"/>
                </a:cxn>
                <a:cxn ang="0">
                  <a:pos x="381" y="98"/>
                </a:cxn>
                <a:cxn ang="0">
                  <a:pos x="371" y="108"/>
                </a:cxn>
                <a:cxn ang="0">
                  <a:pos x="371" y="137"/>
                </a:cxn>
                <a:cxn ang="0">
                  <a:pos x="381" y="147"/>
                </a:cxn>
                <a:cxn ang="0">
                  <a:pos x="361" y="156"/>
                </a:cxn>
                <a:cxn ang="0">
                  <a:pos x="332" y="156"/>
                </a:cxn>
                <a:cxn ang="0">
                  <a:pos x="371" y="166"/>
                </a:cxn>
                <a:cxn ang="0">
                  <a:pos x="391" y="215"/>
                </a:cxn>
                <a:cxn ang="0">
                  <a:pos x="420" y="234"/>
                </a:cxn>
                <a:cxn ang="0">
                  <a:pos x="420" y="312"/>
                </a:cxn>
                <a:cxn ang="0">
                  <a:pos x="400" y="381"/>
                </a:cxn>
                <a:cxn ang="0">
                  <a:pos x="410" y="459"/>
                </a:cxn>
                <a:cxn ang="0">
                  <a:pos x="410" y="478"/>
                </a:cxn>
                <a:cxn ang="0">
                  <a:pos x="400" y="498"/>
                </a:cxn>
                <a:cxn ang="0">
                  <a:pos x="391" y="537"/>
                </a:cxn>
                <a:cxn ang="0">
                  <a:pos x="371" y="566"/>
                </a:cxn>
                <a:cxn ang="0">
                  <a:pos x="352" y="576"/>
                </a:cxn>
                <a:cxn ang="0">
                  <a:pos x="293" y="586"/>
                </a:cxn>
                <a:cxn ang="0">
                  <a:pos x="244" y="586"/>
                </a:cxn>
                <a:cxn ang="0">
                  <a:pos x="176" y="537"/>
                </a:cxn>
                <a:cxn ang="0">
                  <a:pos x="147" y="439"/>
                </a:cxn>
                <a:cxn ang="0">
                  <a:pos x="137" y="381"/>
                </a:cxn>
                <a:cxn ang="0">
                  <a:pos x="127" y="351"/>
                </a:cxn>
                <a:cxn ang="0">
                  <a:pos x="127" y="322"/>
                </a:cxn>
                <a:cxn ang="0">
                  <a:pos x="117" y="293"/>
                </a:cxn>
                <a:cxn ang="0">
                  <a:pos x="127" y="264"/>
                </a:cxn>
                <a:cxn ang="0">
                  <a:pos x="117" y="244"/>
                </a:cxn>
                <a:cxn ang="0">
                  <a:pos x="98" y="293"/>
                </a:cxn>
                <a:cxn ang="0">
                  <a:pos x="78" y="293"/>
                </a:cxn>
                <a:cxn ang="0">
                  <a:pos x="30" y="273"/>
                </a:cxn>
                <a:cxn ang="0">
                  <a:pos x="0" y="156"/>
                </a:cxn>
              </a:cxnLst>
              <a:rect l="0" t="0" r="r" b="b"/>
              <a:pathLst>
                <a:path w="420" h="595">
                  <a:moveTo>
                    <a:pt x="0" y="156"/>
                  </a:moveTo>
                  <a:lnTo>
                    <a:pt x="10" y="147"/>
                  </a:lnTo>
                  <a:lnTo>
                    <a:pt x="30" y="137"/>
                  </a:lnTo>
                  <a:lnTo>
                    <a:pt x="39" y="137"/>
                  </a:lnTo>
                  <a:lnTo>
                    <a:pt x="88" y="137"/>
                  </a:lnTo>
                  <a:lnTo>
                    <a:pt x="117" y="137"/>
                  </a:lnTo>
                  <a:lnTo>
                    <a:pt x="117" y="127"/>
                  </a:lnTo>
                  <a:lnTo>
                    <a:pt x="127" y="117"/>
                  </a:lnTo>
                  <a:lnTo>
                    <a:pt x="147" y="98"/>
                  </a:lnTo>
                  <a:lnTo>
                    <a:pt x="147" y="88"/>
                  </a:lnTo>
                  <a:lnTo>
                    <a:pt x="147" y="59"/>
                  </a:lnTo>
                  <a:lnTo>
                    <a:pt x="147" y="49"/>
                  </a:lnTo>
                  <a:lnTo>
                    <a:pt x="176" y="29"/>
                  </a:lnTo>
                  <a:lnTo>
                    <a:pt x="186" y="20"/>
                  </a:lnTo>
                  <a:lnTo>
                    <a:pt x="215" y="20"/>
                  </a:lnTo>
                  <a:lnTo>
                    <a:pt x="215" y="10"/>
                  </a:lnTo>
                  <a:lnTo>
                    <a:pt x="225" y="0"/>
                  </a:lnTo>
                  <a:lnTo>
                    <a:pt x="254" y="10"/>
                  </a:lnTo>
                  <a:lnTo>
                    <a:pt x="264" y="20"/>
                  </a:lnTo>
                  <a:lnTo>
                    <a:pt x="273" y="20"/>
                  </a:lnTo>
                  <a:lnTo>
                    <a:pt x="313" y="29"/>
                  </a:lnTo>
                  <a:lnTo>
                    <a:pt x="322" y="29"/>
                  </a:lnTo>
                  <a:lnTo>
                    <a:pt x="332" y="39"/>
                  </a:lnTo>
                  <a:lnTo>
                    <a:pt x="322" y="49"/>
                  </a:lnTo>
                  <a:lnTo>
                    <a:pt x="332" y="59"/>
                  </a:lnTo>
                  <a:lnTo>
                    <a:pt x="342" y="49"/>
                  </a:lnTo>
                  <a:lnTo>
                    <a:pt x="361" y="49"/>
                  </a:lnTo>
                  <a:lnTo>
                    <a:pt x="361" y="68"/>
                  </a:lnTo>
                  <a:lnTo>
                    <a:pt x="371" y="78"/>
                  </a:lnTo>
                  <a:lnTo>
                    <a:pt x="381" y="68"/>
                  </a:lnTo>
                  <a:lnTo>
                    <a:pt x="391" y="78"/>
                  </a:lnTo>
                  <a:lnTo>
                    <a:pt x="400" y="68"/>
                  </a:lnTo>
                  <a:lnTo>
                    <a:pt x="400" y="78"/>
                  </a:lnTo>
                  <a:lnTo>
                    <a:pt x="400" y="98"/>
                  </a:lnTo>
                  <a:lnTo>
                    <a:pt x="400" y="108"/>
                  </a:lnTo>
                  <a:lnTo>
                    <a:pt x="391" y="127"/>
                  </a:lnTo>
                  <a:lnTo>
                    <a:pt x="391" y="117"/>
                  </a:lnTo>
                  <a:lnTo>
                    <a:pt x="381" y="108"/>
                  </a:lnTo>
                  <a:lnTo>
                    <a:pt x="381" y="98"/>
                  </a:lnTo>
                  <a:lnTo>
                    <a:pt x="381" y="88"/>
                  </a:lnTo>
                  <a:lnTo>
                    <a:pt x="371" y="88"/>
                  </a:lnTo>
                  <a:lnTo>
                    <a:pt x="371" y="108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1" y="137"/>
                  </a:lnTo>
                  <a:lnTo>
                    <a:pt x="361" y="137"/>
                  </a:lnTo>
                  <a:lnTo>
                    <a:pt x="371" y="147"/>
                  </a:lnTo>
                  <a:lnTo>
                    <a:pt x="381" y="147"/>
                  </a:lnTo>
                  <a:lnTo>
                    <a:pt x="381" y="156"/>
                  </a:lnTo>
                  <a:lnTo>
                    <a:pt x="371" y="156"/>
                  </a:lnTo>
                  <a:lnTo>
                    <a:pt x="361" y="156"/>
                  </a:lnTo>
                  <a:lnTo>
                    <a:pt x="342" y="156"/>
                  </a:lnTo>
                  <a:lnTo>
                    <a:pt x="332" y="156"/>
                  </a:lnTo>
                  <a:lnTo>
                    <a:pt x="342" y="166"/>
                  </a:lnTo>
                  <a:lnTo>
                    <a:pt x="361" y="176"/>
                  </a:lnTo>
                  <a:lnTo>
                    <a:pt x="371" y="166"/>
                  </a:lnTo>
                  <a:lnTo>
                    <a:pt x="381" y="176"/>
                  </a:lnTo>
                  <a:lnTo>
                    <a:pt x="391" y="195"/>
                  </a:lnTo>
                  <a:lnTo>
                    <a:pt x="391" y="215"/>
                  </a:lnTo>
                  <a:lnTo>
                    <a:pt x="400" y="225"/>
                  </a:lnTo>
                  <a:lnTo>
                    <a:pt x="410" y="225"/>
                  </a:lnTo>
                  <a:lnTo>
                    <a:pt x="420" y="234"/>
                  </a:lnTo>
                  <a:lnTo>
                    <a:pt x="420" y="254"/>
                  </a:lnTo>
                  <a:lnTo>
                    <a:pt x="420" y="283"/>
                  </a:lnTo>
                  <a:lnTo>
                    <a:pt x="420" y="312"/>
                  </a:lnTo>
                  <a:lnTo>
                    <a:pt x="420" y="342"/>
                  </a:lnTo>
                  <a:lnTo>
                    <a:pt x="410" y="361"/>
                  </a:lnTo>
                  <a:lnTo>
                    <a:pt x="400" y="381"/>
                  </a:lnTo>
                  <a:lnTo>
                    <a:pt x="410" y="400"/>
                  </a:lnTo>
                  <a:lnTo>
                    <a:pt x="410" y="429"/>
                  </a:lnTo>
                  <a:lnTo>
                    <a:pt x="410" y="459"/>
                  </a:lnTo>
                  <a:lnTo>
                    <a:pt x="420" y="459"/>
                  </a:lnTo>
                  <a:lnTo>
                    <a:pt x="420" y="469"/>
                  </a:lnTo>
                  <a:lnTo>
                    <a:pt x="410" y="478"/>
                  </a:lnTo>
                  <a:lnTo>
                    <a:pt x="410" y="488"/>
                  </a:lnTo>
                  <a:lnTo>
                    <a:pt x="400" y="498"/>
                  </a:lnTo>
                  <a:lnTo>
                    <a:pt x="410" y="508"/>
                  </a:lnTo>
                  <a:lnTo>
                    <a:pt x="410" y="527"/>
                  </a:lnTo>
                  <a:lnTo>
                    <a:pt x="391" y="537"/>
                  </a:lnTo>
                  <a:lnTo>
                    <a:pt x="391" y="547"/>
                  </a:lnTo>
                  <a:lnTo>
                    <a:pt x="391" y="556"/>
                  </a:lnTo>
                  <a:lnTo>
                    <a:pt x="371" y="566"/>
                  </a:lnTo>
                  <a:lnTo>
                    <a:pt x="371" y="576"/>
                  </a:lnTo>
                  <a:lnTo>
                    <a:pt x="361" y="576"/>
                  </a:lnTo>
                  <a:lnTo>
                    <a:pt x="352" y="576"/>
                  </a:lnTo>
                  <a:lnTo>
                    <a:pt x="332" y="586"/>
                  </a:lnTo>
                  <a:lnTo>
                    <a:pt x="313" y="586"/>
                  </a:lnTo>
                  <a:lnTo>
                    <a:pt x="293" y="586"/>
                  </a:lnTo>
                  <a:lnTo>
                    <a:pt x="273" y="595"/>
                  </a:lnTo>
                  <a:lnTo>
                    <a:pt x="254" y="586"/>
                  </a:lnTo>
                  <a:lnTo>
                    <a:pt x="244" y="586"/>
                  </a:lnTo>
                  <a:lnTo>
                    <a:pt x="225" y="576"/>
                  </a:lnTo>
                  <a:lnTo>
                    <a:pt x="205" y="576"/>
                  </a:lnTo>
                  <a:lnTo>
                    <a:pt x="176" y="537"/>
                  </a:lnTo>
                  <a:lnTo>
                    <a:pt x="176" y="517"/>
                  </a:lnTo>
                  <a:lnTo>
                    <a:pt x="156" y="469"/>
                  </a:lnTo>
                  <a:lnTo>
                    <a:pt x="147" y="439"/>
                  </a:lnTo>
                  <a:lnTo>
                    <a:pt x="137" y="410"/>
                  </a:lnTo>
                  <a:lnTo>
                    <a:pt x="137" y="390"/>
                  </a:lnTo>
                  <a:lnTo>
                    <a:pt x="137" y="381"/>
                  </a:lnTo>
                  <a:lnTo>
                    <a:pt x="117" y="371"/>
                  </a:lnTo>
                  <a:lnTo>
                    <a:pt x="127" y="361"/>
                  </a:lnTo>
                  <a:lnTo>
                    <a:pt x="127" y="351"/>
                  </a:lnTo>
                  <a:lnTo>
                    <a:pt x="127" y="342"/>
                  </a:lnTo>
                  <a:lnTo>
                    <a:pt x="117" y="332"/>
                  </a:lnTo>
                  <a:lnTo>
                    <a:pt x="127" y="322"/>
                  </a:lnTo>
                  <a:lnTo>
                    <a:pt x="108" y="322"/>
                  </a:lnTo>
                  <a:lnTo>
                    <a:pt x="108" y="303"/>
                  </a:lnTo>
                  <a:lnTo>
                    <a:pt x="117" y="293"/>
                  </a:lnTo>
                  <a:lnTo>
                    <a:pt x="117" y="283"/>
                  </a:lnTo>
                  <a:lnTo>
                    <a:pt x="127" y="273"/>
                  </a:lnTo>
                  <a:lnTo>
                    <a:pt x="127" y="264"/>
                  </a:lnTo>
                  <a:lnTo>
                    <a:pt x="127" y="254"/>
                  </a:lnTo>
                  <a:lnTo>
                    <a:pt x="117" y="244"/>
                  </a:lnTo>
                  <a:lnTo>
                    <a:pt x="117" y="264"/>
                  </a:lnTo>
                  <a:lnTo>
                    <a:pt x="108" y="273"/>
                  </a:lnTo>
                  <a:lnTo>
                    <a:pt x="98" y="293"/>
                  </a:lnTo>
                  <a:lnTo>
                    <a:pt x="88" y="293"/>
                  </a:lnTo>
                  <a:lnTo>
                    <a:pt x="88" y="312"/>
                  </a:lnTo>
                  <a:lnTo>
                    <a:pt x="78" y="293"/>
                  </a:lnTo>
                  <a:lnTo>
                    <a:pt x="59" y="293"/>
                  </a:lnTo>
                  <a:lnTo>
                    <a:pt x="39" y="293"/>
                  </a:lnTo>
                  <a:lnTo>
                    <a:pt x="30" y="273"/>
                  </a:lnTo>
                  <a:lnTo>
                    <a:pt x="39" y="254"/>
                  </a:lnTo>
                  <a:lnTo>
                    <a:pt x="49" y="244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1" name="Freeform 180"/>
            <p:cNvSpPr>
              <a:spLocks/>
            </p:cNvSpPr>
            <p:nvPr/>
          </p:nvSpPr>
          <p:spPr bwMode="auto">
            <a:xfrm>
              <a:off x="2069" y="2235"/>
              <a:ext cx="184" cy="174"/>
            </a:xfrm>
            <a:custGeom>
              <a:avLst/>
              <a:gdLst/>
              <a:ahLst/>
              <a:cxnLst>
                <a:cxn ang="0">
                  <a:pos x="0" y="117"/>
                </a:cxn>
                <a:cxn ang="0">
                  <a:pos x="0" y="98"/>
                </a:cxn>
                <a:cxn ang="0">
                  <a:pos x="10" y="88"/>
                </a:cxn>
                <a:cxn ang="0">
                  <a:pos x="10" y="69"/>
                </a:cxn>
                <a:cxn ang="0">
                  <a:pos x="29" y="59"/>
                </a:cxn>
                <a:cxn ang="0">
                  <a:pos x="39" y="69"/>
                </a:cxn>
                <a:cxn ang="0">
                  <a:pos x="58" y="59"/>
                </a:cxn>
                <a:cxn ang="0">
                  <a:pos x="58" y="59"/>
                </a:cxn>
                <a:cxn ang="0">
                  <a:pos x="58" y="30"/>
                </a:cxn>
                <a:cxn ang="0">
                  <a:pos x="58" y="20"/>
                </a:cxn>
                <a:cxn ang="0">
                  <a:pos x="78" y="10"/>
                </a:cxn>
                <a:cxn ang="0">
                  <a:pos x="88" y="0"/>
                </a:cxn>
                <a:cxn ang="0">
                  <a:pos x="97" y="0"/>
                </a:cxn>
                <a:cxn ang="0">
                  <a:pos x="117" y="10"/>
                </a:cxn>
                <a:cxn ang="0">
                  <a:pos x="146" y="20"/>
                </a:cxn>
                <a:cxn ang="0">
                  <a:pos x="166" y="20"/>
                </a:cxn>
                <a:cxn ang="0">
                  <a:pos x="175" y="20"/>
                </a:cxn>
                <a:cxn ang="0">
                  <a:pos x="175" y="39"/>
                </a:cxn>
                <a:cxn ang="0">
                  <a:pos x="166" y="49"/>
                </a:cxn>
                <a:cxn ang="0">
                  <a:pos x="175" y="59"/>
                </a:cxn>
                <a:cxn ang="0">
                  <a:pos x="185" y="69"/>
                </a:cxn>
                <a:cxn ang="0">
                  <a:pos x="175" y="88"/>
                </a:cxn>
                <a:cxn ang="0">
                  <a:pos x="185" y="108"/>
                </a:cxn>
                <a:cxn ang="0">
                  <a:pos x="156" y="117"/>
                </a:cxn>
                <a:cxn ang="0">
                  <a:pos x="127" y="117"/>
                </a:cxn>
                <a:cxn ang="0">
                  <a:pos x="117" y="108"/>
                </a:cxn>
                <a:cxn ang="0">
                  <a:pos x="107" y="127"/>
                </a:cxn>
                <a:cxn ang="0">
                  <a:pos x="117" y="127"/>
                </a:cxn>
                <a:cxn ang="0">
                  <a:pos x="117" y="137"/>
                </a:cxn>
                <a:cxn ang="0">
                  <a:pos x="107" y="147"/>
                </a:cxn>
                <a:cxn ang="0">
                  <a:pos x="107" y="147"/>
                </a:cxn>
                <a:cxn ang="0">
                  <a:pos x="97" y="156"/>
                </a:cxn>
                <a:cxn ang="0">
                  <a:pos x="78" y="176"/>
                </a:cxn>
                <a:cxn ang="0">
                  <a:pos x="58" y="176"/>
                </a:cxn>
                <a:cxn ang="0">
                  <a:pos x="58" y="166"/>
                </a:cxn>
                <a:cxn ang="0">
                  <a:pos x="49" y="156"/>
                </a:cxn>
                <a:cxn ang="0">
                  <a:pos x="29" y="156"/>
                </a:cxn>
                <a:cxn ang="0">
                  <a:pos x="29" y="147"/>
                </a:cxn>
                <a:cxn ang="0">
                  <a:pos x="19" y="137"/>
                </a:cxn>
                <a:cxn ang="0">
                  <a:pos x="10" y="127"/>
                </a:cxn>
                <a:cxn ang="0">
                  <a:pos x="0" y="117"/>
                </a:cxn>
              </a:cxnLst>
              <a:rect l="0" t="0" r="r" b="b"/>
              <a:pathLst>
                <a:path w="185" h="176">
                  <a:moveTo>
                    <a:pt x="0" y="117"/>
                  </a:moveTo>
                  <a:lnTo>
                    <a:pt x="0" y="98"/>
                  </a:lnTo>
                  <a:lnTo>
                    <a:pt x="10" y="88"/>
                  </a:lnTo>
                  <a:lnTo>
                    <a:pt x="10" y="69"/>
                  </a:lnTo>
                  <a:lnTo>
                    <a:pt x="29" y="59"/>
                  </a:lnTo>
                  <a:lnTo>
                    <a:pt x="39" y="69"/>
                  </a:lnTo>
                  <a:lnTo>
                    <a:pt x="58" y="59"/>
                  </a:lnTo>
                  <a:lnTo>
                    <a:pt x="58" y="30"/>
                  </a:lnTo>
                  <a:lnTo>
                    <a:pt x="58" y="20"/>
                  </a:lnTo>
                  <a:lnTo>
                    <a:pt x="78" y="10"/>
                  </a:lnTo>
                  <a:lnTo>
                    <a:pt x="88" y="0"/>
                  </a:lnTo>
                  <a:lnTo>
                    <a:pt x="97" y="0"/>
                  </a:lnTo>
                  <a:lnTo>
                    <a:pt x="117" y="10"/>
                  </a:lnTo>
                  <a:lnTo>
                    <a:pt x="146" y="20"/>
                  </a:lnTo>
                  <a:lnTo>
                    <a:pt x="166" y="20"/>
                  </a:lnTo>
                  <a:lnTo>
                    <a:pt x="175" y="2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75" y="59"/>
                  </a:lnTo>
                  <a:lnTo>
                    <a:pt x="185" y="69"/>
                  </a:lnTo>
                  <a:lnTo>
                    <a:pt x="175" y="88"/>
                  </a:lnTo>
                  <a:lnTo>
                    <a:pt x="185" y="108"/>
                  </a:lnTo>
                  <a:lnTo>
                    <a:pt x="156" y="117"/>
                  </a:lnTo>
                  <a:lnTo>
                    <a:pt x="127" y="117"/>
                  </a:lnTo>
                  <a:lnTo>
                    <a:pt x="117" y="108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17" y="137"/>
                  </a:lnTo>
                  <a:lnTo>
                    <a:pt x="107" y="147"/>
                  </a:lnTo>
                  <a:lnTo>
                    <a:pt x="97" y="156"/>
                  </a:lnTo>
                  <a:lnTo>
                    <a:pt x="78" y="176"/>
                  </a:lnTo>
                  <a:lnTo>
                    <a:pt x="58" y="176"/>
                  </a:lnTo>
                  <a:lnTo>
                    <a:pt x="58" y="166"/>
                  </a:lnTo>
                  <a:lnTo>
                    <a:pt x="49" y="156"/>
                  </a:lnTo>
                  <a:lnTo>
                    <a:pt x="29" y="156"/>
                  </a:lnTo>
                  <a:lnTo>
                    <a:pt x="29" y="147"/>
                  </a:lnTo>
                  <a:lnTo>
                    <a:pt x="19" y="137"/>
                  </a:lnTo>
                  <a:lnTo>
                    <a:pt x="10" y="12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2" name="Freeform 179"/>
            <p:cNvSpPr>
              <a:spLocks/>
            </p:cNvSpPr>
            <p:nvPr/>
          </p:nvSpPr>
          <p:spPr bwMode="auto">
            <a:xfrm>
              <a:off x="1795" y="2158"/>
              <a:ext cx="285" cy="242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19" y="69"/>
                </a:cxn>
                <a:cxn ang="0">
                  <a:pos x="19" y="59"/>
                </a:cxn>
                <a:cxn ang="0">
                  <a:pos x="29" y="49"/>
                </a:cxn>
                <a:cxn ang="0">
                  <a:pos x="29" y="49"/>
                </a:cxn>
                <a:cxn ang="0">
                  <a:pos x="29" y="69"/>
                </a:cxn>
                <a:cxn ang="0">
                  <a:pos x="49" y="49"/>
                </a:cxn>
                <a:cxn ang="0">
                  <a:pos x="39" y="49"/>
                </a:cxn>
                <a:cxn ang="0">
                  <a:pos x="39" y="39"/>
                </a:cxn>
                <a:cxn ang="0">
                  <a:pos x="49" y="39"/>
                </a:cxn>
                <a:cxn ang="0">
                  <a:pos x="68" y="49"/>
                </a:cxn>
                <a:cxn ang="0">
                  <a:pos x="78" y="39"/>
                </a:cxn>
                <a:cxn ang="0">
                  <a:pos x="78" y="30"/>
                </a:cxn>
                <a:cxn ang="0">
                  <a:pos x="88" y="20"/>
                </a:cxn>
                <a:cxn ang="0">
                  <a:pos x="88" y="10"/>
                </a:cxn>
                <a:cxn ang="0">
                  <a:pos x="97" y="0"/>
                </a:cxn>
                <a:cxn ang="0">
                  <a:pos x="107" y="0"/>
                </a:cxn>
                <a:cxn ang="0">
                  <a:pos x="117" y="10"/>
                </a:cxn>
                <a:cxn ang="0">
                  <a:pos x="136" y="20"/>
                </a:cxn>
                <a:cxn ang="0">
                  <a:pos x="146" y="30"/>
                </a:cxn>
                <a:cxn ang="0">
                  <a:pos x="156" y="39"/>
                </a:cxn>
                <a:cxn ang="0">
                  <a:pos x="156" y="59"/>
                </a:cxn>
                <a:cxn ang="0">
                  <a:pos x="166" y="69"/>
                </a:cxn>
                <a:cxn ang="0">
                  <a:pos x="166" y="88"/>
                </a:cxn>
                <a:cxn ang="0">
                  <a:pos x="156" y="98"/>
                </a:cxn>
                <a:cxn ang="0">
                  <a:pos x="156" y="117"/>
                </a:cxn>
                <a:cxn ang="0">
                  <a:pos x="175" y="117"/>
                </a:cxn>
                <a:cxn ang="0">
                  <a:pos x="175" y="127"/>
                </a:cxn>
                <a:cxn ang="0">
                  <a:pos x="185" y="147"/>
                </a:cxn>
                <a:cxn ang="0">
                  <a:pos x="185" y="147"/>
                </a:cxn>
                <a:cxn ang="0">
                  <a:pos x="195" y="137"/>
                </a:cxn>
                <a:cxn ang="0">
                  <a:pos x="205" y="127"/>
                </a:cxn>
                <a:cxn ang="0">
                  <a:pos x="234" y="137"/>
                </a:cxn>
                <a:cxn ang="0">
                  <a:pos x="263" y="117"/>
                </a:cxn>
                <a:cxn ang="0">
                  <a:pos x="273" y="127"/>
                </a:cxn>
                <a:cxn ang="0">
                  <a:pos x="273" y="137"/>
                </a:cxn>
                <a:cxn ang="0">
                  <a:pos x="273" y="147"/>
                </a:cxn>
                <a:cxn ang="0">
                  <a:pos x="283" y="147"/>
                </a:cxn>
                <a:cxn ang="0">
                  <a:pos x="283" y="166"/>
                </a:cxn>
                <a:cxn ang="0">
                  <a:pos x="273" y="186"/>
                </a:cxn>
                <a:cxn ang="0">
                  <a:pos x="273" y="195"/>
                </a:cxn>
                <a:cxn ang="0">
                  <a:pos x="273" y="225"/>
                </a:cxn>
                <a:cxn ang="0">
                  <a:pos x="253" y="244"/>
                </a:cxn>
                <a:cxn ang="0">
                  <a:pos x="234" y="244"/>
                </a:cxn>
                <a:cxn ang="0">
                  <a:pos x="214" y="234"/>
                </a:cxn>
                <a:cxn ang="0">
                  <a:pos x="185" y="234"/>
                </a:cxn>
                <a:cxn ang="0">
                  <a:pos x="166" y="234"/>
                </a:cxn>
                <a:cxn ang="0">
                  <a:pos x="156" y="215"/>
                </a:cxn>
                <a:cxn ang="0">
                  <a:pos x="146" y="195"/>
                </a:cxn>
                <a:cxn ang="0">
                  <a:pos x="136" y="186"/>
                </a:cxn>
                <a:cxn ang="0">
                  <a:pos x="127" y="176"/>
                </a:cxn>
                <a:cxn ang="0">
                  <a:pos x="117" y="186"/>
                </a:cxn>
                <a:cxn ang="0">
                  <a:pos x="107" y="186"/>
                </a:cxn>
                <a:cxn ang="0">
                  <a:pos x="97" y="186"/>
                </a:cxn>
                <a:cxn ang="0">
                  <a:pos x="78" y="156"/>
                </a:cxn>
                <a:cxn ang="0">
                  <a:pos x="78" y="137"/>
                </a:cxn>
                <a:cxn ang="0">
                  <a:pos x="78" y="127"/>
                </a:cxn>
                <a:cxn ang="0">
                  <a:pos x="68" y="108"/>
                </a:cxn>
                <a:cxn ang="0">
                  <a:pos x="49" y="98"/>
                </a:cxn>
                <a:cxn ang="0">
                  <a:pos x="29" y="98"/>
                </a:cxn>
                <a:cxn ang="0">
                  <a:pos x="0" y="69"/>
                </a:cxn>
              </a:cxnLst>
              <a:rect l="0" t="0" r="r" b="b"/>
              <a:pathLst>
                <a:path w="283" h="244">
                  <a:moveTo>
                    <a:pt x="0" y="69"/>
                  </a:moveTo>
                  <a:lnTo>
                    <a:pt x="19" y="6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29" y="69"/>
                  </a:lnTo>
                  <a:lnTo>
                    <a:pt x="49" y="49"/>
                  </a:lnTo>
                  <a:lnTo>
                    <a:pt x="39" y="49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68" y="49"/>
                  </a:lnTo>
                  <a:lnTo>
                    <a:pt x="78" y="39"/>
                  </a:lnTo>
                  <a:lnTo>
                    <a:pt x="7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7" y="0"/>
                  </a:lnTo>
                  <a:lnTo>
                    <a:pt x="107" y="0"/>
                  </a:lnTo>
                  <a:lnTo>
                    <a:pt x="117" y="10"/>
                  </a:lnTo>
                  <a:lnTo>
                    <a:pt x="136" y="20"/>
                  </a:lnTo>
                  <a:lnTo>
                    <a:pt x="146" y="30"/>
                  </a:lnTo>
                  <a:lnTo>
                    <a:pt x="156" y="39"/>
                  </a:lnTo>
                  <a:lnTo>
                    <a:pt x="156" y="59"/>
                  </a:lnTo>
                  <a:lnTo>
                    <a:pt x="166" y="69"/>
                  </a:lnTo>
                  <a:lnTo>
                    <a:pt x="166" y="88"/>
                  </a:lnTo>
                  <a:lnTo>
                    <a:pt x="156" y="98"/>
                  </a:lnTo>
                  <a:lnTo>
                    <a:pt x="156" y="117"/>
                  </a:lnTo>
                  <a:lnTo>
                    <a:pt x="175" y="117"/>
                  </a:lnTo>
                  <a:lnTo>
                    <a:pt x="175" y="127"/>
                  </a:lnTo>
                  <a:lnTo>
                    <a:pt x="185" y="147"/>
                  </a:lnTo>
                  <a:lnTo>
                    <a:pt x="195" y="137"/>
                  </a:lnTo>
                  <a:lnTo>
                    <a:pt x="205" y="127"/>
                  </a:lnTo>
                  <a:lnTo>
                    <a:pt x="234" y="137"/>
                  </a:lnTo>
                  <a:lnTo>
                    <a:pt x="263" y="117"/>
                  </a:lnTo>
                  <a:lnTo>
                    <a:pt x="273" y="127"/>
                  </a:lnTo>
                  <a:lnTo>
                    <a:pt x="273" y="137"/>
                  </a:lnTo>
                  <a:lnTo>
                    <a:pt x="273" y="147"/>
                  </a:lnTo>
                  <a:lnTo>
                    <a:pt x="283" y="147"/>
                  </a:lnTo>
                  <a:lnTo>
                    <a:pt x="283" y="166"/>
                  </a:lnTo>
                  <a:lnTo>
                    <a:pt x="273" y="186"/>
                  </a:lnTo>
                  <a:lnTo>
                    <a:pt x="273" y="195"/>
                  </a:lnTo>
                  <a:lnTo>
                    <a:pt x="273" y="225"/>
                  </a:lnTo>
                  <a:lnTo>
                    <a:pt x="253" y="244"/>
                  </a:lnTo>
                  <a:lnTo>
                    <a:pt x="234" y="244"/>
                  </a:lnTo>
                  <a:lnTo>
                    <a:pt x="214" y="234"/>
                  </a:lnTo>
                  <a:lnTo>
                    <a:pt x="185" y="234"/>
                  </a:lnTo>
                  <a:lnTo>
                    <a:pt x="166" y="234"/>
                  </a:lnTo>
                  <a:lnTo>
                    <a:pt x="156" y="215"/>
                  </a:lnTo>
                  <a:lnTo>
                    <a:pt x="146" y="195"/>
                  </a:lnTo>
                  <a:lnTo>
                    <a:pt x="136" y="186"/>
                  </a:lnTo>
                  <a:lnTo>
                    <a:pt x="127" y="17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86"/>
                  </a:lnTo>
                  <a:lnTo>
                    <a:pt x="78" y="156"/>
                  </a:lnTo>
                  <a:lnTo>
                    <a:pt x="78" y="137"/>
                  </a:lnTo>
                  <a:lnTo>
                    <a:pt x="78" y="127"/>
                  </a:lnTo>
                  <a:lnTo>
                    <a:pt x="68" y="108"/>
                  </a:lnTo>
                  <a:lnTo>
                    <a:pt x="49" y="98"/>
                  </a:lnTo>
                  <a:lnTo>
                    <a:pt x="29" y="98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3" name="Freeform 178"/>
            <p:cNvSpPr>
              <a:spLocks/>
            </p:cNvSpPr>
            <p:nvPr/>
          </p:nvSpPr>
          <p:spPr bwMode="auto">
            <a:xfrm>
              <a:off x="2088" y="2332"/>
              <a:ext cx="457" cy="390"/>
            </a:xfrm>
            <a:custGeom>
              <a:avLst/>
              <a:gdLst/>
              <a:ahLst/>
              <a:cxnLst>
                <a:cxn ang="0">
                  <a:pos x="156" y="234"/>
                </a:cxn>
                <a:cxn ang="0">
                  <a:pos x="176" y="254"/>
                </a:cxn>
                <a:cxn ang="0">
                  <a:pos x="195" y="234"/>
                </a:cxn>
                <a:cxn ang="0">
                  <a:pos x="225" y="254"/>
                </a:cxn>
                <a:cxn ang="0">
                  <a:pos x="225" y="312"/>
                </a:cxn>
                <a:cxn ang="0">
                  <a:pos x="254" y="312"/>
                </a:cxn>
                <a:cxn ang="0">
                  <a:pos x="264" y="341"/>
                </a:cxn>
                <a:cxn ang="0">
                  <a:pos x="293" y="351"/>
                </a:cxn>
                <a:cxn ang="0">
                  <a:pos x="274" y="361"/>
                </a:cxn>
                <a:cxn ang="0">
                  <a:pos x="293" y="380"/>
                </a:cxn>
                <a:cxn ang="0">
                  <a:pos x="332" y="351"/>
                </a:cxn>
                <a:cxn ang="0">
                  <a:pos x="361" y="322"/>
                </a:cxn>
                <a:cxn ang="0">
                  <a:pos x="352" y="293"/>
                </a:cxn>
                <a:cxn ang="0">
                  <a:pos x="371" y="302"/>
                </a:cxn>
                <a:cxn ang="0">
                  <a:pos x="439" y="293"/>
                </a:cxn>
                <a:cxn ang="0">
                  <a:pos x="439" y="254"/>
                </a:cxn>
                <a:cxn ang="0">
                  <a:pos x="430" y="234"/>
                </a:cxn>
                <a:cxn ang="0">
                  <a:pos x="449" y="205"/>
                </a:cxn>
                <a:cxn ang="0">
                  <a:pos x="459" y="185"/>
                </a:cxn>
                <a:cxn ang="0">
                  <a:pos x="430" y="185"/>
                </a:cxn>
                <a:cxn ang="0">
                  <a:pos x="449" y="166"/>
                </a:cxn>
                <a:cxn ang="0">
                  <a:pos x="459" y="146"/>
                </a:cxn>
                <a:cxn ang="0">
                  <a:pos x="410" y="156"/>
                </a:cxn>
                <a:cxn ang="0">
                  <a:pos x="400" y="175"/>
                </a:cxn>
                <a:cxn ang="0">
                  <a:pos x="361" y="166"/>
                </a:cxn>
                <a:cxn ang="0">
                  <a:pos x="322" y="136"/>
                </a:cxn>
                <a:cxn ang="0">
                  <a:pos x="322" y="97"/>
                </a:cxn>
                <a:cxn ang="0">
                  <a:pos x="322" y="68"/>
                </a:cxn>
                <a:cxn ang="0">
                  <a:pos x="322" y="29"/>
                </a:cxn>
                <a:cxn ang="0">
                  <a:pos x="293" y="19"/>
                </a:cxn>
                <a:cxn ang="0">
                  <a:pos x="264" y="10"/>
                </a:cxn>
                <a:cxn ang="0">
                  <a:pos x="225" y="10"/>
                </a:cxn>
                <a:cxn ang="0">
                  <a:pos x="186" y="10"/>
                </a:cxn>
                <a:cxn ang="0">
                  <a:pos x="137" y="10"/>
                </a:cxn>
                <a:cxn ang="0">
                  <a:pos x="98" y="10"/>
                </a:cxn>
                <a:cxn ang="0">
                  <a:pos x="98" y="29"/>
                </a:cxn>
                <a:cxn ang="0">
                  <a:pos x="88" y="49"/>
                </a:cxn>
                <a:cxn ang="0">
                  <a:pos x="78" y="58"/>
                </a:cxn>
                <a:cxn ang="0">
                  <a:pos x="49" y="78"/>
                </a:cxn>
                <a:cxn ang="0">
                  <a:pos x="30" y="58"/>
                </a:cxn>
                <a:cxn ang="0">
                  <a:pos x="0" y="78"/>
                </a:cxn>
                <a:cxn ang="0">
                  <a:pos x="39" y="88"/>
                </a:cxn>
                <a:cxn ang="0">
                  <a:pos x="59" y="107"/>
                </a:cxn>
                <a:cxn ang="0">
                  <a:pos x="78" y="136"/>
                </a:cxn>
                <a:cxn ang="0">
                  <a:pos x="98" y="127"/>
                </a:cxn>
                <a:cxn ang="0">
                  <a:pos x="137" y="136"/>
                </a:cxn>
                <a:cxn ang="0">
                  <a:pos x="137" y="175"/>
                </a:cxn>
                <a:cxn ang="0">
                  <a:pos x="147" y="215"/>
                </a:cxn>
              </a:cxnLst>
              <a:rect l="0" t="0" r="r" b="b"/>
              <a:pathLst>
                <a:path w="459" h="390">
                  <a:moveTo>
                    <a:pt x="147" y="215"/>
                  </a:moveTo>
                  <a:lnTo>
                    <a:pt x="156" y="234"/>
                  </a:lnTo>
                  <a:lnTo>
                    <a:pt x="176" y="234"/>
                  </a:lnTo>
                  <a:lnTo>
                    <a:pt x="176" y="254"/>
                  </a:lnTo>
                  <a:lnTo>
                    <a:pt x="195" y="254"/>
                  </a:lnTo>
                  <a:lnTo>
                    <a:pt x="195" y="234"/>
                  </a:lnTo>
                  <a:lnTo>
                    <a:pt x="215" y="244"/>
                  </a:lnTo>
                  <a:lnTo>
                    <a:pt x="225" y="254"/>
                  </a:lnTo>
                  <a:lnTo>
                    <a:pt x="225" y="283"/>
                  </a:lnTo>
                  <a:lnTo>
                    <a:pt x="225" y="312"/>
                  </a:lnTo>
                  <a:lnTo>
                    <a:pt x="244" y="302"/>
                  </a:lnTo>
                  <a:lnTo>
                    <a:pt x="254" y="312"/>
                  </a:lnTo>
                  <a:lnTo>
                    <a:pt x="254" y="322"/>
                  </a:lnTo>
                  <a:lnTo>
                    <a:pt x="264" y="341"/>
                  </a:lnTo>
                  <a:lnTo>
                    <a:pt x="274" y="351"/>
                  </a:lnTo>
                  <a:lnTo>
                    <a:pt x="293" y="351"/>
                  </a:lnTo>
                  <a:lnTo>
                    <a:pt x="293" y="361"/>
                  </a:lnTo>
                  <a:lnTo>
                    <a:pt x="274" y="361"/>
                  </a:lnTo>
                  <a:lnTo>
                    <a:pt x="283" y="390"/>
                  </a:lnTo>
                  <a:lnTo>
                    <a:pt x="293" y="380"/>
                  </a:lnTo>
                  <a:lnTo>
                    <a:pt x="313" y="351"/>
                  </a:lnTo>
                  <a:lnTo>
                    <a:pt x="332" y="351"/>
                  </a:lnTo>
                  <a:lnTo>
                    <a:pt x="352" y="351"/>
                  </a:lnTo>
                  <a:lnTo>
                    <a:pt x="361" y="322"/>
                  </a:lnTo>
                  <a:lnTo>
                    <a:pt x="352" y="302"/>
                  </a:lnTo>
                  <a:lnTo>
                    <a:pt x="352" y="293"/>
                  </a:lnTo>
                  <a:lnTo>
                    <a:pt x="361" y="293"/>
                  </a:lnTo>
                  <a:lnTo>
                    <a:pt x="371" y="302"/>
                  </a:lnTo>
                  <a:lnTo>
                    <a:pt x="420" y="293"/>
                  </a:lnTo>
                  <a:lnTo>
                    <a:pt x="439" y="293"/>
                  </a:lnTo>
                  <a:lnTo>
                    <a:pt x="449" y="273"/>
                  </a:lnTo>
                  <a:lnTo>
                    <a:pt x="439" y="254"/>
                  </a:lnTo>
                  <a:lnTo>
                    <a:pt x="430" y="234"/>
                  </a:lnTo>
                  <a:lnTo>
                    <a:pt x="430" y="224"/>
                  </a:lnTo>
                  <a:lnTo>
                    <a:pt x="449" y="205"/>
                  </a:lnTo>
                  <a:lnTo>
                    <a:pt x="459" y="195"/>
                  </a:lnTo>
                  <a:lnTo>
                    <a:pt x="459" y="185"/>
                  </a:lnTo>
                  <a:lnTo>
                    <a:pt x="439" y="195"/>
                  </a:lnTo>
                  <a:lnTo>
                    <a:pt x="430" y="185"/>
                  </a:lnTo>
                  <a:lnTo>
                    <a:pt x="430" y="166"/>
                  </a:lnTo>
                  <a:lnTo>
                    <a:pt x="449" y="166"/>
                  </a:lnTo>
                  <a:lnTo>
                    <a:pt x="459" y="156"/>
                  </a:lnTo>
                  <a:lnTo>
                    <a:pt x="459" y="146"/>
                  </a:lnTo>
                  <a:lnTo>
                    <a:pt x="439" y="146"/>
                  </a:lnTo>
                  <a:lnTo>
                    <a:pt x="410" y="156"/>
                  </a:lnTo>
                  <a:lnTo>
                    <a:pt x="410" y="175"/>
                  </a:lnTo>
                  <a:lnTo>
                    <a:pt x="400" y="175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56"/>
                  </a:lnTo>
                  <a:lnTo>
                    <a:pt x="322" y="136"/>
                  </a:lnTo>
                  <a:lnTo>
                    <a:pt x="332" y="117"/>
                  </a:lnTo>
                  <a:lnTo>
                    <a:pt x="322" y="97"/>
                  </a:lnTo>
                  <a:lnTo>
                    <a:pt x="332" y="78"/>
                  </a:lnTo>
                  <a:lnTo>
                    <a:pt x="322" y="68"/>
                  </a:lnTo>
                  <a:lnTo>
                    <a:pt x="322" y="29"/>
                  </a:lnTo>
                  <a:lnTo>
                    <a:pt x="303" y="39"/>
                  </a:lnTo>
                  <a:lnTo>
                    <a:pt x="293" y="19"/>
                  </a:lnTo>
                  <a:lnTo>
                    <a:pt x="283" y="10"/>
                  </a:lnTo>
                  <a:lnTo>
                    <a:pt x="264" y="10"/>
                  </a:lnTo>
                  <a:lnTo>
                    <a:pt x="254" y="0"/>
                  </a:lnTo>
                  <a:lnTo>
                    <a:pt x="225" y="10"/>
                  </a:lnTo>
                  <a:lnTo>
                    <a:pt x="205" y="10"/>
                  </a:lnTo>
                  <a:lnTo>
                    <a:pt x="186" y="10"/>
                  </a:lnTo>
                  <a:lnTo>
                    <a:pt x="166" y="10"/>
                  </a:lnTo>
                  <a:lnTo>
                    <a:pt x="137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88" y="19"/>
                  </a:lnTo>
                  <a:lnTo>
                    <a:pt x="98" y="29"/>
                  </a:lnTo>
                  <a:lnTo>
                    <a:pt x="98" y="39"/>
                  </a:lnTo>
                  <a:lnTo>
                    <a:pt x="88" y="49"/>
                  </a:lnTo>
                  <a:lnTo>
                    <a:pt x="78" y="58"/>
                  </a:lnTo>
                  <a:lnTo>
                    <a:pt x="59" y="78"/>
                  </a:lnTo>
                  <a:lnTo>
                    <a:pt x="49" y="78"/>
                  </a:lnTo>
                  <a:lnTo>
                    <a:pt x="39" y="68"/>
                  </a:lnTo>
                  <a:lnTo>
                    <a:pt x="30" y="58"/>
                  </a:lnTo>
                  <a:lnTo>
                    <a:pt x="10" y="58"/>
                  </a:lnTo>
                  <a:lnTo>
                    <a:pt x="0" y="78"/>
                  </a:lnTo>
                  <a:lnTo>
                    <a:pt x="20" y="88"/>
                  </a:lnTo>
                  <a:lnTo>
                    <a:pt x="3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69" y="127"/>
                  </a:lnTo>
                  <a:lnTo>
                    <a:pt x="78" y="136"/>
                  </a:lnTo>
                  <a:lnTo>
                    <a:pt x="88" y="136"/>
                  </a:lnTo>
                  <a:lnTo>
                    <a:pt x="98" y="127"/>
                  </a:lnTo>
                  <a:lnTo>
                    <a:pt x="117" y="136"/>
                  </a:lnTo>
                  <a:lnTo>
                    <a:pt x="137" y="136"/>
                  </a:lnTo>
                  <a:lnTo>
                    <a:pt x="147" y="156"/>
                  </a:lnTo>
                  <a:lnTo>
                    <a:pt x="137" y="175"/>
                  </a:lnTo>
                  <a:lnTo>
                    <a:pt x="147" y="195"/>
                  </a:lnTo>
                  <a:lnTo>
                    <a:pt x="147" y="21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4" name="Freeform 177"/>
            <p:cNvSpPr>
              <a:spLocks/>
            </p:cNvSpPr>
            <p:nvPr/>
          </p:nvSpPr>
          <p:spPr bwMode="auto">
            <a:xfrm>
              <a:off x="2352" y="2567"/>
              <a:ext cx="469" cy="576"/>
            </a:xfrm>
            <a:custGeom>
              <a:avLst/>
              <a:gdLst/>
              <a:ahLst/>
              <a:cxnLst>
                <a:cxn ang="0">
                  <a:pos x="68" y="117"/>
                </a:cxn>
                <a:cxn ang="0">
                  <a:pos x="88" y="88"/>
                </a:cxn>
                <a:cxn ang="0">
                  <a:pos x="88" y="59"/>
                </a:cxn>
                <a:cxn ang="0">
                  <a:pos x="107" y="68"/>
                </a:cxn>
                <a:cxn ang="0">
                  <a:pos x="175" y="59"/>
                </a:cxn>
                <a:cxn ang="0">
                  <a:pos x="175" y="20"/>
                </a:cxn>
                <a:cxn ang="0">
                  <a:pos x="166" y="0"/>
                </a:cxn>
                <a:cxn ang="0">
                  <a:pos x="205" y="0"/>
                </a:cxn>
                <a:cxn ang="0">
                  <a:pos x="253" y="0"/>
                </a:cxn>
                <a:cxn ang="0">
                  <a:pos x="283" y="29"/>
                </a:cxn>
                <a:cxn ang="0">
                  <a:pos x="331" y="39"/>
                </a:cxn>
                <a:cxn ang="0">
                  <a:pos x="331" y="49"/>
                </a:cxn>
                <a:cxn ang="0">
                  <a:pos x="331" y="68"/>
                </a:cxn>
                <a:cxn ang="0">
                  <a:pos x="361" y="117"/>
                </a:cxn>
                <a:cxn ang="0">
                  <a:pos x="390" y="137"/>
                </a:cxn>
                <a:cxn ang="0">
                  <a:pos x="419" y="156"/>
                </a:cxn>
                <a:cxn ang="0">
                  <a:pos x="439" y="176"/>
                </a:cxn>
                <a:cxn ang="0">
                  <a:pos x="458" y="195"/>
                </a:cxn>
                <a:cxn ang="0">
                  <a:pos x="468" y="215"/>
                </a:cxn>
                <a:cxn ang="0">
                  <a:pos x="448" y="234"/>
                </a:cxn>
                <a:cxn ang="0">
                  <a:pos x="448" y="254"/>
                </a:cxn>
                <a:cxn ang="0">
                  <a:pos x="419" y="254"/>
                </a:cxn>
                <a:cxn ang="0">
                  <a:pos x="409" y="273"/>
                </a:cxn>
                <a:cxn ang="0">
                  <a:pos x="380" y="263"/>
                </a:cxn>
                <a:cxn ang="0">
                  <a:pos x="361" y="273"/>
                </a:cxn>
                <a:cxn ang="0">
                  <a:pos x="341" y="254"/>
                </a:cxn>
                <a:cxn ang="0">
                  <a:pos x="361" y="234"/>
                </a:cxn>
                <a:cxn ang="0">
                  <a:pos x="331" y="205"/>
                </a:cxn>
                <a:cxn ang="0">
                  <a:pos x="283" y="244"/>
                </a:cxn>
                <a:cxn ang="0">
                  <a:pos x="273" y="273"/>
                </a:cxn>
                <a:cxn ang="0">
                  <a:pos x="322" y="302"/>
                </a:cxn>
                <a:cxn ang="0">
                  <a:pos x="351" y="322"/>
                </a:cxn>
                <a:cxn ang="0">
                  <a:pos x="390" y="332"/>
                </a:cxn>
                <a:cxn ang="0">
                  <a:pos x="429" y="332"/>
                </a:cxn>
                <a:cxn ang="0">
                  <a:pos x="419" y="361"/>
                </a:cxn>
                <a:cxn ang="0">
                  <a:pos x="390" y="381"/>
                </a:cxn>
                <a:cxn ang="0">
                  <a:pos x="361" y="381"/>
                </a:cxn>
                <a:cxn ang="0">
                  <a:pos x="322" y="381"/>
                </a:cxn>
                <a:cxn ang="0">
                  <a:pos x="283" y="410"/>
                </a:cxn>
                <a:cxn ang="0">
                  <a:pos x="263" y="439"/>
                </a:cxn>
                <a:cxn ang="0">
                  <a:pos x="253" y="468"/>
                </a:cxn>
                <a:cxn ang="0">
                  <a:pos x="234" y="478"/>
                </a:cxn>
                <a:cxn ang="0">
                  <a:pos x="214" y="517"/>
                </a:cxn>
                <a:cxn ang="0">
                  <a:pos x="185" y="537"/>
                </a:cxn>
                <a:cxn ang="0">
                  <a:pos x="166" y="546"/>
                </a:cxn>
                <a:cxn ang="0">
                  <a:pos x="127" y="576"/>
                </a:cxn>
                <a:cxn ang="0">
                  <a:pos x="107" y="546"/>
                </a:cxn>
                <a:cxn ang="0">
                  <a:pos x="68" y="537"/>
                </a:cxn>
                <a:cxn ang="0">
                  <a:pos x="49" y="517"/>
                </a:cxn>
                <a:cxn ang="0">
                  <a:pos x="29" y="517"/>
                </a:cxn>
                <a:cxn ang="0">
                  <a:pos x="39" y="488"/>
                </a:cxn>
                <a:cxn ang="0">
                  <a:pos x="29" y="449"/>
                </a:cxn>
                <a:cxn ang="0">
                  <a:pos x="49" y="429"/>
                </a:cxn>
                <a:cxn ang="0">
                  <a:pos x="58" y="400"/>
                </a:cxn>
                <a:cxn ang="0">
                  <a:pos x="19" y="410"/>
                </a:cxn>
                <a:cxn ang="0">
                  <a:pos x="10" y="371"/>
                </a:cxn>
                <a:cxn ang="0">
                  <a:pos x="29" y="361"/>
                </a:cxn>
                <a:cxn ang="0">
                  <a:pos x="10" y="342"/>
                </a:cxn>
                <a:cxn ang="0">
                  <a:pos x="29" y="273"/>
                </a:cxn>
                <a:cxn ang="0">
                  <a:pos x="29" y="254"/>
                </a:cxn>
                <a:cxn ang="0">
                  <a:pos x="10" y="224"/>
                </a:cxn>
                <a:cxn ang="0">
                  <a:pos x="19" y="176"/>
                </a:cxn>
                <a:cxn ang="0">
                  <a:pos x="49" y="117"/>
                </a:cxn>
              </a:cxnLst>
              <a:rect l="0" t="0" r="r" b="b"/>
              <a:pathLst>
                <a:path w="468" h="576">
                  <a:moveTo>
                    <a:pt x="49" y="117"/>
                  </a:moveTo>
                  <a:lnTo>
                    <a:pt x="68" y="117"/>
                  </a:lnTo>
                  <a:lnTo>
                    <a:pt x="88" y="117"/>
                  </a:lnTo>
                  <a:lnTo>
                    <a:pt x="88" y="88"/>
                  </a:lnTo>
                  <a:lnTo>
                    <a:pt x="88" y="68"/>
                  </a:lnTo>
                  <a:lnTo>
                    <a:pt x="88" y="59"/>
                  </a:lnTo>
                  <a:lnTo>
                    <a:pt x="107" y="68"/>
                  </a:lnTo>
                  <a:lnTo>
                    <a:pt x="156" y="59"/>
                  </a:lnTo>
                  <a:lnTo>
                    <a:pt x="175" y="59"/>
                  </a:lnTo>
                  <a:lnTo>
                    <a:pt x="185" y="49"/>
                  </a:lnTo>
                  <a:lnTo>
                    <a:pt x="175" y="20"/>
                  </a:lnTo>
                  <a:lnTo>
                    <a:pt x="166" y="0"/>
                  </a:lnTo>
                  <a:lnTo>
                    <a:pt x="175" y="0"/>
                  </a:lnTo>
                  <a:lnTo>
                    <a:pt x="205" y="0"/>
                  </a:lnTo>
                  <a:lnTo>
                    <a:pt x="234" y="0"/>
                  </a:lnTo>
                  <a:lnTo>
                    <a:pt x="253" y="0"/>
                  </a:lnTo>
                  <a:lnTo>
                    <a:pt x="263" y="20"/>
                  </a:lnTo>
                  <a:lnTo>
                    <a:pt x="283" y="29"/>
                  </a:lnTo>
                  <a:lnTo>
                    <a:pt x="302" y="39"/>
                  </a:lnTo>
                  <a:lnTo>
                    <a:pt x="331" y="39"/>
                  </a:lnTo>
                  <a:lnTo>
                    <a:pt x="341" y="49"/>
                  </a:lnTo>
                  <a:lnTo>
                    <a:pt x="331" y="49"/>
                  </a:lnTo>
                  <a:lnTo>
                    <a:pt x="331" y="59"/>
                  </a:lnTo>
                  <a:lnTo>
                    <a:pt x="331" y="68"/>
                  </a:lnTo>
                  <a:lnTo>
                    <a:pt x="351" y="78"/>
                  </a:lnTo>
                  <a:lnTo>
                    <a:pt x="361" y="117"/>
                  </a:lnTo>
                  <a:lnTo>
                    <a:pt x="380" y="117"/>
                  </a:lnTo>
                  <a:lnTo>
                    <a:pt x="390" y="137"/>
                  </a:lnTo>
                  <a:lnTo>
                    <a:pt x="400" y="137"/>
                  </a:lnTo>
                  <a:lnTo>
                    <a:pt x="419" y="156"/>
                  </a:lnTo>
                  <a:lnTo>
                    <a:pt x="419" y="166"/>
                  </a:lnTo>
                  <a:lnTo>
                    <a:pt x="439" y="176"/>
                  </a:lnTo>
                  <a:lnTo>
                    <a:pt x="458" y="185"/>
                  </a:lnTo>
                  <a:lnTo>
                    <a:pt x="458" y="195"/>
                  </a:lnTo>
                  <a:lnTo>
                    <a:pt x="468" y="195"/>
                  </a:lnTo>
                  <a:lnTo>
                    <a:pt x="468" y="215"/>
                  </a:lnTo>
                  <a:lnTo>
                    <a:pt x="448" y="224"/>
                  </a:lnTo>
                  <a:lnTo>
                    <a:pt x="448" y="234"/>
                  </a:lnTo>
                  <a:lnTo>
                    <a:pt x="439" y="244"/>
                  </a:lnTo>
                  <a:lnTo>
                    <a:pt x="448" y="254"/>
                  </a:lnTo>
                  <a:lnTo>
                    <a:pt x="448" y="263"/>
                  </a:lnTo>
                  <a:lnTo>
                    <a:pt x="419" y="254"/>
                  </a:lnTo>
                  <a:lnTo>
                    <a:pt x="419" y="273"/>
                  </a:lnTo>
                  <a:lnTo>
                    <a:pt x="409" y="273"/>
                  </a:lnTo>
                  <a:lnTo>
                    <a:pt x="400" y="263"/>
                  </a:lnTo>
                  <a:lnTo>
                    <a:pt x="380" y="263"/>
                  </a:lnTo>
                  <a:lnTo>
                    <a:pt x="380" y="273"/>
                  </a:lnTo>
                  <a:lnTo>
                    <a:pt x="361" y="273"/>
                  </a:lnTo>
                  <a:lnTo>
                    <a:pt x="361" y="254"/>
                  </a:lnTo>
                  <a:lnTo>
                    <a:pt x="341" y="254"/>
                  </a:lnTo>
                  <a:lnTo>
                    <a:pt x="331" y="244"/>
                  </a:lnTo>
                  <a:lnTo>
                    <a:pt x="361" y="234"/>
                  </a:lnTo>
                  <a:lnTo>
                    <a:pt x="351" y="215"/>
                  </a:lnTo>
                  <a:lnTo>
                    <a:pt x="331" y="205"/>
                  </a:lnTo>
                  <a:lnTo>
                    <a:pt x="292" y="215"/>
                  </a:lnTo>
                  <a:lnTo>
                    <a:pt x="283" y="244"/>
                  </a:lnTo>
                  <a:lnTo>
                    <a:pt x="273" y="254"/>
                  </a:lnTo>
                  <a:lnTo>
                    <a:pt x="273" y="273"/>
                  </a:lnTo>
                  <a:lnTo>
                    <a:pt x="292" y="302"/>
                  </a:lnTo>
                  <a:lnTo>
                    <a:pt x="322" y="302"/>
                  </a:lnTo>
                  <a:lnTo>
                    <a:pt x="341" y="332"/>
                  </a:lnTo>
                  <a:lnTo>
                    <a:pt x="351" y="322"/>
                  </a:lnTo>
                  <a:lnTo>
                    <a:pt x="370" y="332"/>
                  </a:lnTo>
                  <a:lnTo>
                    <a:pt x="390" y="332"/>
                  </a:lnTo>
                  <a:lnTo>
                    <a:pt x="419" y="332"/>
                  </a:lnTo>
                  <a:lnTo>
                    <a:pt x="429" y="332"/>
                  </a:lnTo>
                  <a:lnTo>
                    <a:pt x="429" y="342"/>
                  </a:lnTo>
                  <a:lnTo>
                    <a:pt x="419" y="361"/>
                  </a:lnTo>
                  <a:lnTo>
                    <a:pt x="400" y="361"/>
                  </a:lnTo>
                  <a:lnTo>
                    <a:pt x="390" y="381"/>
                  </a:lnTo>
                  <a:lnTo>
                    <a:pt x="370" y="390"/>
                  </a:lnTo>
                  <a:lnTo>
                    <a:pt x="361" y="381"/>
                  </a:lnTo>
                  <a:lnTo>
                    <a:pt x="341" y="381"/>
                  </a:lnTo>
                  <a:lnTo>
                    <a:pt x="322" y="381"/>
                  </a:lnTo>
                  <a:lnTo>
                    <a:pt x="302" y="400"/>
                  </a:lnTo>
                  <a:lnTo>
                    <a:pt x="283" y="410"/>
                  </a:lnTo>
                  <a:lnTo>
                    <a:pt x="273" y="420"/>
                  </a:lnTo>
                  <a:lnTo>
                    <a:pt x="263" y="439"/>
                  </a:lnTo>
                  <a:lnTo>
                    <a:pt x="253" y="459"/>
                  </a:lnTo>
                  <a:lnTo>
                    <a:pt x="253" y="468"/>
                  </a:lnTo>
                  <a:lnTo>
                    <a:pt x="244" y="478"/>
                  </a:lnTo>
                  <a:lnTo>
                    <a:pt x="234" y="478"/>
                  </a:lnTo>
                  <a:lnTo>
                    <a:pt x="224" y="498"/>
                  </a:lnTo>
                  <a:lnTo>
                    <a:pt x="214" y="517"/>
                  </a:lnTo>
                  <a:lnTo>
                    <a:pt x="205" y="537"/>
                  </a:lnTo>
                  <a:lnTo>
                    <a:pt x="185" y="537"/>
                  </a:lnTo>
                  <a:lnTo>
                    <a:pt x="175" y="537"/>
                  </a:lnTo>
                  <a:lnTo>
                    <a:pt x="166" y="546"/>
                  </a:lnTo>
                  <a:lnTo>
                    <a:pt x="146" y="566"/>
                  </a:lnTo>
                  <a:lnTo>
                    <a:pt x="127" y="576"/>
                  </a:lnTo>
                  <a:lnTo>
                    <a:pt x="107" y="566"/>
                  </a:lnTo>
                  <a:lnTo>
                    <a:pt x="107" y="546"/>
                  </a:lnTo>
                  <a:lnTo>
                    <a:pt x="88" y="537"/>
                  </a:lnTo>
                  <a:lnTo>
                    <a:pt x="68" y="537"/>
                  </a:lnTo>
                  <a:lnTo>
                    <a:pt x="49" y="537"/>
                  </a:lnTo>
                  <a:lnTo>
                    <a:pt x="49" y="517"/>
                  </a:lnTo>
                  <a:lnTo>
                    <a:pt x="39" y="517"/>
                  </a:lnTo>
                  <a:lnTo>
                    <a:pt x="29" y="517"/>
                  </a:lnTo>
                  <a:lnTo>
                    <a:pt x="29" y="488"/>
                  </a:lnTo>
                  <a:lnTo>
                    <a:pt x="39" y="488"/>
                  </a:lnTo>
                  <a:lnTo>
                    <a:pt x="39" y="45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9" y="429"/>
                  </a:lnTo>
                  <a:lnTo>
                    <a:pt x="68" y="420"/>
                  </a:lnTo>
                  <a:lnTo>
                    <a:pt x="58" y="400"/>
                  </a:lnTo>
                  <a:lnTo>
                    <a:pt x="39" y="400"/>
                  </a:lnTo>
                  <a:lnTo>
                    <a:pt x="19" y="410"/>
                  </a:lnTo>
                  <a:lnTo>
                    <a:pt x="10" y="390"/>
                  </a:lnTo>
                  <a:lnTo>
                    <a:pt x="10" y="371"/>
                  </a:lnTo>
                  <a:lnTo>
                    <a:pt x="0" y="361"/>
                  </a:lnTo>
                  <a:lnTo>
                    <a:pt x="29" y="361"/>
                  </a:lnTo>
                  <a:lnTo>
                    <a:pt x="29" y="351"/>
                  </a:lnTo>
                  <a:lnTo>
                    <a:pt x="10" y="342"/>
                  </a:lnTo>
                  <a:lnTo>
                    <a:pt x="29" y="293"/>
                  </a:lnTo>
                  <a:lnTo>
                    <a:pt x="29" y="273"/>
                  </a:lnTo>
                  <a:lnTo>
                    <a:pt x="39" y="263"/>
                  </a:lnTo>
                  <a:lnTo>
                    <a:pt x="29" y="254"/>
                  </a:lnTo>
                  <a:lnTo>
                    <a:pt x="10" y="244"/>
                  </a:lnTo>
                  <a:lnTo>
                    <a:pt x="10" y="224"/>
                  </a:lnTo>
                  <a:lnTo>
                    <a:pt x="10" y="205"/>
                  </a:lnTo>
                  <a:lnTo>
                    <a:pt x="19" y="176"/>
                  </a:lnTo>
                  <a:lnTo>
                    <a:pt x="29" y="146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5" name="Freeform 176"/>
            <p:cNvSpPr>
              <a:spLocks/>
            </p:cNvSpPr>
            <p:nvPr/>
          </p:nvSpPr>
          <p:spPr bwMode="auto">
            <a:xfrm>
              <a:off x="2410" y="2273"/>
              <a:ext cx="322" cy="294"/>
            </a:xfrm>
            <a:custGeom>
              <a:avLst/>
              <a:gdLst/>
              <a:ahLst/>
              <a:cxnLst>
                <a:cxn ang="0">
                  <a:pos x="10" y="215"/>
                </a:cxn>
                <a:cxn ang="0">
                  <a:pos x="39" y="225"/>
                </a:cxn>
                <a:cxn ang="0">
                  <a:pos x="69" y="225"/>
                </a:cxn>
                <a:cxn ang="0">
                  <a:pos x="78" y="234"/>
                </a:cxn>
                <a:cxn ang="0">
                  <a:pos x="88" y="234"/>
                </a:cxn>
                <a:cxn ang="0">
                  <a:pos x="88" y="215"/>
                </a:cxn>
                <a:cxn ang="0">
                  <a:pos x="117" y="205"/>
                </a:cxn>
                <a:cxn ang="0">
                  <a:pos x="137" y="205"/>
                </a:cxn>
                <a:cxn ang="0">
                  <a:pos x="137" y="215"/>
                </a:cxn>
                <a:cxn ang="0">
                  <a:pos x="127" y="225"/>
                </a:cxn>
                <a:cxn ang="0">
                  <a:pos x="108" y="225"/>
                </a:cxn>
                <a:cxn ang="0">
                  <a:pos x="108" y="244"/>
                </a:cxn>
                <a:cxn ang="0">
                  <a:pos x="117" y="254"/>
                </a:cxn>
                <a:cxn ang="0">
                  <a:pos x="137" y="244"/>
                </a:cxn>
                <a:cxn ang="0">
                  <a:pos x="137" y="264"/>
                </a:cxn>
                <a:cxn ang="0">
                  <a:pos x="127" y="264"/>
                </a:cxn>
                <a:cxn ang="0">
                  <a:pos x="108" y="283"/>
                </a:cxn>
                <a:cxn ang="0">
                  <a:pos x="108" y="293"/>
                </a:cxn>
                <a:cxn ang="0">
                  <a:pos x="127" y="293"/>
                </a:cxn>
                <a:cxn ang="0">
                  <a:pos x="147" y="293"/>
                </a:cxn>
                <a:cxn ang="0">
                  <a:pos x="195" y="293"/>
                </a:cxn>
                <a:cxn ang="0">
                  <a:pos x="195" y="283"/>
                </a:cxn>
                <a:cxn ang="0">
                  <a:pos x="186" y="254"/>
                </a:cxn>
                <a:cxn ang="0">
                  <a:pos x="195" y="234"/>
                </a:cxn>
                <a:cxn ang="0">
                  <a:pos x="205" y="234"/>
                </a:cxn>
                <a:cxn ang="0">
                  <a:pos x="225" y="234"/>
                </a:cxn>
                <a:cxn ang="0">
                  <a:pos x="244" y="215"/>
                </a:cxn>
                <a:cxn ang="0">
                  <a:pos x="234" y="205"/>
                </a:cxn>
                <a:cxn ang="0">
                  <a:pos x="244" y="176"/>
                </a:cxn>
                <a:cxn ang="0">
                  <a:pos x="283" y="147"/>
                </a:cxn>
                <a:cxn ang="0">
                  <a:pos x="303" y="117"/>
                </a:cxn>
                <a:cxn ang="0">
                  <a:pos x="312" y="88"/>
                </a:cxn>
                <a:cxn ang="0">
                  <a:pos x="322" y="69"/>
                </a:cxn>
                <a:cxn ang="0">
                  <a:pos x="303" y="69"/>
                </a:cxn>
                <a:cxn ang="0">
                  <a:pos x="293" y="39"/>
                </a:cxn>
                <a:cxn ang="0">
                  <a:pos x="264" y="30"/>
                </a:cxn>
                <a:cxn ang="0">
                  <a:pos x="244" y="10"/>
                </a:cxn>
                <a:cxn ang="0">
                  <a:pos x="234" y="0"/>
                </a:cxn>
                <a:cxn ang="0">
                  <a:pos x="205" y="10"/>
                </a:cxn>
                <a:cxn ang="0">
                  <a:pos x="186" y="20"/>
                </a:cxn>
                <a:cxn ang="0">
                  <a:pos x="195" y="39"/>
                </a:cxn>
                <a:cxn ang="0">
                  <a:pos x="176" y="49"/>
                </a:cxn>
                <a:cxn ang="0">
                  <a:pos x="166" y="78"/>
                </a:cxn>
                <a:cxn ang="0">
                  <a:pos x="137" y="88"/>
                </a:cxn>
                <a:cxn ang="0">
                  <a:pos x="108" y="69"/>
                </a:cxn>
                <a:cxn ang="0">
                  <a:pos x="88" y="88"/>
                </a:cxn>
                <a:cxn ang="0">
                  <a:pos x="88" y="108"/>
                </a:cxn>
                <a:cxn ang="0">
                  <a:pos x="88" y="137"/>
                </a:cxn>
                <a:cxn ang="0">
                  <a:pos x="59" y="147"/>
                </a:cxn>
                <a:cxn ang="0">
                  <a:pos x="49" y="137"/>
                </a:cxn>
                <a:cxn ang="0">
                  <a:pos x="39" y="147"/>
                </a:cxn>
                <a:cxn ang="0">
                  <a:pos x="49" y="156"/>
                </a:cxn>
                <a:cxn ang="0">
                  <a:pos x="30" y="176"/>
                </a:cxn>
                <a:cxn ang="0">
                  <a:pos x="30" y="186"/>
                </a:cxn>
                <a:cxn ang="0">
                  <a:pos x="10" y="195"/>
                </a:cxn>
                <a:cxn ang="0">
                  <a:pos x="10" y="176"/>
                </a:cxn>
                <a:cxn ang="0">
                  <a:pos x="0" y="205"/>
                </a:cxn>
                <a:cxn ang="0">
                  <a:pos x="10" y="215"/>
                </a:cxn>
              </a:cxnLst>
              <a:rect l="0" t="0" r="r" b="b"/>
              <a:pathLst>
                <a:path w="322" h="293">
                  <a:moveTo>
                    <a:pt x="10" y="215"/>
                  </a:moveTo>
                  <a:lnTo>
                    <a:pt x="39" y="225"/>
                  </a:lnTo>
                  <a:lnTo>
                    <a:pt x="69" y="225"/>
                  </a:lnTo>
                  <a:lnTo>
                    <a:pt x="78" y="234"/>
                  </a:lnTo>
                  <a:lnTo>
                    <a:pt x="88" y="234"/>
                  </a:lnTo>
                  <a:lnTo>
                    <a:pt x="88" y="215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37" y="215"/>
                  </a:lnTo>
                  <a:lnTo>
                    <a:pt x="127" y="225"/>
                  </a:lnTo>
                  <a:lnTo>
                    <a:pt x="108" y="225"/>
                  </a:lnTo>
                  <a:lnTo>
                    <a:pt x="108" y="244"/>
                  </a:lnTo>
                  <a:lnTo>
                    <a:pt x="117" y="254"/>
                  </a:lnTo>
                  <a:lnTo>
                    <a:pt x="137" y="244"/>
                  </a:lnTo>
                  <a:lnTo>
                    <a:pt x="137" y="264"/>
                  </a:lnTo>
                  <a:lnTo>
                    <a:pt x="127" y="26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93"/>
                  </a:lnTo>
                  <a:lnTo>
                    <a:pt x="147" y="293"/>
                  </a:lnTo>
                  <a:lnTo>
                    <a:pt x="195" y="293"/>
                  </a:lnTo>
                  <a:lnTo>
                    <a:pt x="195" y="283"/>
                  </a:lnTo>
                  <a:lnTo>
                    <a:pt x="186" y="254"/>
                  </a:lnTo>
                  <a:lnTo>
                    <a:pt x="195" y="234"/>
                  </a:lnTo>
                  <a:lnTo>
                    <a:pt x="205" y="234"/>
                  </a:lnTo>
                  <a:lnTo>
                    <a:pt x="225" y="234"/>
                  </a:lnTo>
                  <a:lnTo>
                    <a:pt x="244" y="215"/>
                  </a:lnTo>
                  <a:lnTo>
                    <a:pt x="234" y="205"/>
                  </a:lnTo>
                  <a:lnTo>
                    <a:pt x="244" y="176"/>
                  </a:lnTo>
                  <a:lnTo>
                    <a:pt x="283" y="147"/>
                  </a:lnTo>
                  <a:lnTo>
                    <a:pt x="303" y="117"/>
                  </a:lnTo>
                  <a:lnTo>
                    <a:pt x="312" y="88"/>
                  </a:lnTo>
                  <a:lnTo>
                    <a:pt x="322" y="69"/>
                  </a:lnTo>
                  <a:lnTo>
                    <a:pt x="303" y="69"/>
                  </a:lnTo>
                  <a:lnTo>
                    <a:pt x="293" y="39"/>
                  </a:lnTo>
                  <a:lnTo>
                    <a:pt x="264" y="30"/>
                  </a:lnTo>
                  <a:lnTo>
                    <a:pt x="244" y="10"/>
                  </a:lnTo>
                  <a:lnTo>
                    <a:pt x="234" y="0"/>
                  </a:lnTo>
                  <a:lnTo>
                    <a:pt x="205" y="10"/>
                  </a:lnTo>
                  <a:lnTo>
                    <a:pt x="186" y="20"/>
                  </a:lnTo>
                  <a:lnTo>
                    <a:pt x="195" y="39"/>
                  </a:lnTo>
                  <a:lnTo>
                    <a:pt x="176" y="49"/>
                  </a:lnTo>
                  <a:lnTo>
                    <a:pt x="166" y="78"/>
                  </a:lnTo>
                  <a:lnTo>
                    <a:pt x="137" y="88"/>
                  </a:lnTo>
                  <a:lnTo>
                    <a:pt x="108" y="69"/>
                  </a:lnTo>
                  <a:lnTo>
                    <a:pt x="88" y="88"/>
                  </a:lnTo>
                  <a:lnTo>
                    <a:pt x="88" y="108"/>
                  </a:lnTo>
                  <a:lnTo>
                    <a:pt x="88" y="137"/>
                  </a:lnTo>
                  <a:lnTo>
                    <a:pt x="59" y="147"/>
                  </a:lnTo>
                  <a:lnTo>
                    <a:pt x="49" y="137"/>
                  </a:lnTo>
                  <a:lnTo>
                    <a:pt x="39" y="147"/>
                  </a:lnTo>
                  <a:lnTo>
                    <a:pt x="49" y="156"/>
                  </a:lnTo>
                  <a:lnTo>
                    <a:pt x="30" y="176"/>
                  </a:lnTo>
                  <a:lnTo>
                    <a:pt x="30" y="186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205"/>
                  </a:lnTo>
                  <a:lnTo>
                    <a:pt x="10" y="21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6" name="Freeform 175"/>
            <p:cNvSpPr>
              <a:spLocks/>
            </p:cNvSpPr>
            <p:nvPr/>
          </p:nvSpPr>
          <p:spPr bwMode="auto">
            <a:xfrm>
              <a:off x="2049" y="2651"/>
              <a:ext cx="597" cy="696"/>
            </a:xfrm>
            <a:custGeom>
              <a:avLst/>
              <a:gdLst/>
              <a:ahLst/>
              <a:cxnLst>
                <a:cxn ang="0">
                  <a:pos x="215" y="58"/>
                </a:cxn>
                <a:cxn ang="0">
                  <a:pos x="273" y="19"/>
                </a:cxn>
                <a:cxn ang="0">
                  <a:pos x="303" y="19"/>
                </a:cxn>
                <a:cxn ang="0">
                  <a:pos x="332" y="39"/>
                </a:cxn>
                <a:cxn ang="0">
                  <a:pos x="332" y="58"/>
                </a:cxn>
                <a:cxn ang="0">
                  <a:pos x="313" y="136"/>
                </a:cxn>
                <a:cxn ang="0">
                  <a:pos x="342" y="175"/>
                </a:cxn>
                <a:cxn ang="0">
                  <a:pos x="313" y="254"/>
                </a:cxn>
                <a:cxn ang="0">
                  <a:pos x="303" y="273"/>
                </a:cxn>
                <a:cxn ang="0">
                  <a:pos x="322" y="322"/>
                </a:cxn>
                <a:cxn ang="0">
                  <a:pos x="371" y="341"/>
                </a:cxn>
                <a:cxn ang="0">
                  <a:pos x="332" y="361"/>
                </a:cxn>
                <a:cxn ang="0">
                  <a:pos x="332" y="400"/>
                </a:cxn>
                <a:cxn ang="0">
                  <a:pos x="352" y="439"/>
                </a:cxn>
                <a:cxn ang="0">
                  <a:pos x="391" y="449"/>
                </a:cxn>
                <a:cxn ang="0">
                  <a:pos x="430" y="488"/>
                </a:cxn>
                <a:cxn ang="0">
                  <a:pos x="478" y="449"/>
                </a:cxn>
                <a:cxn ang="0">
                  <a:pos x="517" y="439"/>
                </a:cxn>
                <a:cxn ang="0">
                  <a:pos x="527" y="458"/>
                </a:cxn>
                <a:cxn ang="0">
                  <a:pos x="586" y="488"/>
                </a:cxn>
                <a:cxn ang="0">
                  <a:pos x="547" y="517"/>
                </a:cxn>
                <a:cxn ang="0">
                  <a:pos x="556" y="556"/>
                </a:cxn>
                <a:cxn ang="0">
                  <a:pos x="566" y="595"/>
                </a:cxn>
                <a:cxn ang="0">
                  <a:pos x="595" y="654"/>
                </a:cxn>
                <a:cxn ang="0">
                  <a:pos x="566" y="683"/>
                </a:cxn>
                <a:cxn ang="0">
                  <a:pos x="498" y="683"/>
                </a:cxn>
                <a:cxn ang="0">
                  <a:pos x="469" y="644"/>
                </a:cxn>
                <a:cxn ang="0">
                  <a:pos x="430" y="634"/>
                </a:cxn>
                <a:cxn ang="0">
                  <a:pos x="391" y="585"/>
                </a:cxn>
                <a:cxn ang="0">
                  <a:pos x="391" y="536"/>
                </a:cxn>
                <a:cxn ang="0">
                  <a:pos x="332" y="527"/>
                </a:cxn>
                <a:cxn ang="0">
                  <a:pos x="293" y="488"/>
                </a:cxn>
                <a:cxn ang="0">
                  <a:pos x="254" y="478"/>
                </a:cxn>
                <a:cxn ang="0">
                  <a:pos x="205" y="488"/>
                </a:cxn>
                <a:cxn ang="0">
                  <a:pos x="176" y="449"/>
                </a:cxn>
                <a:cxn ang="0">
                  <a:pos x="147" y="410"/>
                </a:cxn>
                <a:cxn ang="0">
                  <a:pos x="117" y="419"/>
                </a:cxn>
                <a:cxn ang="0">
                  <a:pos x="127" y="351"/>
                </a:cxn>
                <a:cxn ang="0">
                  <a:pos x="127" y="293"/>
                </a:cxn>
                <a:cxn ang="0">
                  <a:pos x="78" y="263"/>
                </a:cxn>
                <a:cxn ang="0">
                  <a:pos x="30" y="214"/>
                </a:cxn>
                <a:cxn ang="0">
                  <a:pos x="20" y="185"/>
                </a:cxn>
                <a:cxn ang="0">
                  <a:pos x="20" y="156"/>
                </a:cxn>
                <a:cxn ang="0">
                  <a:pos x="98" y="136"/>
                </a:cxn>
                <a:cxn ang="0">
                  <a:pos x="117" y="127"/>
                </a:cxn>
                <a:cxn ang="0">
                  <a:pos x="195" y="107"/>
                </a:cxn>
              </a:cxnLst>
              <a:rect l="0" t="0" r="r" b="b"/>
              <a:pathLst>
                <a:path w="595" h="693">
                  <a:moveTo>
                    <a:pt x="205" y="97"/>
                  </a:moveTo>
                  <a:lnTo>
                    <a:pt x="215" y="68"/>
                  </a:lnTo>
                  <a:lnTo>
                    <a:pt x="215" y="58"/>
                  </a:lnTo>
                  <a:lnTo>
                    <a:pt x="234" y="49"/>
                  </a:lnTo>
                  <a:lnTo>
                    <a:pt x="264" y="39"/>
                  </a:lnTo>
                  <a:lnTo>
                    <a:pt x="273" y="19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303" y="19"/>
                  </a:lnTo>
                  <a:lnTo>
                    <a:pt x="313" y="29"/>
                  </a:lnTo>
                  <a:lnTo>
                    <a:pt x="332" y="29"/>
                  </a:lnTo>
                  <a:lnTo>
                    <a:pt x="332" y="39"/>
                  </a:lnTo>
                  <a:lnTo>
                    <a:pt x="313" y="39"/>
                  </a:lnTo>
                  <a:lnTo>
                    <a:pt x="322" y="68"/>
                  </a:lnTo>
                  <a:lnTo>
                    <a:pt x="332" y="58"/>
                  </a:lnTo>
                  <a:lnTo>
                    <a:pt x="322" y="88"/>
                  </a:lnTo>
                  <a:lnTo>
                    <a:pt x="313" y="117"/>
                  </a:lnTo>
                  <a:lnTo>
                    <a:pt x="313" y="136"/>
                  </a:lnTo>
                  <a:lnTo>
                    <a:pt x="313" y="156"/>
                  </a:lnTo>
                  <a:lnTo>
                    <a:pt x="332" y="166"/>
                  </a:lnTo>
                  <a:lnTo>
                    <a:pt x="342" y="175"/>
                  </a:lnTo>
                  <a:lnTo>
                    <a:pt x="332" y="185"/>
                  </a:lnTo>
                  <a:lnTo>
                    <a:pt x="332" y="214"/>
                  </a:lnTo>
                  <a:lnTo>
                    <a:pt x="313" y="254"/>
                  </a:lnTo>
                  <a:lnTo>
                    <a:pt x="332" y="263"/>
                  </a:lnTo>
                  <a:lnTo>
                    <a:pt x="332" y="273"/>
                  </a:lnTo>
                  <a:lnTo>
                    <a:pt x="303" y="273"/>
                  </a:lnTo>
                  <a:lnTo>
                    <a:pt x="313" y="293"/>
                  </a:lnTo>
                  <a:lnTo>
                    <a:pt x="313" y="302"/>
                  </a:lnTo>
                  <a:lnTo>
                    <a:pt x="322" y="322"/>
                  </a:lnTo>
                  <a:lnTo>
                    <a:pt x="342" y="312"/>
                  </a:lnTo>
                  <a:lnTo>
                    <a:pt x="361" y="312"/>
                  </a:lnTo>
                  <a:lnTo>
                    <a:pt x="371" y="341"/>
                  </a:lnTo>
                  <a:lnTo>
                    <a:pt x="352" y="341"/>
                  </a:lnTo>
                  <a:lnTo>
                    <a:pt x="342" y="361"/>
                  </a:lnTo>
                  <a:lnTo>
                    <a:pt x="332" y="361"/>
                  </a:lnTo>
                  <a:lnTo>
                    <a:pt x="342" y="371"/>
                  </a:lnTo>
                  <a:lnTo>
                    <a:pt x="342" y="400"/>
                  </a:lnTo>
                  <a:lnTo>
                    <a:pt x="332" y="400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52" y="439"/>
                  </a:lnTo>
                  <a:lnTo>
                    <a:pt x="352" y="449"/>
                  </a:lnTo>
                  <a:lnTo>
                    <a:pt x="371" y="449"/>
                  </a:lnTo>
                  <a:lnTo>
                    <a:pt x="391" y="449"/>
                  </a:lnTo>
                  <a:lnTo>
                    <a:pt x="410" y="458"/>
                  </a:lnTo>
                  <a:lnTo>
                    <a:pt x="410" y="478"/>
                  </a:lnTo>
                  <a:lnTo>
                    <a:pt x="430" y="488"/>
                  </a:lnTo>
                  <a:lnTo>
                    <a:pt x="449" y="478"/>
                  </a:lnTo>
                  <a:lnTo>
                    <a:pt x="469" y="458"/>
                  </a:lnTo>
                  <a:lnTo>
                    <a:pt x="478" y="449"/>
                  </a:lnTo>
                  <a:lnTo>
                    <a:pt x="488" y="449"/>
                  </a:lnTo>
                  <a:lnTo>
                    <a:pt x="508" y="449"/>
                  </a:lnTo>
                  <a:lnTo>
                    <a:pt x="517" y="439"/>
                  </a:lnTo>
                  <a:lnTo>
                    <a:pt x="517" y="449"/>
                  </a:lnTo>
                  <a:lnTo>
                    <a:pt x="517" y="458"/>
                  </a:lnTo>
                  <a:lnTo>
                    <a:pt x="527" y="458"/>
                  </a:lnTo>
                  <a:lnTo>
                    <a:pt x="547" y="458"/>
                  </a:lnTo>
                  <a:lnTo>
                    <a:pt x="566" y="468"/>
                  </a:lnTo>
                  <a:lnTo>
                    <a:pt x="586" y="488"/>
                  </a:lnTo>
                  <a:lnTo>
                    <a:pt x="586" y="497"/>
                  </a:lnTo>
                  <a:lnTo>
                    <a:pt x="556" y="507"/>
                  </a:lnTo>
                  <a:lnTo>
                    <a:pt x="547" y="517"/>
                  </a:lnTo>
                  <a:lnTo>
                    <a:pt x="556" y="527"/>
                  </a:lnTo>
                  <a:lnTo>
                    <a:pt x="547" y="546"/>
                  </a:lnTo>
                  <a:lnTo>
                    <a:pt x="556" y="556"/>
                  </a:lnTo>
                  <a:lnTo>
                    <a:pt x="566" y="575"/>
                  </a:lnTo>
                  <a:lnTo>
                    <a:pt x="556" y="585"/>
                  </a:lnTo>
                  <a:lnTo>
                    <a:pt x="566" y="595"/>
                  </a:lnTo>
                  <a:lnTo>
                    <a:pt x="566" y="605"/>
                  </a:lnTo>
                  <a:lnTo>
                    <a:pt x="586" y="634"/>
                  </a:lnTo>
                  <a:lnTo>
                    <a:pt x="595" y="654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66" y="683"/>
                  </a:lnTo>
                  <a:lnTo>
                    <a:pt x="547" y="693"/>
                  </a:lnTo>
                  <a:lnTo>
                    <a:pt x="527" y="693"/>
                  </a:lnTo>
                  <a:lnTo>
                    <a:pt x="498" y="683"/>
                  </a:lnTo>
                  <a:lnTo>
                    <a:pt x="488" y="663"/>
                  </a:lnTo>
                  <a:lnTo>
                    <a:pt x="478" y="634"/>
                  </a:lnTo>
                  <a:lnTo>
                    <a:pt x="469" y="644"/>
                  </a:lnTo>
                  <a:lnTo>
                    <a:pt x="449" y="654"/>
                  </a:lnTo>
                  <a:lnTo>
                    <a:pt x="420" y="654"/>
                  </a:lnTo>
                  <a:lnTo>
                    <a:pt x="430" y="634"/>
                  </a:lnTo>
                  <a:lnTo>
                    <a:pt x="400" y="615"/>
                  </a:lnTo>
                  <a:lnTo>
                    <a:pt x="391" y="595"/>
                  </a:lnTo>
                  <a:lnTo>
                    <a:pt x="391" y="585"/>
                  </a:lnTo>
                  <a:lnTo>
                    <a:pt x="391" y="575"/>
                  </a:lnTo>
                  <a:lnTo>
                    <a:pt x="400" y="556"/>
                  </a:lnTo>
                  <a:lnTo>
                    <a:pt x="391" y="536"/>
                  </a:lnTo>
                  <a:lnTo>
                    <a:pt x="361" y="517"/>
                  </a:lnTo>
                  <a:lnTo>
                    <a:pt x="342" y="527"/>
                  </a:lnTo>
                  <a:lnTo>
                    <a:pt x="332" y="527"/>
                  </a:lnTo>
                  <a:lnTo>
                    <a:pt x="313" y="517"/>
                  </a:lnTo>
                  <a:lnTo>
                    <a:pt x="322" y="497"/>
                  </a:lnTo>
                  <a:lnTo>
                    <a:pt x="293" y="488"/>
                  </a:lnTo>
                  <a:lnTo>
                    <a:pt x="273" y="488"/>
                  </a:lnTo>
                  <a:lnTo>
                    <a:pt x="273" y="468"/>
                  </a:lnTo>
                  <a:lnTo>
                    <a:pt x="254" y="478"/>
                  </a:lnTo>
                  <a:lnTo>
                    <a:pt x="244" y="468"/>
                  </a:lnTo>
                  <a:lnTo>
                    <a:pt x="234" y="478"/>
                  </a:lnTo>
                  <a:lnTo>
                    <a:pt x="205" y="488"/>
                  </a:lnTo>
                  <a:lnTo>
                    <a:pt x="186" y="468"/>
                  </a:lnTo>
                  <a:lnTo>
                    <a:pt x="186" y="458"/>
                  </a:lnTo>
                  <a:lnTo>
                    <a:pt x="176" y="449"/>
                  </a:lnTo>
                  <a:lnTo>
                    <a:pt x="176" y="390"/>
                  </a:lnTo>
                  <a:lnTo>
                    <a:pt x="166" y="390"/>
                  </a:lnTo>
                  <a:lnTo>
                    <a:pt x="147" y="410"/>
                  </a:lnTo>
                  <a:lnTo>
                    <a:pt x="137" y="419"/>
                  </a:lnTo>
                  <a:lnTo>
                    <a:pt x="117" y="429"/>
                  </a:lnTo>
                  <a:lnTo>
                    <a:pt x="117" y="419"/>
                  </a:lnTo>
                  <a:lnTo>
                    <a:pt x="127" y="410"/>
                  </a:lnTo>
                  <a:lnTo>
                    <a:pt x="127" y="390"/>
                  </a:lnTo>
                  <a:lnTo>
                    <a:pt x="127" y="351"/>
                  </a:lnTo>
                  <a:lnTo>
                    <a:pt x="117" y="341"/>
                  </a:lnTo>
                  <a:lnTo>
                    <a:pt x="127" y="312"/>
                  </a:lnTo>
                  <a:lnTo>
                    <a:pt x="127" y="293"/>
                  </a:lnTo>
                  <a:lnTo>
                    <a:pt x="108" y="283"/>
                  </a:lnTo>
                  <a:lnTo>
                    <a:pt x="88" y="263"/>
                  </a:lnTo>
                  <a:lnTo>
                    <a:pt x="78" y="263"/>
                  </a:lnTo>
                  <a:lnTo>
                    <a:pt x="78" y="224"/>
                  </a:lnTo>
                  <a:lnTo>
                    <a:pt x="49" y="214"/>
                  </a:lnTo>
                  <a:lnTo>
                    <a:pt x="30" y="214"/>
                  </a:lnTo>
                  <a:lnTo>
                    <a:pt x="20" y="214"/>
                  </a:lnTo>
                  <a:lnTo>
                    <a:pt x="0" y="205"/>
                  </a:lnTo>
                  <a:lnTo>
                    <a:pt x="20" y="185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20" y="156"/>
                  </a:lnTo>
                  <a:lnTo>
                    <a:pt x="49" y="156"/>
                  </a:lnTo>
                  <a:lnTo>
                    <a:pt x="78" y="156"/>
                  </a:lnTo>
                  <a:lnTo>
                    <a:pt x="98" y="136"/>
                  </a:lnTo>
                  <a:lnTo>
                    <a:pt x="98" y="127"/>
                  </a:lnTo>
                  <a:lnTo>
                    <a:pt x="108" y="117"/>
                  </a:lnTo>
                  <a:lnTo>
                    <a:pt x="117" y="127"/>
                  </a:lnTo>
                  <a:lnTo>
                    <a:pt x="137" y="107"/>
                  </a:lnTo>
                  <a:lnTo>
                    <a:pt x="166" y="107"/>
                  </a:lnTo>
                  <a:lnTo>
                    <a:pt x="195" y="107"/>
                  </a:lnTo>
                  <a:lnTo>
                    <a:pt x="205" y="9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7" name="Freeform 174"/>
            <p:cNvSpPr>
              <a:spLocks/>
            </p:cNvSpPr>
            <p:nvPr/>
          </p:nvSpPr>
          <p:spPr bwMode="auto">
            <a:xfrm>
              <a:off x="2908" y="2858"/>
              <a:ext cx="430" cy="324"/>
            </a:xfrm>
            <a:custGeom>
              <a:avLst/>
              <a:gdLst/>
              <a:ahLst/>
              <a:cxnLst>
                <a:cxn ang="0">
                  <a:pos x="78" y="88"/>
                </a:cxn>
                <a:cxn ang="0">
                  <a:pos x="39" y="97"/>
                </a:cxn>
                <a:cxn ang="0">
                  <a:pos x="10" y="107"/>
                </a:cxn>
                <a:cxn ang="0">
                  <a:pos x="0" y="136"/>
                </a:cxn>
                <a:cxn ang="0">
                  <a:pos x="19" y="156"/>
                </a:cxn>
                <a:cxn ang="0">
                  <a:pos x="49" y="175"/>
                </a:cxn>
                <a:cxn ang="0">
                  <a:pos x="49" y="205"/>
                </a:cxn>
                <a:cxn ang="0">
                  <a:pos x="39" y="214"/>
                </a:cxn>
                <a:cxn ang="0">
                  <a:pos x="58" y="253"/>
                </a:cxn>
                <a:cxn ang="0">
                  <a:pos x="78" y="263"/>
                </a:cxn>
                <a:cxn ang="0">
                  <a:pos x="107" y="263"/>
                </a:cxn>
                <a:cxn ang="0">
                  <a:pos x="146" y="273"/>
                </a:cxn>
                <a:cxn ang="0">
                  <a:pos x="156" y="292"/>
                </a:cxn>
                <a:cxn ang="0">
                  <a:pos x="185" y="273"/>
                </a:cxn>
                <a:cxn ang="0">
                  <a:pos x="214" y="273"/>
                </a:cxn>
                <a:cxn ang="0">
                  <a:pos x="234" y="292"/>
                </a:cxn>
                <a:cxn ang="0">
                  <a:pos x="263" y="292"/>
                </a:cxn>
                <a:cxn ang="0">
                  <a:pos x="312" y="302"/>
                </a:cxn>
                <a:cxn ang="0">
                  <a:pos x="341" y="312"/>
                </a:cxn>
                <a:cxn ang="0">
                  <a:pos x="370" y="322"/>
                </a:cxn>
                <a:cxn ang="0">
                  <a:pos x="380" y="292"/>
                </a:cxn>
                <a:cxn ang="0">
                  <a:pos x="409" y="312"/>
                </a:cxn>
                <a:cxn ang="0">
                  <a:pos x="419" y="273"/>
                </a:cxn>
                <a:cxn ang="0">
                  <a:pos x="409" y="234"/>
                </a:cxn>
                <a:cxn ang="0">
                  <a:pos x="370" y="224"/>
                </a:cxn>
                <a:cxn ang="0">
                  <a:pos x="351" y="205"/>
                </a:cxn>
                <a:cxn ang="0">
                  <a:pos x="322" y="166"/>
                </a:cxn>
                <a:cxn ang="0">
                  <a:pos x="292" y="117"/>
                </a:cxn>
                <a:cxn ang="0">
                  <a:pos x="263" y="78"/>
                </a:cxn>
                <a:cxn ang="0">
                  <a:pos x="283" y="39"/>
                </a:cxn>
                <a:cxn ang="0">
                  <a:pos x="263" y="29"/>
                </a:cxn>
                <a:cxn ang="0">
                  <a:pos x="214" y="49"/>
                </a:cxn>
                <a:cxn ang="0">
                  <a:pos x="195" y="39"/>
                </a:cxn>
                <a:cxn ang="0">
                  <a:pos x="175" y="19"/>
                </a:cxn>
                <a:cxn ang="0">
                  <a:pos x="127" y="0"/>
                </a:cxn>
                <a:cxn ang="0">
                  <a:pos x="88" y="9"/>
                </a:cxn>
                <a:cxn ang="0">
                  <a:pos x="88" y="39"/>
                </a:cxn>
                <a:cxn ang="0">
                  <a:pos x="78" y="68"/>
                </a:cxn>
              </a:cxnLst>
              <a:rect l="0" t="0" r="r" b="b"/>
              <a:pathLst>
                <a:path w="429" h="322">
                  <a:moveTo>
                    <a:pt x="78" y="68"/>
                  </a:moveTo>
                  <a:lnTo>
                    <a:pt x="78" y="88"/>
                  </a:lnTo>
                  <a:lnTo>
                    <a:pt x="49" y="88"/>
                  </a:lnTo>
                  <a:lnTo>
                    <a:pt x="39" y="97"/>
                  </a:lnTo>
                  <a:lnTo>
                    <a:pt x="29" y="117"/>
                  </a:lnTo>
                  <a:lnTo>
                    <a:pt x="10" y="107"/>
                  </a:lnTo>
                  <a:lnTo>
                    <a:pt x="10" y="127"/>
                  </a:lnTo>
                  <a:lnTo>
                    <a:pt x="0" y="136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75"/>
                  </a:lnTo>
                  <a:lnTo>
                    <a:pt x="49" y="175"/>
                  </a:lnTo>
                  <a:lnTo>
                    <a:pt x="58" y="18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39" y="214"/>
                  </a:lnTo>
                  <a:lnTo>
                    <a:pt x="49" y="244"/>
                  </a:lnTo>
                  <a:lnTo>
                    <a:pt x="58" y="253"/>
                  </a:lnTo>
                  <a:lnTo>
                    <a:pt x="68" y="273"/>
                  </a:lnTo>
                  <a:lnTo>
                    <a:pt x="78" y="263"/>
                  </a:lnTo>
                  <a:lnTo>
                    <a:pt x="97" y="253"/>
                  </a:lnTo>
                  <a:lnTo>
                    <a:pt x="107" y="26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83"/>
                  </a:lnTo>
                  <a:lnTo>
                    <a:pt x="156" y="292"/>
                  </a:lnTo>
                  <a:lnTo>
                    <a:pt x="166" y="273"/>
                  </a:lnTo>
                  <a:lnTo>
                    <a:pt x="185" y="273"/>
                  </a:lnTo>
                  <a:lnTo>
                    <a:pt x="205" y="283"/>
                  </a:lnTo>
                  <a:lnTo>
                    <a:pt x="214" y="273"/>
                  </a:lnTo>
                  <a:lnTo>
                    <a:pt x="224" y="283"/>
                  </a:lnTo>
                  <a:lnTo>
                    <a:pt x="234" y="292"/>
                  </a:lnTo>
                  <a:lnTo>
                    <a:pt x="253" y="292"/>
                  </a:lnTo>
                  <a:lnTo>
                    <a:pt x="263" y="292"/>
                  </a:lnTo>
                  <a:lnTo>
                    <a:pt x="292" y="302"/>
                  </a:lnTo>
                  <a:lnTo>
                    <a:pt x="312" y="302"/>
                  </a:lnTo>
                  <a:lnTo>
                    <a:pt x="331" y="312"/>
                  </a:lnTo>
                  <a:lnTo>
                    <a:pt x="341" y="312"/>
                  </a:lnTo>
                  <a:lnTo>
                    <a:pt x="351" y="312"/>
                  </a:lnTo>
                  <a:lnTo>
                    <a:pt x="370" y="322"/>
                  </a:lnTo>
                  <a:lnTo>
                    <a:pt x="380" y="312"/>
                  </a:lnTo>
                  <a:lnTo>
                    <a:pt x="380" y="292"/>
                  </a:lnTo>
                  <a:lnTo>
                    <a:pt x="390" y="292"/>
                  </a:lnTo>
                  <a:lnTo>
                    <a:pt x="409" y="312"/>
                  </a:lnTo>
                  <a:lnTo>
                    <a:pt x="429" y="302"/>
                  </a:lnTo>
                  <a:lnTo>
                    <a:pt x="419" y="273"/>
                  </a:lnTo>
                  <a:lnTo>
                    <a:pt x="409" y="253"/>
                  </a:lnTo>
                  <a:lnTo>
                    <a:pt x="409" y="234"/>
                  </a:lnTo>
                  <a:lnTo>
                    <a:pt x="390" y="244"/>
                  </a:lnTo>
                  <a:lnTo>
                    <a:pt x="370" y="224"/>
                  </a:lnTo>
                  <a:lnTo>
                    <a:pt x="351" y="214"/>
                  </a:lnTo>
                  <a:lnTo>
                    <a:pt x="351" y="205"/>
                  </a:lnTo>
                  <a:lnTo>
                    <a:pt x="341" y="175"/>
                  </a:lnTo>
                  <a:lnTo>
                    <a:pt x="322" y="166"/>
                  </a:lnTo>
                  <a:lnTo>
                    <a:pt x="292" y="146"/>
                  </a:lnTo>
                  <a:lnTo>
                    <a:pt x="292" y="117"/>
                  </a:lnTo>
                  <a:lnTo>
                    <a:pt x="273" y="97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39"/>
                  </a:lnTo>
                  <a:lnTo>
                    <a:pt x="283" y="19"/>
                  </a:lnTo>
                  <a:lnTo>
                    <a:pt x="263" y="29"/>
                  </a:lnTo>
                  <a:lnTo>
                    <a:pt x="224" y="39"/>
                  </a:lnTo>
                  <a:lnTo>
                    <a:pt x="214" y="49"/>
                  </a:lnTo>
                  <a:lnTo>
                    <a:pt x="205" y="49"/>
                  </a:lnTo>
                  <a:lnTo>
                    <a:pt x="195" y="39"/>
                  </a:lnTo>
                  <a:lnTo>
                    <a:pt x="195" y="19"/>
                  </a:lnTo>
                  <a:lnTo>
                    <a:pt x="175" y="19"/>
                  </a:lnTo>
                  <a:lnTo>
                    <a:pt x="156" y="0"/>
                  </a:lnTo>
                  <a:lnTo>
                    <a:pt x="127" y="0"/>
                  </a:lnTo>
                  <a:lnTo>
                    <a:pt x="107" y="9"/>
                  </a:lnTo>
                  <a:lnTo>
                    <a:pt x="88" y="9"/>
                  </a:lnTo>
                  <a:lnTo>
                    <a:pt x="78" y="29"/>
                  </a:lnTo>
                  <a:lnTo>
                    <a:pt x="88" y="39"/>
                  </a:lnTo>
                  <a:lnTo>
                    <a:pt x="78" y="49"/>
                  </a:lnTo>
                  <a:lnTo>
                    <a:pt x="78" y="6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8" name="Freeform 173"/>
            <p:cNvSpPr>
              <a:spLocks/>
            </p:cNvSpPr>
            <p:nvPr/>
          </p:nvSpPr>
          <p:spPr bwMode="auto">
            <a:xfrm>
              <a:off x="2734" y="2235"/>
              <a:ext cx="612" cy="672"/>
            </a:xfrm>
            <a:custGeom>
              <a:avLst/>
              <a:gdLst/>
              <a:ahLst/>
              <a:cxnLst>
                <a:cxn ang="0">
                  <a:pos x="615" y="517"/>
                </a:cxn>
                <a:cxn ang="0">
                  <a:pos x="605" y="576"/>
                </a:cxn>
                <a:cxn ang="0">
                  <a:pos x="546" y="576"/>
                </a:cxn>
                <a:cxn ang="0">
                  <a:pos x="488" y="605"/>
                </a:cxn>
                <a:cxn ang="0">
                  <a:pos x="488" y="644"/>
                </a:cxn>
                <a:cxn ang="0">
                  <a:pos x="439" y="654"/>
                </a:cxn>
                <a:cxn ang="0">
                  <a:pos x="390" y="674"/>
                </a:cxn>
                <a:cxn ang="0">
                  <a:pos x="371" y="664"/>
                </a:cxn>
                <a:cxn ang="0">
                  <a:pos x="351" y="634"/>
                </a:cxn>
                <a:cxn ang="0">
                  <a:pos x="303" y="615"/>
                </a:cxn>
                <a:cxn ang="0">
                  <a:pos x="264" y="634"/>
                </a:cxn>
                <a:cxn ang="0">
                  <a:pos x="244" y="595"/>
                </a:cxn>
                <a:cxn ang="0">
                  <a:pos x="205" y="586"/>
                </a:cxn>
                <a:cxn ang="0">
                  <a:pos x="156" y="556"/>
                </a:cxn>
                <a:cxn ang="0">
                  <a:pos x="107" y="517"/>
                </a:cxn>
                <a:cxn ang="0">
                  <a:pos x="78" y="527"/>
                </a:cxn>
                <a:cxn ang="0">
                  <a:pos x="59" y="508"/>
                </a:cxn>
                <a:cxn ang="0">
                  <a:pos x="39" y="488"/>
                </a:cxn>
                <a:cxn ang="0">
                  <a:pos x="10" y="469"/>
                </a:cxn>
                <a:cxn ang="0">
                  <a:pos x="10" y="430"/>
                </a:cxn>
                <a:cxn ang="0">
                  <a:pos x="39" y="400"/>
                </a:cxn>
                <a:cxn ang="0">
                  <a:pos x="68" y="391"/>
                </a:cxn>
                <a:cxn ang="0">
                  <a:pos x="98" y="400"/>
                </a:cxn>
                <a:cxn ang="0">
                  <a:pos x="127" y="361"/>
                </a:cxn>
                <a:cxn ang="0">
                  <a:pos x="156" y="342"/>
                </a:cxn>
                <a:cxn ang="0">
                  <a:pos x="166" y="361"/>
                </a:cxn>
                <a:cxn ang="0">
                  <a:pos x="195" y="361"/>
                </a:cxn>
                <a:cxn ang="0">
                  <a:pos x="215" y="322"/>
                </a:cxn>
                <a:cxn ang="0">
                  <a:pos x="254" y="332"/>
                </a:cxn>
                <a:cxn ang="0">
                  <a:pos x="293" y="293"/>
                </a:cxn>
                <a:cxn ang="0">
                  <a:pos x="273" y="273"/>
                </a:cxn>
                <a:cxn ang="0">
                  <a:pos x="303" y="215"/>
                </a:cxn>
                <a:cxn ang="0">
                  <a:pos x="322" y="176"/>
                </a:cxn>
                <a:cxn ang="0">
                  <a:pos x="381" y="137"/>
                </a:cxn>
                <a:cxn ang="0">
                  <a:pos x="439" y="88"/>
                </a:cxn>
                <a:cxn ang="0">
                  <a:pos x="459" y="49"/>
                </a:cxn>
                <a:cxn ang="0">
                  <a:pos x="478" y="20"/>
                </a:cxn>
                <a:cxn ang="0">
                  <a:pos x="507" y="0"/>
                </a:cxn>
                <a:cxn ang="0">
                  <a:pos x="517" y="20"/>
                </a:cxn>
                <a:cxn ang="0">
                  <a:pos x="546" y="49"/>
                </a:cxn>
                <a:cxn ang="0">
                  <a:pos x="605" y="137"/>
                </a:cxn>
                <a:cxn ang="0">
                  <a:pos x="605" y="186"/>
                </a:cxn>
                <a:cxn ang="0">
                  <a:pos x="595" y="225"/>
                </a:cxn>
                <a:cxn ang="0">
                  <a:pos x="595" y="293"/>
                </a:cxn>
                <a:cxn ang="0">
                  <a:pos x="566" y="361"/>
                </a:cxn>
                <a:cxn ang="0">
                  <a:pos x="615" y="410"/>
                </a:cxn>
                <a:cxn ang="0">
                  <a:pos x="605" y="459"/>
                </a:cxn>
              </a:cxnLst>
              <a:rect l="0" t="0" r="r" b="b"/>
              <a:pathLst>
                <a:path w="615" h="674">
                  <a:moveTo>
                    <a:pt x="615" y="498"/>
                  </a:moveTo>
                  <a:lnTo>
                    <a:pt x="615" y="517"/>
                  </a:lnTo>
                  <a:lnTo>
                    <a:pt x="605" y="547"/>
                  </a:lnTo>
                  <a:lnTo>
                    <a:pt x="605" y="576"/>
                  </a:lnTo>
                  <a:lnTo>
                    <a:pt x="566" y="586"/>
                  </a:lnTo>
                  <a:lnTo>
                    <a:pt x="546" y="576"/>
                  </a:lnTo>
                  <a:lnTo>
                    <a:pt x="498" y="576"/>
                  </a:lnTo>
                  <a:lnTo>
                    <a:pt x="488" y="605"/>
                  </a:lnTo>
                  <a:lnTo>
                    <a:pt x="488" y="625"/>
                  </a:lnTo>
                  <a:lnTo>
                    <a:pt x="488" y="644"/>
                  </a:lnTo>
                  <a:lnTo>
                    <a:pt x="449" y="644"/>
                  </a:lnTo>
                  <a:lnTo>
                    <a:pt x="439" y="654"/>
                  </a:lnTo>
                  <a:lnTo>
                    <a:pt x="400" y="664"/>
                  </a:lnTo>
                  <a:lnTo>
                    <a:pt x="390" y="674"/>
                  </a:lnTo>
                  <a:lnTo>
                    <a:pt x="381" y="674"/>
                  </a:lnTo>
                  <a:lnTo>
                    <a:pt x="371" y="664"/>
                  </a:lnTo>
                  <a:lnTo>
                    <a:pt x="371" y="644"/>
                  </a:lnTo>
                  <a:lnTo>
                    <a:pt x="351" y="634"/>
                  </a:lnTo>
                  <a:lnTo>
                    <a:pt x="322" y="625"/>
                  </a:lnTo>
                  <a:lnTo>
                    <a:pt x="303" y="615"/>
                  </a:lnTo>
                  <a:lnTo>
                    <a:pt x="283" y="625"/>
                  </a:lnTo>
                  <a:lnTo>
                    <a:pt x="264" y="634"/>
                  </a:lnTo>
                  <a:lnTo>
                    <a:pt x="254" y="615"/>
                  </a:lnTo>
                  <a:lnTo>
                    <a:pt x="244" y="595"/>
                  </a:lnTo>
                  <a:lnTo>
                    <a:pt x="225" y="576"/>
                  </a:lnTo>
                  <a:lnTo>
                    <a:pt x="205" y="586"/>
                  </a:lnTo>
                  <a:lnTo>
                    <a:pt x="195" y="586"/>
                  </a:lnTo>
                  <a:lnTo>
                    <a:pt x="156" y="556"/>
                  </a:lnTo>
                  <a:lnTo>
                    <a:pt x="127" y="537"/>
                  </a:lnTo>
                  <a:lnTo>
                    <a:pt x="107" y="517"/>
                  </a:lnTo>
                  <a:lnTo>
                    <a:pt x="88" y="527"/>
                  </a:lnTo>
                  <a:lnTo>
                    <a:pt x="78" y="527"/>
                  </a:lnTo>
                  <a:lnTo>
                    <a:pt x="78" y="517"/>
                  </a:lnTo>
                  <a:lnTo>
                    <a:pt x="59" y="508"/>
                  </a:lnTo>
                  <a:lnTo>
                    <a:pt x="39" y="498"/>
                  </a:lnTo>
                  <a:lnTo>
                    <a:pt x="39" y="488"/>
                  </a:lnTo>
                  <a:lnTo>
                    <a:pt x="20" y="469"/>
                  </a:lnTo>
                  <a:lnTo>
                    <a:pt x="10" y="469"/>
                  </a:lnTo>
                  <a:lnTo>
                    <a:pt x="0" y="449"/>
                  </a:lnTo>
                  <a:lnTo>
                    <a:pt x="10" y="430"/>
                  </a:lnTo>
                  <a:lnTo>
                    <a:pt x="29" y="420"/>
                  </a:lnTo>
                  <a:lnTo>
                    <a:pt x="39" y="400"/>
                  </a:lnTo>
                  <a:lnTo>
                    <a:pt x="49" y="391"/>
                  </a:lnTo>
                  <a:lnTo>
                    <a:pt x="68" y="391"/>
                  </a:lnTo>
                  <a:lnTo>
                    <a:pt x="68" y="400"/>
                  </a:lnTo>
                  <a:lnTo>
                    <a:pt x="98" y="400"/>
                  </a:lnTo>
                  <a:lnTo>
                    <a:pt x="107" y="391"/>
                  </a:lnTo>
                  <a:lnTo>
                    <a:pt x="127" y="361"/>
                  </a:lnTo>
                  <a:lnTo>
                    <a:pt x="146" y="352"/>
                  </a:lnTo>
                  <a:lnTo>
                    <a:pt x="156" y="342"/>
                  </a:lnTo>
                  <a:lnTo>
                    <a:pt x="166" y="352"/>
                  </a:lnTo>
                  <a:lnTo>
                    <a:pt x="166" y="361"/>
                  </a:lnTo>
                  <a:lnTo>
                    <a:pt x="186" y="371"/>
                  </a:lnTo>
                  <a:lnTo>
                    <a:pt x="195" y="361"/>
                  </a:lnTo>
                  <a:lnTo>
                    <a:pt x="205" y="342"/>
                  </a:lnTo>
                  <a:lnTo>
                    <a:pt x="215" y="322"/>
                  </a:lnTo>
                  <a:lnTo>
                    <a:pt x="244" y="322"/>
                  </a:lnTo>
                  <a:lnTo>
                    <a:pt x="254" y="332"/>
                  </a:lnTo>
                  <a:lnTo>
                    <a:pt x="273" y="313"/>
                  </a:lnTo>
                  <a:lnTo>
                    <a:pt x="293" y="293"/>
                  </a:lnTo>
                  <a:lnTo>
                    <a:pt x="283" y="293"/>
                  </a:lnTo>
                  <a:lnTo>
                    <a:pt x="273" y="273"/>
                  </a:lnTo>
                  <a:lnTo>
                    <a:pt x="303" y="234"/>
                  </a:lnTo>
                  <a:lnTo>
                    <a:pt x="303" y="215"/>
                  </a:lnTo>
                  <a:lnTo>
                    <a:pt x="303" y="195"/>
                  </a:lnTo>
                  <a:lnTo>
                    <a:pt x="322" y="176"/>
                  </a:lnTo>
                  <a:lnTo>
                    <a:pt x="351" y="156"/>
                  </a:lnTo>
                  <a:lnTo>
                    <a:pt x="381" y="137"/>
                  </a:lnTo>
                  <a:lnTo>
                    <a:pt x="420" y="127"/>
                  </a:lnTo>
                  <a:lnTo>
                    <a:pt x="439" y="88"/>
                  </a:lnTo>
                  <a:lnTo>
                    <a:pt x="449" y="59"/>
                  </a:lnTo>
                  <a:lnTo>
                    <a:pt x="459" y="49"/>
                  </a:lnTo>
                  <a:lnTo>
                    <a:pt x="478" y="30"/>
                  </a:lnTo>
                  <a:lnTo>
                    <a:pt x="478" y="20"/>
                  </a:lnTo>
                  <a:lnTo>
                    <a:pt x="507" y="0"/>
                  </a:lnTo>
                  <a:lnTo>
                    <a:pt x="517" y="0"/>
                  </a:lnTo>
                  <a:lnTo>
                    <a:pt x="517" y="20"/>
                  </a:lnTo>
                  <a:lnTo>
                    <a:pt x="517" y="39"/>
                  </a:lnTo>
                  <a:lnTo>
                    <a:pt x="546" y="49"/>
                  </a:lnTo>
                  <a:lnTo>
                    <a:pt x="585" y="88"/>
                  </a:lnTo>
                  <a:lnTo>
                    <a:pt x="605" y="137"/>
                  </a:lnTo>
                  <a:lnTo>
                    <a:pt x="605" y="156"/>
                  </a:lnTo>
                  <a:lnTo>
                    <a:pt x="605" y="186"/>
                  </a:lnTo>
                  <a:lnTo>
                    <a:pt x="595" y="215"/>
                  </a:lnTo>
                  <a:lnTo>
                    <a:pt x="595" y="225"/>
                  </a:lnTo>
                  <a:lnTo>
                    <a:pt x="585" y="264"/>
                  </a:lnTo>
                  <a:lnTo>
                    <a:pt x="595" y="293"/>
                  </a:lnTo>
                  <a:lnTo>
                    <a:pt x="576" y="332"/>
                  </a:lnTo>
                  <a:lnTo>
                    <a:pt x="566" y="361"/>
                  </a:lnTo>
                  <a:lnTo>
                    <a:pt x="585" y="391"/>
                  </a:lnTo>
                  <a:lnTo>
                    <a:pt x="615" y="410"/>
                  </a:lnTo>
                  <a:lnTo>
                    <a:pt x="615" y="420"/>
                  </a:lnTo>
                  <a:lnTo>
                    <a:pt x="605" y="459"/>
                  </a:lnTo>
                  <a:lnTo>
                    <a:pt x="615" y="49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9" name="Freeform 172"/>
            <p:cNvSpPr>
              <a:spLocks/>
            </p:cNvSpPr>
            <p:nvPr/>
          </p:nvSpPr>
          <p:spPr bwMode="auto">
            <a:xfrm>
              <a:off x="2598" y="2167"/>
              <a:ext cx="609" cy="517"/>
            </a:xfrm>
            <a:custGeom>
              <a:avLst/>
              <a:gdLst>
                <a:gd name="T0" fmla="*/ 0 w 614"/>
                <a:gd name="T1" fmla="*/ 361 h 517"/>
                <a:gd name="T2" fmla="*/ 19 w 614"/>
                <a:gd name="T3" fmla="*/ 351 h 517"/>
                <a:gd name="T4" fmla="*/ 58 w 614"/>
                <a:gd name="T5" fmla="*/ 332 h 517"/>
                <a:gd name="T6" fmla="*/ 58 w 614"/>
                <a:gd name="T7" fmla="*/ 293 h 517"/>
                <a:gd name="T8" fmla="*/ 117 w 614"/>
                <a:gd name="T9" fmla="*/ 224 h 517"/>
                <a:gd name="T10" fmla="*/ 136 w 614"/>
                <a:gd name="T11" fmla="*/ 185 h 517"/>
                <a:gd name="T12" fmla="*/ 156 w 614"/>
                <a:gd name="T13" fmla="*/ 195 h 517"/>
                <a:gd name="T14" fmla="*/ 195 w 614"/>
                <a:gd name="T15" fmla="*/ 205 h 517"/>
                <a:gd name="T16" fmla="*/ 204 w 614"/>
                <a:gd name="T17" fmla="*/ 195 h 517"/>
                <a:gd name="T18" fmla="*/ 253 w 614"/>
                <a:gd name="T19" fmla="*/ 215 h 517"/>
                <a:gd name="T20" fmla="*/ 282 w 614"/>
                <a:gd name="T21" fmla="*/ 224 h 517"/>
                <a:gd name="T22" fmla="*/ 302 w 614"/>
                <a:gd name="T23" fmla="*/ 205 h 517"/>
                <a:gd name="T24" fmla="*/ 273 w 614"/>
                <a:gd name="T25" fmla="*/ 185 h 517"/>
                <a:gd name="T26" fmla="*/ 282 w 614"/>
                <a:gd name="T27" fmla="*/ 156 h 517"/>
                <a:gd name="T28" fmla="*/ 292 w 614"/>
                <a:gd name="T29" fmla="*/ 146 h 517"/>
                <a:gd name="T30" fmla="*/ 302 w 614"/>
                <a:gd name="T31" fmla="*/ 137 h 517"/>
                <a:gd name="T32" fmla="*/ 307 w 614"/>
                <a:gd name="T33" fmla="*/ 107 h 517"/>
                <a:gd name="T34" fmla="*/ 311 w 614"/>
                <a:gd name="T35" fmla="*/ 107 h 517"/>
                <a:gd name="T36" fmla="*/ 330 w 614"/>
                <a:gd name="T37" fmla="*/ 88 h 517"/>
                <a:gd name="T38" fmla="*/ 330 w 614"/>
                <a:gd name="T39" fmla="*/ 68 h 517"/>
                <a:gd name="T40" fmla="*/ 330 w 614"/>
                <a:gd name="T41" fmla="*/ 49 h 517"/>
                <a:gd name="T42" fmla="*/ 350 w 614"/>
                <a:gd name="T43" fmla="*/ 29 h 517"/>
                <a:gd name="T44" fmla="*/ 389 w 614"/>
                <a:gd name="T45" fmla="*/ 0 h 517"/>
                <a:gd name="T46" fmla="*/ 418 w 614"/>
                <a:gd name="T47" fmla="*/ 10 h 517"/>
                <a:gd name="T48" fmla="*/ 457 w 614"/>
                <a:gd name="T49" fmla="*/ 29 h 517"/>
                <a:gd name="T50" fmla="*/ 486 w 614"/>
                <a:gd name="T51" fmla="*/ 29 h 517"/>
                <a:gd name="T52" fmla="*/ 564 w 614"/>
                <a:gd name="T53" fmla="*/ 68 h 517"/>
                <a:gd name="T54" fmla="*/ 603 w 614"/>
                <a:gd name="T55" fmla="*/ 98 h 517"/>
                <a:gd name="T56" fmla="*/ 584 w 614"/>
                <a:gd name="T57" fmla="*/ 137 h 517"/>
                <a:gd name="T58" fmla="*/ 545 w 614"/>
                <a:gd name="T59" fmla="*/ 195 h 517"/>
                <a:gd name="T60" fmla="*/ 476 w 614"/>
                <a:gd name="T61" fmla="*/ 234 h 517"/>
                <a:gd name="T62" fmla="*/ 428 w 614"/>
                <a:gd name="T63" fmla="*/ 263 h 517"/>
                <a:gd name="T64" fmla="*/ 428 w 614"/>
                <a:gd name="T65" fmla="*/ 302 h 517"/>
                <a:gd name="T66" fmla="*/ 408 w 614"/>
                <a:gd name="T67" fmla="*/ 361 h 517"/>
                <a:gd name="T68" fmla="*/ 398 w 614"/>
                <a:gd name="T69" fmla="*/ 381 h 517"/>
                <a:gd name="T70" fmla="*/ 369 w 614"/>
                <a:gd name="T71" fmla="*/ 390 h 517"/>
                <a:gd name="T72" fmla="*/ 330 w 614"/>
                <a:gd name="T73" fmla="*/ 410 h 517"/>
                <a:gd name="T74" fmla="*/ 311 w 614"/>
                <a:gd name="T75" fmla="*/ 439 h 517"/>
                <a:gd name="T76" fmla="*/ 302 w 614"/>
                <a:gd name="T77" fmla="*/ 420 h 517"/>
                <a:gd name="T78" fmla="*/ 282 w 614"/>
                <a:gd name="T79" fmla="*/ 420 h 517"/>
                <a:gd name="T80" fmla="*/ 243 w 614"/>
                <a:gd name="T81" fmla="*/ 459 h 517"/>
                <a:gd name="T82" fmla="*/ 204 w 614"/>
                <a:gd name="T83" fmla="*/ 468 h 517"/>
                <a:gd name="T84" fmla="*/ 185 w 614"/>
                <a:gd name="T85" fmla="*/ 459 h 517"/>
                <a:gd name="T86" fmla="*/ 165 w 614"/>
                <a:gd name="T87" fmla="*/ 488 h 517"/>
                <a:gd name="T88" fmla="*/ 146 w 614"/>
                <a:gd name="T89" fmla="*/ 517 h 517"/>
                <a:gd name="T90" fmla="*/ 107 w 614"/>
                <a:gd name="T91" fmla="*/ 478 h 517"/>
                <a:gd name="T92" fmla="*/ 87 w 614"/>
                <a:gd name="T93" fmla="*/ 459 h 517"/>
                <a:gd name="T94" fmla="*/ 97 w 614"/>
                <a:gd name="T95" fmla="*/ 449 h 517"/>
                <a:gd name="T96" fmla="*/ 58 w 614"/>
                <a:gd name="T97" fmla="*/ 439 h 517"/>
                <a:gd name="T98" fmla="*/ 19 w 614"/>
                <a:gd name="T99" fmla="*/ 420 h 5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14"/>
                <a:gd name="T151" fmla="*/ 0 h 517"/>
                <a:gd name="T152" fmla="*/ 614 w 614"/>
                <a:gd name="T153" fmla="*/ 517 h 51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14" h="517">
                  <a:moveTo>
                    <a:pt x="0" y="390"/>
                  </a:moveTo>
                  <a:lnTo>
                    <a:pt x="0" y="361"/>
                  </a:lnTo>
                  <a:lnTo>
                    <a:pt x="9" y="341"/>
                  </a:lnTo>
                  <a:lnTo>
                    <a:pt x="19" y="351"/>
                  </a:lnTo>
                  <a:lnTo>
                    <a:pt x="29" y="341"/>
                  </a:lnTo>
                  <a:lnTo>
                    <a:pt x="58" y="332"/>
                  </a:lnTo>
                  <a:lnTo>
                    <a:pt x="39" y="312"/>
                  </a:lnTo>
                  <a:lnTo>
                    <a:pt x="58" y="293"/>
                  </a:lnTo>
                  <a:lnTo>
                    <a:pt x="97" y="254"/>
                  </a:lnTo>
                  <a:lnTo>
                    <a:pt x="117" y="224"/>
                  </a:lnTo>
                  <a:lnTo>
                    <a:pt x="126" y="205"/>
                  </a:lnTo>
                  <a:lnTo>
                    <a:pt x="136" y="185"/>
                  </a:lnTo>
                  <a:lnTo>
                    <a:pt x="146" y="176"/>
                  </a:lnTo>
                  <a:lnTo>
                    <a:pt x="156" y="195"/>
                  </a:lnTo>
                  <a:lnTo>
                    <a:pt x="175" y="215"/>
                  </a:lnTo>
                  <a:lnTo>
                    <a:pt x="195" y="205"/>
                  </a:lnTo>
                  <a:lnTo>
                    <a:pt x="204" y="195"/>
                  </a:lnTo>
                  <a:lnTo>
                    <a:pt x="234" y="215"/>
                  </a:lnTo>
                  <a:lnTo>
                    <a:pt x="253" y="215"/>
                  </a:lnTo>
                  <a:lnTo>
                    <a:pt x="273" y="224"/>
                  </a:lnTo>
                  <a:lnTo>
                    <a:pt x="282" y="224"/>
                  </a:lnTo>
                  <a:lnTo>
                    <a:pt x="292" y="215"/>
                  </a:lnTo>
                  <a:lnTo>
                    <a:pt x="302" y="205"/>
                  </a:lnTo>
                  <a:lnTo>
                    <a:pt x="292" y="195"/>
                  </a:lnTo>
                  <a:lnTo>
                    <a:pt x="273" y="185"/>
                  </a:lnTo>
                  <a:lnTo>
                    <a:pt x="273" y="176"/>
                  </a:lnTo>
                  <a:lnTo>
                    <a:pt x="282" y="156"/>
                  </a:lnTo>
                  <a:lnTo>
                    <a:pt x="282" y="146"/>
                  </a:lnTo>
                  <a:lnTo>
                    <a:pt x="292" y="146"/>
                  </a:lnTo>
                  <a:lnTo>
                    <a:pt x="302" y="137"/>
                  </a:lnTo>
                  <a:lnTo>
                    <a:pt x="302" y="127"/>
                  </a:lnTo>
                  <a:lnTo>
                    <a:pt x="312" y="107"/>
                  </a:lnTo>
                  <a:lnTo>
                    <a:pt x="322" y="107"/>
                  </a:lnTo>
                  <a:lnTo>
                    <a:pt x="341" y="107"/>
                  </a:lnTo>
                  <a:lnTo>
                    <a:pt x="341" y="88"/>
                  </a:lnTo>
                  <a:lnTo>
                    <a:pt x="331" y="78"/>
                  </a:lnTo>
                  <a:lnTo>
                    <a:pt x="341" y="68"/>
                  </a:lnTo>
                  <a:lnTo>
                    <a:pt x="341" y="59"/>
                  </a:lnTo>
                  <a:lnTo>
                    <a:pt x="341" y="49"/>
                  </a:lnTo>
                  <a:lnTo>
                    <a:pt x="351" y="39"/>
                  </a:lnTo>
                  <a:lnTo>
                    <a:pt x="361" y="29"/>
                  </a:lnTo>
                  <a:lnTo>
                    <a:pt x="361" y="10"/>
                  </a:lnTo>
                  <a:lnTo>
                    <a:pt x="400" y="0"/>
                  </a:lnTo>
                  <a:lnTo>
                    <a:pt x="409" y="20"/>
                  </a:lnTo>
                  <a:lnTo>
                    <a:pt x="429" y="10"/>
                  </a:lnTo>
                  <a:lnTo>
                    <a:pt x="439" y="29"/>
                  </a:lnTo>
                  <a:lnTo>
                    <a:pt x="468" y="29"/>
                  </a:lnTo>
                  <a:lnTo>
                    <a:pt x="487" y="20"/>
                  </a:lnTo>
                  <a:lnTo>
                    <a:pt x="497" y="29"/>
                  </a:lnTo>
                  <a:lnTo>
                    <a:pt x="536" y="49"/>
                  </a:lnTo>
                  <a:lnTo>
                    <a:pt x="575" y="68"/>
                  </a:lnTo>
                  <a:lnTo>
                    <a:pt x="614" y="88"/>
                  </a:lnTo>
                  <a:lnTo>
                    <a:pt x="614" y="98"/>
                  </a:lnTo>
                  <a:lnTo>
                    <a:pt x="604" y="117"/>
                  </a:lnTo>
                  <a:lnTo>
                    <a:pt x="595" y="137"/>
                  </a:lnTo>
                  <a:lnTo>
                    <a:pt x="575" y="156"/>
                  </a:lnTo>
                  <a:lnTo>
                    <a:pt x="556" y="195"/>
                  </a:lnTo>
                  <a:lnTo>
                    <a:pt x="517" y="205"/>
                  </a:lnTo>
                  <a:lnTo>
                    <a:pt x="487" y="234"/>
                  </a:lnTo>
                  <a:lnTo>
                    <a:pt x="458" y="244"/>
                  </a:lnTo>
                  <a:lnTo>
                    <a:pt x="439" y="263"/>
                  </a:lnTo>
                  <a:lnTo>
                    <a:pt x="439" y="283"/>
                  </a:lnTo>
                  <a:lnTo>
                    <a:pt x="439" y="302"/>
                  </a:lnTo>
                  <a:lnTo>
                    <a:pt x="409" y="341"/>
                  </a:lnTo>
                  <a:lnTo>
                    <a:pt x="419" y="361"/>
                  </a:lnTo>
                  <a:lnTo>
                    <a:pt x="429" y="371"/>
                  </a:lnTo>
                  <a:lnTo>
                    <a:pt x="409" y="381"/>
                  </a:lnTo>
                  <a:lnTo>
                    <a:pt x="390" y="400"/>
                  </a:lnTo>
                  <a:lnTo>
                    <a:pt x="380" y="390"/>
                  </a:lnTo>
                  <a:lnTo>
                    <a:pt x="351" y="390"/>
                  </a:lnTo>
                  <a:lnTo>
                    <a:pt x="341" y="410"/>
                  </a:lnTo>
                  <a:lnTo>
                    <a:pt x="341" y="429"/>
                  </a:lnTo>
                  <a:lnTo>
                    <a:pt x="322" y="439"/>
                  </a:lnTo>
                  <a:lnTo>
                    <a:pt x="302" y="429"/>
                  </a:lnTo>
                  <a:lnTo>
                    <a:pt x="302" y="420"/>
                  </a:lnTo>
                  <a:lnTo>
                    <a:pt x="302" y="410"/>
                  </a:lnTo>
                  <a:lnTo>
                    <a:pt x="282" y="420"/>
                  </a:lnTo>
                  <a:lnTo>
                    <a:pt x="263" y="429"/>
                  </a:lnTo>
                  <a:lnTo>
                    <a:pt x="243" y="459"/>
                  </a:lnTo>
                  <a:lnTo>
                    <a:pt x="243" y="468"/>
                  </a:lnTo>
                  <a:lnTo>
                    <a:pt x="204" y="468"/>
                  </a:lnTo>
                  <a:lnTo>
                    <a:pt x="204" y="459"/>
                  </a:lnTo>
                  <a:lnTo>
                    <a:pt x="185" y="459"/>
                  </a:lnTo>
                  <a:lnTo>
                    <a:pt x="175" y="468"/>
                  </a:lnTo>
                  <a:lnTo>
                    <a:pt x="165" y="488"/>
                  </a:lnTo>
                  <a:lnTo>
                    <a:pt x="146" y="498"/>
                  </a:lnTo>
                  <a:lnTo>
                    <a:pt x="146" y="517"/>
                  </a:lnTo>
                  <a:lnTo>
                    <a:pt x="117" y="517"/>
                  </a:lnTo>
                  <a:lnTo>
                    <a:pt x="107" y="478"/>
                  </a:lnTo>
                  <a:lnTo>
                    <a:pt x="87" y="468"/>
                  </a:lnTo>
                  <a:lnTo>
                    <a:pt x="87" y="459"/>
                  </a:lnTo>
                  <a:lnTo>
                    <a:pt x="87" y="449"/>
                  </a:lnTo>
                  <a:lnTo>
                    <a:pt x="97" y="449"/>
                  </a:lnTo>
                  <a:lnTo>
                    <a:pt x="87" y="439"/>
                  </a:lnTo>
                  <a:lnTo>
                    <a:pt x="58" y="439"/>
                  </a:lnTo>
                  <a:lnTo>
                    <a:pt x="39" y="429"/>
                  </a:lnTo>
                  <a:lnTo>
                    <a:pt x="19" y="420"/>
                  </a:lnTo>
                  <a:lnTo>
                    <a:pt x="0" y="390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0" name="Freeform 171"/>
            <p:cNvSpPr>
              <a:spLocks/>
            </p:cNvSpPr>
            <p:nvPr/>
          </p:nvSpPr>
          <p:spPr bwMode="auto">
            <a:xfrm>
              <a:off x="2030" y="790"/>
              <a:ext cx="663" cy="675"/>
            </a:xfrm>
            <a:custGeom>
              <a:avLst/>
              <a:gdLst/>
              <a:ahLst/>
              <a:cxnLst>
                <a:cxn ang="0">
                  <a:pos x="488" y="469"/>
                </a:cxn>
                <a:cxn ang="0">
                  <a:pos x="449" y="449"/>
                </a:cxn>
                <a:cxn ang="0">
                  <a:pos x="439" y="478"/>
                </a:cxn>
                <a:cxn ang="0">
                  <a:pos x="410" y="508"/>
                </a:cxn>
                <a:cxn ang="0">
                  <a:pos x="400" y="547"/>
                </a:cxn>
                <a:cxn ang="0">
                  <a:pos x="419" y="576"/>
                </a:cxn>
                <a:cxn ang="0">
                  <a:pos x="361" y="634"/>
                </a:cxn>
                <a:cxn ang="0">
                  <a:pos x="351" y="654"/>
                </a:cxn>
                <a:cxn ang="0">
                  <a:pos x="302" y="674"/>
                </a:cxn>
                <a:cxn ang="0">
                  <a:pos x="283" y="654"/>
                </a:cxn>
                <a:cxn ang="0">
                  <a:pos x="283" y="634"/>
                </a:cxn>
                <a:cxn ang="0">
                  <a:pos x="263" y="615"/>
                </a:cxn>
                <a:cxn ang="0">
                  <a:pos x="195" y="605"/>
                </a:cxn>
                <a:cxn ang="0">
                  <a:pos x="195" y="576"/>
                </a:cxn>
                <a:cxn ang="0">
                  <a:pos x="156" y="537"/>
                </a:cxn>
                <a:cxn ang="0">
                  <a:pos x="136" y="498"/>
                </a:cxn>
                <a:cxn ang="0">
                  <a:pos x="127" y="527"/>
                </a:cxn>
                <a:cxn ang="0">
                  <a:pos x="68" y="517"/>
                </a:cxn>
                <a:cxn ang="0">
                  <a:pos x="19" y="371"/>
                </a:cxn>
                <a:cxn ang="0">
                  <a:pos x="19" y="332"/>
                </a:cxn>
                <a:cxn ang="0">
                  <a:pos x="19" y="303"/>
                </a:cxn>
                <a:cxn ang="0">
                  <a:pos x="117" y="322"/>
                </a:cxn>
                <a:cxn ang="0">
                  <a:pos x="214" y="332"/>
                </a:cxn>
                <a:cxn ang="0">
                  <a:pos x="253" y="322"/>
                </a:cxn>
                <a:cxn ang="0">
                  <a:pos x="283" y="254"/>
                </a:cxn>
                <a:cxn ang="0">
                  <a:pos x="283" y="215"/>
                </a:cxn>
                <a:cxn ang="0">
                  <a:pos x="312" y="205"/>
                </a:cxn>
                <a:cxn ang="0">
                  <a:pos x="351" y="195"/>
                </a:cxn>
                <a:cxn ang="0">
                  <a:pos x="361" y="166"/>
                </a:cxn>
                <a:cxn ang="0">
                  <a:pos x="400" y="137"/>
                </a:cxn>
                <a:cxn ang="0">
                  <a:pos x="419" y="127"/>
                </a:cxn>
                <a:cxn ang="0">
                  <a:pos x="449" y="98"/>
                </a:cxn>
                <a:cxn ang="0">
                  <a:pos x="478" y="88"/>
                </a:cxn>
                <a:cxn ang="0">
                  <a:pos x="517" y="78"/>
                </a:cxn>
                <a:cxn ang="0">
                  <a:pos x="556" y="39"/>
                </a:cxn>
                <a:cxn ang="0">
                  <a:pos x="566" y="10"/>
                </a:cxn>
                <a:cxn ang="0">
                  <a:pos x="624" y="88"/>
                </a:cxn>
                <a:cxn ang="0">
                  <a:pos x="605" y="127"/>
                </a:cxn>
                <a:cxn ang="0">
                  <a:pos x="653" y="137"/>
                </a:cxn>
                <a:cxn ang="0">
                  <a:pos x="663" y="176"/>
                </a:cxn>
                <a:cxn ang="0">
                  <a:pos x="653" y="166"/>
                </a:cxn>
                <a:cxn ang="0">
                  <a:pos x="653" y="186"/>
                </a:cxn>
                <a:cxn ang="0">
                  <a:pos x="644" y="195"/>
                </a:cxn>
                <a:cxn ang="0">
                  <a:pos x="653" y="254"/>
                </a:cxn>
                <a:cxn ang="0">
                  <a:pos x="644" y="273"/>
                </a:cxn>
                <a:cxn ang="0">
                  <a:pos x="614" y="273"/>
                </a:cxn>
                <a:cxn ang="0">
                  <a:pos x="595" y="293"/>
                </a:cxn>
                <a:cxn ang="0">
                  <a:pos x="566" y="293"/>
                </a:cxn>
                <a:cxn ang="0">
                  <a:pos x="556" y="322"/>
                </a:cxn>
                <a:cxn ang="0">
                  <a:pos x="517" y="342"/>
                </a:cxn>
                <a:cxn ang="0">
                  <a:pos x="507" y="352"/>
                </a:cxn>
                <a:cxn ang="0">
                  <a:pos x="507" y="371"/>
                </a:cxn>
                <a:cxn ang="0">
                  <a:pos x="497" y="391"/>
                </a:cxn>
                <a:cxn ang="0">
                  <a:pos x="517" y="400"/>
                </a:cxn>
                <a:cxn ang="0">
                  <a:pos x="507" y="439"/>
                </a:cxn>
                <a:cxn ang="0">
                  <a:pos x="497" y="469"/>
                </a:cxn>
              </a:cxnLst>
              <a:rect l="0" t="0" r="r" b="b"/>
              <a:pathLst>
                <a:path w="663" h="674">
                  <a:moveTo>
                    <a:pt x="497" y="469"/>
                  </a:moveTo>
                  <a:lnTo>
                    <a:pt x="488" y="469"/>
                  </a:lnTo>
                  <a:lnTo>
                    <a:pt x="458" y="478"/>
                  </a:lnTo>
                  <a:lnTo>
                    <a:pt x="449" y="449"/>
                  </a:lnTo>
                  <a:lnTo>
                    <a:pt x="429" y="469"/>
                  </a:lnTo>
                  <a:lnTo>
                    <a:pt x="439" y="478"/>
                  </a:lnTo>
                  <a:lnTo>
                    <a:pt x="419" y="498"/>
                  </a:lnTo>
                  <a:lnTo>
                    <a:pt x="410" y="508"/>
                  </a:lnTo>
                  <a:lnTo>
                    <a:pt x="400" y="527"/>
                  </a:lnTo>
                  <a:lnTo>
                    <a:pt x="400" y="547"/>
                  </a:lnTo>
                  <a:lnTo>
                    <a:pt x="410" y="566"/>
                  </a:lnTo>
                  <a:lnTo>
                    <a:pt x="419" y="576"/>
                  </a:lnTo>
                  <a:lnTo>
                    <a:pt x="419" y="595"/>
                  </a:lnTo>
                  <a:lnTo>
                    <a:pt x="361" y="634"/>
                  </a:lnTo>
                  <a:lnTo>
                    <a:pt x="351" y="634"/>
                  </a:lnTo>
                  <a:lnTo>
                    <a:pt x="351" y="654"/>
                  </a:lnTo>
                  <a:lnTo>
                    <a:pt x="312" y="664"/>
                  </a:lnTo>
                  <a:lnTo>
                    <a:pt x="302" y="674"/>
                  </a:lnTo>
                  <a:lnTo>
                    <a:pt x="292" y="664"/>
                  </a:lnTo>
                  <a:lnTo>
                    <a:pt x="283" y="654"/>
                  </a:lnTo>
                  <a:lnTo>
                    <a:pt x="283" y="644"/>
                  </a:lnTo>
                  <a:lnTo>
                    <a:pt x="283" y="634"/>
                  </a:lnTo>
                  <a:lnTo>
                    <a:pt x="263" y="634"/>
                  </a:lnTo>
                  <a:lnTo>
                    <a:pt x="263" y="615"/>
                  </a:lnTo>
                  <a:lnTo>
                    <a:pt x="253" y="615"/>
                  </a:lnTo>
                  <a:lnTo>
                    <a:pt x="195" y="605"/>
                  </a:lnTo>
                  <a:lnTo>
                    <a:pt x="185" y="595"/>
                  </a:lnTo>
                  <a:lnTo>
                    <a:pt x="195" y="576"/>
                  </a:lnTo>
                  <a:lnTo>
                    <a:pt x="185" y="566"/>
                  </a:lnTo>
                  <a:lnTo>
                    <a:pt x="156" y="537"/>
                  </a:lnTo>
                  <a:lnTo>
                    <a:pt x="156" y="527"/>
                  </a:lnTo>
                  <a:lnTo>
                    <a:pt x="136" y="498"/>
                  </a:lnTo>
                  <a:lnTo>
                    <a:pt x="117" y="498"/>
                  </a:lnTo>
                  <a:lnTo>
                    <a:pt x="127" y="527"/>
                  </a:lnTo>
                  <a:lnTo>
                    <a:pt x="107" y="527"/>
                  </a:lnTo>
                  <a:lnTo>
                    <a:pt x="68" y="517"/>
                  </a:lnTo>
                  <a:lnTo>
                    <a:pt x="0" y="391"/>
                  </a:lnTo>
                  <a:lnTo>
                    <a:pt x="19" y="371"/>
                  </a:lnTo>
                  <a:lnTo>
                    <a:pt x="19" y="352"/>
                  </a:lnTo>
                  <a:lnTo>
                    <a:pt x="19" y="332"/>
                  </a:lnTo>
                  <a:lnTo>
                    <a:pt x="10" y="322"/>
                  </a:lnTo>
                  <a:lnTo>
                    <a:pt x="19" y="303"/>
                  </a:lnTo>
                  <a:lnTo>
                    <a:pt x="78" y="322"/>
                  </a:lnTo>
                  <a:lnTo>
                    <a:pt x="117" y="322"/>
                  </a:lnTo>
                  <a:lnTo>
                    <a:pt x="166" y="322"/>
                  </a:lnTo>
                  <a:lnTo>
                    <a:pt x="214" y="332"/>
                  </a:lnTo>
                  <a:lnTo>
                    <a:pt x="244" y="322"/>
                  </a:lnTo>
                  <a:lnTo>
                    <a:pt x="253" y="322"/>
                  </a:lnTo>
                  <a:lnTo>
                    <a:pt x="263" y="293"/>
                  </a:lnTo>
                  <a:lnTo>
                    <a:pt x="283" y="254"/>
                  </a:lnTo>
                  <a:lnTo>
                    <a:pt x="283" y="225"/>
                  </a:lnTo>
                  <a:lnTo>
                    <a:pt x="283" y="215"/>
                  </a:lnTo>
                  <a:lnTo>
                    <a:pt x="292" y="205"/>
                  </a:lnTo>
                  <a:lnTo>
                    <a:pt x="312" y="205"/>
                  </a:lnTo>
                  <a:lnTo>
                    <a:pt x="341" y="205"/>
                  </a:lnTo>
                  <a:lnTo>
                    <a:pt x="351" y="195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400" y="147"/>
                  </a:lnTo>
                  <a:lnTo>
                    <a:pt x="400" y="137"/>
                  </a:lnTo>
                  <a:lnTo>
                    <a:pt x="410" y="127"/>
                  </a:lnTo>
                  <a:lnTo>
                    <a:pt x="419" y="127"/>
                  </a:lnTo>
                  <a:lnTo>
                    <a:pt x="439" y="108"/>
                  </a:lnTo>
                  <a:lnTo>
                    <a:pt x="449" y="98"/>
                  </a:lnTo>
                  <a:lnTo>
                    <a:pt x="468" y="88"/>
                  </a:lnTo>
                  <a:lnTo>
                    <a:pt x="478" y="88"/>
                  </a:lnTo>
                  <a:lnTo>
                    <a:pt x="497" y="88"/>
                  </a:lnTo>
                  <a:lnTo>
                    <a:pt x="517" y="78"/>
                  </a:lnTo>
                  <a:lnTo>
                    <a:pt x="536" y="59"/>
                  </a:lnTo>
                  <a:lnTo>
                    <a:pt x="556" y="39"/>
                  </a:lnTo>
                  <a:lnTo>
                    <a:pt x="566" y="20"/>
                  </a:lnTo>
                  <a:lnTo>
                    <a:pt x="566" y="10"/>
                  </a:lnTo>
                  <a:lnTo>
                    <a:pt x="575" y="0"/>
                  </a:lnTo>
                  <a:lnTo>
                    <a:pt x="624" y="88"/>
                  </a:lnTo>
                  <a:lnTo>
                    <a:pt x="614" y="108"/>
                  </a:lnTo>
                  <a:lnTo>
                    <a:pt x="605" y="127"/>
                  </a:lnTo>
                  <a:lnTo>
                    <a:pt x="614" y="137"/>
                  </a:lnTo>
                  <a:lnTo>
                    <a:pt x="653" y="137"/>
                  </a:lnTo>
                  <a:lnTo>
                    <a:pt x="663" y="156"/>
                  </a:lnTo>
                  <a:lnTo>
                    <a:pt x="663" y="176"/>
                  </a:lnTo>
                  <a:lnTo>
                    <a:pt x="653" y="166"/>
                  </a:lnTo>
                  <a:lnTo>
                    <a:pt x="653" y="176"/>
                  </a:lnTo>
                  <a:lnTo>
                    <a:pt x="653" y="186"/>
                  </a:lnTo>
                  <a:lnTo>
                    <a:pt x="644" y="186"/>
                  </a:lnTo>
                  <a:lnTo>
                    <a:pt x="644" y="195"/>
                  </a:lnTo>
                  <a:lnTo>
                    <a:pt x="653" y="225"/>
                  </a:lnTo>
                  <a:lnTo>
                    <a:pt x="653" y="254"/>
                  </a:lnTo>
                  <a:lnTo>
                    <a:pt x="634" y="264"/>
                  </a:lnTo>
                  <a:lnTo>
                    <a:pt x="644" y="273"/>
                  </a:lnTo>
                  <a:lnTo>
                    <a:pt x="624" y="283"/>
                  </a:lnTo>
                  <a:lnTo>
                    <a:pt x="614" y="273"/>
                  </a:lnTo>
                  <a:lnTo>
                    <a:pt x="595" y="293"/>
                  </a:lnTo>
                  <a:lnTo>
                    <a:pt x="575" y="293"/>
                  </a:lnTo>
                  <a:lnTo>
                    <a:pt x="566" y="293"/>
                  </a:lnTo>
                  <a:lnTo>
                    <a:pt x="556" y="322"/>
                  </a:lnTo>
                  <a:lnTo>
                    <a:pt x="536" y="342"/>
                  </a:lnTo>
                  <a:lnTo>
                    <a:pt x="517" y="342"/>
                  </a:lnTo>
                  <a:lnTo>
                    <a:pt x="527" y="352"/>
                  </a:lnTo>
                  <a:lnTo>
                    <a:pt x="507" y="352"/>
                  </a:lnTo>
                  <a:lnTo>
                    <a:pt x="497" y="352"/>
                  </a:lnTo>
                  <a:lnTo>
                    <a:pt x="507" y="371"/>
                  </a:lnTo>
                  <a:lnTo>
                    <a:pt x="497" y="391"/>
                  </a:lnTo>
                  <a:lnTo>
                    <a:pt x="507" y="400"/>
                  </a:lnTo>
                  <a:lnTo>
                    <a:pt x="517" y="400"/>
                  </a:lnTo>
                  <a:lnTo>
                    <a:pt x="507" y="420"/>
                  </a:lnTo>
                  <a:lnTo>
                    <a:pt x="507" y="439"/>
                  </a:lnTo>
                  <a:lnTo>
                    <a:pt x="488" y="459"/>
                  </a:lnTo>
                  <a:lnTo>
                    <a:pt x="497" y="46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1" name="Freeform 170"/>
            <p:cNvSpPr>
              <a:spLocks/>
            </p:cNvSpPr>
            <p:nvPr/>
          </p:nvSpPr>
          <p:spPr bwMode="auto">
            <a:xfrm>
              <a:off x="2584" y="1533"/>
              <a:ext cx="1318" cy="722"/>
            </a:xfrm>
            <a:custGeom>
              <a:avLst/>
              <a:gdLst/>
              <a:ahLst/>
              <a:cxnLst>
                <a:cxn ang="0">
                  <a:pos x="371" y="644"/>
                </a:cxn>
                <a:cxn ang="0">
                  <a:pos x="439" y="644"/>
                </a:cxn>
                <a:cxn ang="0">
                  <a:pos x="488" y="654"/>
                </a:cxn>
                <a:cxn ang="0">
                  <a:pos x="585" y="702"/>
                </a:cxn>
                <a:cxn ang="0">
                  <a:pos x="673" y="673"/>
                </a:cxn>
                <a:cxn ang="0">
                  <a:pos x="702" y="644"/>
                </a:cxn>
                <a:cxn ang="0">
                  <a:pos x="741" y="566"/>
                </a:cxn>
                <a:cxn ang="0">
                  <a:pos x="819" y="507"/>
                </a:cxn>
                <a:cxn ang="0">
                  <a:pos x="839" y="458"/>
                </a:cxn>
                <a:cxn ang="0">
                  <a:pos x="868" y="419"/>
                </a:cxn>
                <a:cxn ang="0">
                  <a:pos x="897" y="439"/>
                </a:cxn>
                <a:cxn ang="0">
                  <a:pos x="966" y="419"/>
                </a:cxn>
                <a:cxn ang="0">
                  <a:pos x="1044" y="410"/>
                </a:cxn>
                <a:cxn ang="0">
                  <a:pos x="1092" y="380"/>
                </a:cxn>
                <a:cxn ang="0">
                  <a:pos x="1122" y="361"/>
                </a:cxn>
                <a:cxn ang="0">
                  <a:pos x="1190" y="361"/>
                </a:cxn>
                <a:cxn ang="0">
                  <a:pos x="1239" y="341"/>
                </a:cxn>
                <a:cxn ang="0">
                  <a:pos x="1307" y="322"/>
                </a:cxn>
                <a:cxn ang="0">
                  <a:pos x="1307" y="312"/>
                </a:cxn>
                <a:cxn ang="0">
                  <a:pos x="1307" y="273"/>
                </a:cxn>
                <a:cxn ang="0">
                  <a:pos x="1307" y="224"/>
                </a:cxn>
                <a:cxn ang="0">
                  <a:pos x="1258" y="214"/>
                </a:cxn>
                <a:cxn ang="0">
                  <a:pos x="1229" y="244"/>
                </a:cxn>
                <a:cxn ang="0">
                  <a:pos x="1190" y="234"/>
                </a:cxn>
                <a:cxn ang="0">
                  <a:pos x="1151" y="253"/>
                </a:cxn>
                <a:cxn ang="0">
                  <a:pos x="1092" y="273"/>
                </a:cxn>
                <a:cxn ang="0">
                  <a:pos x="1005" y="234"/>
                </a:cxn>
                <a:cxn ang="0">
                  <a:pos x="848" y="127"/>
                </a:cxn>
                <a:cxn ang="0">
                  <a:pos x="780" y="68"/>
                </a:cxn>
                <a:cxn ang="0">
                  <a:pos x="712" y="19"/>
                </a:cxn>
                <a:cxn ang="0">
                  <a:pos x="595" y="10"/>
                </a:cxn>
                <a:cxn ang="0">
                  <a:pos x="478" y="58"/>
                </a:cxn>
                <a:cxn ang="0">
                  <a:pos x="497" y="107"/>
                </a:cxn>
                <a:cxn ang="0">
                  <a:pos x="449" y="175"/>
                </a:cxn>
                <a:cxn ang="0">
                  <a:pos x="410" y="136"/>
                </a:cxn>
                <a:cxn ang="0">
                  <a:pos x="371" y="136"/>
                </a:cxn>
                <a:cxn ang="0">
                  <a:pos x="341" y="97"/>
                </a:cxn>
                <a:cxn ang="0">
                  <a:pos x="283" y="49"/>
                </a:cxn>
                <a:cxn ang="0">
                  <a:pos x="253" y="49"/>
                </a:cxn>
                <a:cxn ang="0">
                  <a:pos x="263" y="136"/>
                </a:cxn>
                <a:cxn ang="0">
                  <a:pos x="224" y="166"/>
                </a:cxn>
                <a:cxn ang="0">
                  <a:pos x="214" y="195"/>
                </a:cxn>
                <a:cxn ang="0">
                  <a:pos x="166" y="224"/>
                </a:cxn>
                <a:cxn ang="0">
                  <a:pos x="156" y="263"/>
                </a:cxn>
                <a:cxn ang="0">
                  <a:pos x="205" y="283"/>
                </a:cxn>
                <a:cxn ang="0">
                  <a:pos x="253" y="253"/>
                </a:cxn>
                <a:cxn ang="0">
                  <a:pos x="234" y="341"/>
                </a:cxn>
                <a:cxn ang="0">
                  <a:pos x="195" y="390"/>
                </a:cxn>
                <a:cxn ang="0">
                  <a:pos x="146" y="410"/>
                </a:cxn>
                <a:cxn ang="0">
                  <a:pos x="88" y="400"/>
                </a:cxn>
                <a:cxn ang="0">
                  <a:pos x="58" y="468"/>
                </a:cxn>
                <a:cxn ang="0">
                  <a:pos x="10" y="488"/>
                </a:cxn>
                <a:cxn ang="0">
                  <a:pos x="19" y="527"/>
                </a:cxn>
                <a:cxn ang="0">
                  <a:pos x="19" y="566"/>
                </a:cxn>
                <a:cxn ang="0">
                  <a:pos x="10" y="595"/>
                </a:cxn>
                <a:cxn ang="0">
                  <a:pos x="88" y="566"/>
                </a:cxn>
                <a:cxn ang="0">
                  <a:pos x="146" y="585"/>
                </a:cxn>
                <a:cxn ang="0">
                  <a:pos x="195" y="595"/>
                </a:cxn>
                <a:cxn ang="0">
                  <a:pos x="224" y="556"/>
                </a:cxn>
                <a:cxn ang="0">
                  <a:pos x="263" y="546"/>
                </a:cxn>
                <a:cxn ang="0">
                  <a:pos x="322" y="575"/>
                </a:cxn>
              </a:cxnLst>
              <a:rect l="0" t="0" r="r" b="b"/>
              <a:pathLst>
                <a:path w="1317" h="722">
                  <a:moveTo>
                    <a:pt x="322" y="605"/>
                  </a:moveTo>
                  <a:lnTo>
                    <a:pt x="341" y="595"/>
                  </a:lnTo>
                  <a:lnTo>
                    <a:pt x="371" y="644"/>
                  </a:lnTo>
                  <a:lnTo>
                    <a:pt x="410" y="634"/>
                  </a:lnTo>
                  <a:lnTo>
                    <a:pt x="419" y="654"/>
                  </a:lnTo>
                  <a:lnTo>
                    <a:pt x="439" y="644"/>
                  </a:lnTo>
                  <a:lnTo>
                    <a:pt x="449" y="663"/>
                  </a:lnTo>
                  <a:lnTo>
                    <a:pt x="478" y="663"/>
                  </a:lnTo>
                  <a:lnTo>
                    <a:pt x="488" y="654"/>
                  </a:lnTo>
                  <a:lnTo>
                    <a:pt x="507" y="663"/>
                  </a:lnTo>
                  <a:lnTo>
                    <a:pt x="546" y="683"/>
                  </a:lnTo>
                  <a:lnTo>
                    <a:pt x="585" y="702"/>
                  </a:lnTo>
                  <a:lnTo>
                    <a:pt x="624" y="722"/>
                  </a:lnTo>
                  <a:lnTo>
                    <a:pt x="653" y="702"/>
                  </a:lnTo>
                  <a:lnTo>
                    <a:pt x="673" y="673"/>
                  </a:lnTo>
                  <a:lnTo>
                    <a:pt x="692" y="663"/>
                  </a:lnTo>
                  <a:lnTo>
                    <a:pt x="712" y="654"/>
                  </a:lnTo>
                  <a:lnTo>
                    <a:pt x="702" y="644"/>
                  </a:lnTo>
                  <a:lnTo>
                    <a:pt x="722" y="614"/>
                  </a:lnTo>
                  <a:lnTo>
                    <a:pt x="722" y="585"/>
                  </a:lnTo>
                  <a:lnTo>
                    <a:pt x="741" y="566"/>
                  </a:lnTo>
                  <a:lnTo>
                    <a:pt x="780" y="536"/>
                  </a:lnTo>
                  <a:lnTo>
                    <a:pt x="800" y="527"/>
                  </a:lnTo>
                  <a:lnTo>
                    <a:pt x="819" y="507"/>
                  </a:lnTo>
                  <a:lnTo>
                    <a:pt x="819" y="488"/>
                  </a:lnTo>
                  <a:lnTo>
                    <a:pt x="839" y="468"/>
                  </a:lnTo>
                  <a:lnTo>
                    <a:pt x="839" y="458"/>
                  </a:lnTo>
                  <a:lnTo>
                    <a:pt x="848" y="449"/>
                  </a:lnTo>
                  <a:lnTo>
                    <a:pt x="848" y="429"/>
                  </a:lnTo>
                  <a:lnTo>
                    <a:pt x="868" y="419"/>
                  </a:lnTo>
                  <a:lnTo>
                    <a:pt x="888" y="419"/>
                  </a:lnTo>
                  <a:lnTo>
                    <a:pt x="897" y="429"/>
                  </a:lnTo>
                  <a:lnTo>
                    <a:pt x="897" y="439"/>
                  </a:lnTo>
                  <a:lnTo>
                    <a:pt x="936" y="439"/>
                  </a:lnTo>
                  <a:lnTo>
                    <a:pt x="946" y="439"/>
                  </a:lnTo>
                  <a:lnTo>
                    <a:pt x="966" y="419"/>
                  </a:lnTo>
                  <a:lnTo>
                    <a:pt x="995" y="410"/>
                  </a:lnTo>
                  <a:lnTo>
                    <a:pt x="1024" y="410"/>
                  </a:lnTo>
                  <a:lnTo>
                    <a:pt x="1044" y="410"/>
                  </a:lnTo>
                  <a:lnTo>
                    <a:pt x="1063" y="400"/>
                  </a:lnTo>
                  <a:lnTo>
                    <a:pt x="1073" y="400"/>
                  </a:lnTo>
                  <a:lnTo>
                    <a:pt x="1092" y="380"/>
                  </a:lnTo>
                  <a:lnTo>
                    <a:pt x="1102" y="380"/>
                  </a:lnTo>
                  <a:lnTo>
                    <a:pt x="1122" y="371"/>
                  </a:lnTo>
                  <a:lnTo>
                    <a:pt x="1122" y="361"/>
                  </a:lnTo>
                  <a:lnTo>
                    <a:pt x="1141" y="361"/>
                  </a:lnTo>
                  <a:lnTo>
                    <a:pt x="1161" y="361"/>
                  </a:lnTo>
                  <a:lnTo>
                    <a:pt x="1190" y="361"/>
                  </a:lnTo>
                  <a:lnTo>
                    <a:pt x="1209" y="361"/>
                  </a:lnTo>
                  <a:lnTo>
                    <a:pt x="1229" y="351"/>
                  </a:lnTo>
                  <a:lnTo>
                    <a:pt x="1239" y="341"/>
                  </a:lnTo>
                  <a:lnTo>
                    <a:pt x="1258" y="341"/>
                  </a:lnTo>
                  <a:lnTo>
                    <a:pt x="1287" y="332"/>
                  </a:lnTo>
                  <a:lnTo>
                    <a:pt x="1307" y="322"/>
                  </a:lnTo>
                  <a:lnTo>
                    <a:pt x="1287" y="312"/>
                  </a:lnTo>
                  <a:lnTo>
                    <a:pt x="1307" y="312"/>
                  </a:lnTo>
                  <a:lnTo>
                    <a:pt x="1317" y="302"/>
                  </a:lnTo>
                  <a:lnTo>
                    <a:pt x="1317" y="293"/>
                  </a:lnTo>
                  <a:lnTo>
                    <a:pt x="1307" y="273"/>
                  </a:lnTo>
                  <a:lnTo>
                    <a:pt x="1297" y="253"/>
                  </a:lnTo>
                  <a:lnTo>
                    <a:pt x="1297" y="244"/>
                  </a:lnTo>
                  <a:lnTo>
                    <a:pt x="1307" y="224"/>
                  </a:lnTo>
                  <a:lnTo>
                    <a:pt x="1297" y="214"/>
                  </a:lnTo>
                  <a:lnTo>
                    <a:pt x="1268" y="205"/>
                  </a:lnTo>
                  <a:lnTo>
                    <a:pt x="1258" y="214"/>
                  </a:lnTo>
                  <a:lnTo>
                    <a:pt x="1248" y="224"/>
                  </a:lnTo>
                  <a:lnTo>
                    <a:pt x="1239" y="224"/>
                  </a:lnTo>
                  <a:lnTo>
                    <a:pt x="1229" y="244"/>
                  </a:lnTo>
                  <a:lnTo>
                    <a:pt x="1209" y="244"/>
                  </a:lnTo>
                  <a:lnTo>
                    <a:pt x="1200" y="234"/>
                  </a:lnTo>
                  <a:lnTo>
                    <a:pt x="1190" y="234"/>
                  </a:lnTo>
                  <a:lnTo>
                    <a:pt x="1170" y="234"/>
                  </a:lnTo>
                  <a:lnTo>
                    <a:pt x="1161" y="253"/>
                  </a:lnTo>
                  <a:lnTo>
                    <a:pt x="1151" y="253"/>
                  </a:lnTo>
                  <a:lnTo>
                    <a:pt x="1131" y="263"/>
                  </a:lnTo>
                  <a:lnTo>
                    <a:pt x="1112" y="263"/>
                  </a:lnTo>
                  <a:lnTo>
                    <a:pt x="1092" y="273"/>
                  </a:lnTo>
                  <a:lnTo>
                    <a:pt x="1083" y="273"/>
                  </a:lnTo>
                  <a:lnTo>
                    <a:pt x="1053" y="263"/>
                  </a:lnTo>
                  <a:lnTo>
                    <a:pt x="1005" y="234"/>
                  </a:lnTo>
                  <a:lnTo>
                    <a:pt x="956" y="195"/>
                  </a:lnTo>
                  <a:lnTo>
                    <a:pt x="907" y="166"/>
                  </a:lnTo>
                  <a:lnTo>
                    <a:pt x="848" y="127"/>
                  </a:lnTo>
                  <a:lnTo>
                    <a:pt x="839" y="107"/>
                  </a:lnTo>
                  <a:lnTo>
                    <a:pt x="819" y="97"/>
                  </a:lnTo>
                  <a:lnTo>
                    <a:pt x="780" y="68"/>
                  </a:lnTo>
                  <a:lnTo>
                    <a:pt x="761" y="49"/>
                  </a:lnTo>
                  <a:lnTo>
                    <a:pt x="741" y="19"/>
                  </a:lnTo>
                  <a:lnTo>
                    <a:pt x="712" y="19"/>
                  </a:lnTo>
                  <a:lnTo>
                    <a:pt x="692" y="19"/>
                  </a:lnTo>
                  <a:lnTo>
                    <a:pt x="663" y="19"/>
                  </a:lnTo>
                  <a:lnTo>
                    <a:pt x="595" y="10"/>
                  </a:lnTo>
                  <a:lnTo>
                    <a:pt x="546" y="0"/>
                  </a:lnTo>
                  <a:lnTo>
                    <a:pt x="497" y="49"/>
                  </a:lnTo>
                  <a:lnTo>
                    <a:pt x="478" y="58"/>
                  </a:lnTo>
                  <a:lnTo>
                    <a:pt x="468" y="78"/>
                  </a:lnTo>
                  <a:lnTo>
                    <a:pt x="497" y="88"/>
                  </a:lnTo>
                  <a:lnTo>
                    <a:pt x="497" y="107"/>
                  </a:lnTo>
                  <a:lnTo>
                    <a:pt x="478" y="136"/>
                  </a:lnTo>
                  <a:lnTo>
                    <a:pt x="478" y="156"/>
                  </a:lnTo>
                  <a:lnTo>
                    <a:pt x="449" y="175"/>
                  </a:lnTo>
                  <a:lnTo>
                    <a:pt x="439" y="146"/>
                  </a:lnTo>
                  <a:lnTo>
                    <a:pt x="429" y="156"/>
                  </a:lnTo>
                  <a:lnTo>
                    <a:pt x="410" y="136"/>
                  </a:lnTo>
                  <a:lnTo>
                    <a:pt x="390" y="136"/>
                  </a:lnTo>
                  <a:lnTo>
                    <a:pt x="380" y="136"/>
                  </a:lnTo>
                  <a:lnTo>
                    <a:pt x="371" y="136"/>
                  </a:lnTo>
                  <a:lnTo>
                    <a:pt x="361" y="127"/>
                  </a:lnTo>
                  <a:lnTo>
                    <a:pt x="361" y="117"/>
                  </a:lnTo>
                  <a:lnTo>
                    <a:pt x="341" y="97"/>
                  </a:lnTo>
                  <a:lnTo>
                    <a:pt x="322" y="78"/>
                  </a:lnTo>
                  <a:lnTo>
                    <a:pt x="292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53" y="39"/>
                  </a:lnTo>
                  <a:lnTo>
                    <a:pt x="253" y="49"/>
                  </a:lnTo>
                  <a:lnTo>
                    <a:pt x="253" y="68"/>
                  </a:lnTo>
                  <a:lnTo>
                    <a:pt x="263" y="107"/>
                  </a:lnTo>
                  <a:lnTo>
                    <a:pt x="263" y="136"/>
                  </a:lnTo>
                  <a:lnTo>
                    <a:pt x="253" y="146"/>
                  </a:lnTo>
                  <a:lnTo>
                    <a:pt x="234" y="156"/>
                  </a:lnTo>
                  <a:lnTo>
                    <a:pt x="224" y="166"/>
                  </a:lnTo>
                  <a:lnTo>
                    <a:pt x="244" y="185"/>
                  </a:lnTo>
                  <a:lnTo>
                    <a:pt x="244" y="195"/>
                  </a:lnTo>
                  <a:lnTo>
                    <a:pt x="214" y="195"/>
                  </a:lnTo>
                  <a:lnTo>
                    <a:pt x="195" y="205"/>
                  </a:lnTo>
                  <a:lnTo>
                    <a:pt x="185" y="224"/>
                  </a:lnTo>
                  <a:lnTo>
                    <a:pt x="166" y="224"/>
                  </a:lnTo>
                  <a:lnTo>
                    <a:pt x="166" y="244"/>
                  </a:lnTo>
                  <a:lnTo>
                    <a:pt x="166" y="253"/>
                  </a:lnTo>
                  <a:lnTo>
                    <a:pt x="156" y="263"/>
                  </a:lnTo>
                  <a:lnTo>
                    <a:pt x="166" y="273"/>
                  </a:lnTo>
                  <a:lnTo>
                    <a:pt x="175" y="263"/>
                  </a:lnTo>
                  <a:lnTo>
                    <a:pt x="205" y="283"/>
                  </a:lnTo>
                  <a:lnTo>
                    <a:pt x="234" y="263"/>
                  </a:lnTo>
                  <a:lnTo>
                    <a:pt x="234" y="273"/>
                  </a:lnTo>
                  <a:lnTo>
                    <a:pt x="253" y="253"/>
                  </a:lnTo>
                  <a:lnTo>
                    <a:pt x="292" y="293"/>
                  </a:lnTo>
                  <a:lnTo>
                    <a:pt x="283" y="312"/>
                  </a:lnTo>
                  <a:lnTo>
                    <a:pt x="234" y="341"/>
                  </a:lnTo>
                  <a:lnTo>
                    <a:pt x="195" y="351"/>
                  </a:lnTo>
                  <a:lnTo>
                    <a:pt x="175" y="371"/>
                  </a:lnTo>
                  <a:lnTo>
                    <a:pt x="195" y="390"/>
                  </a:lnTo>
                  <a:lnTo>
                    <a:pt x="166" y="419"/>
                  </a:lnTo>
                  <a:lnTo>
                    <a:pt x="146" y="419"/>
                  </a:lnTo>
                  <a:lnTo>
                    <a:pt x="146" y="410"/>
                  </a:lnTo>
                  <a:lnTo>
                    <a:pt x="127" y="400"/>
                  </a:lnTo>
                  <a:lnTo>
                    <a:pt x="97" y="400"/>
                  </a:lnTo>
                  <a:lnTo>
                    <a:pt x="88" y="400"/>
                  </a:lnTo>
                  <a:lnTo>
                    <a:pt x="68" y="429"/>
                  </a:lnTo>
                  <a:lnTo>
                    <a:pt x="58" y="449"/>
                  </a:lnTo>
                  <a:lnTo>
                    <a:pt x="58" y="468"/>
                  </a:lnTo>
                  <a:lnTo>
                    <a:pt x="49" y="468"/>
                  </a:lnTo>
                  <a:lnTo>
                    <a:pt x="39" y="468"/>
                  </a:lnTo>
                  <a:lnTo>
                    <a:pt x="10" y="488"/>
                  </a:lnTo>
                  <a:lnTo>
                    <a:pt x="10" y="497"/>
                  </a:lnTo>
                  <a:lnTo>
                    <a:pt x="10" y="507"/>
                  </a:lnTo>
                  <a:lnTo>
                    <a:pt x="19" y="527"/>
                  </a:lnTo>
                  <a:lnTo>
                    <a:pt x="10" y="546"/>
                  </a:lnTo>
                  <a:lnTo>
                    <a:pt x="19" y="566"/>
                  </a:lnTo>
                  <a:lnTo>
                    <a:pt x="0" y="575"/>
                  </a:lnTo>
                  <a:lnTo>
                    <a:pt x="10" y="585"/>
                  </a:lnTo>
                  <a:lnTo>
                    <a:pt x="10" y="595"/>
                  </a:lnTo>
                  <a:lnTo>
                    <a:pt x="29" y="575"/>
                  </a:lnTo>
                  <a:lnTo>
                    <a:pt x="58" y="556"/>
                  </a:lnTo>
                  <a:lnTo>
                    <a:pt x="88" y="566"/>
                  </a:lnTo>
                  <a:lnTo>
                    <a:pt x="117" y="585"/>
                  </a:lnTo>
                  <a:lnTo>
                    <a:pt x="136" y="575"/>
                  </a:lnTo>
                  <a:lnTo>
                    <a:pt x="146" y="585"/>
                  </a:lnTo>
                  <a:lnTo>
                    <a:pt x="146" y="605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05" y="614"/>
                  </a:lnTo>
                  <a:lnTo>
                    <a:pt x="224" y="595"/>
                  </a:lnTo>
                  <a:lnTo>
                    <a:pt x="224" y="556"/>
                  </a:lnTo>
                  <a:lnTo>
                    <a:pt x="234" y="546"/>
                  </a:lnTo>
                  <a:lnTo>
                    <a:pt x="253" y="556"/>
                  </a:lnTo>
                  <a:lnTo>
                    <a:pt x="263" y="546"/>
                  </a:lnTo>
                  <a:lnTo>
                    <a:pt x="273" y="556"/>
                  </a:lnTo>
                  <a:lnTo>
                    <a:pt x="292" y="546"/>
                  </a:lnTo>
                  <a:lnTo>
                    <a:pt x="322" y="575"/>
                  </a:lnTo>
                  <a:lnTo>
                    <a:pt x="312" y="585"/>
                  </a:lnTo>
                  <a:lnTo>
                    <a:pt x="322" y="60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2" name="Freeform 169"/>
            <p:cNvSpPr>
              <a:spLocks/>
            </p:cNvSpPr>
            <p:nvPr/>
          </p:nvSpPr>
          <p:spPr bwMode="auto">
            <a:xfrm>
              <a:off x="2294" y="1180"/>
              <a:ext cx="839" cy="771"/>
            </a:xfrm>
            <a:custGeom>
              <a:avLst/>
              <a:gdLst/>
              <a:ahLst/>
              <a:cxnLst>
                <a:cxn ang="0">
                  <a:pos x="449" y="761"/>
                </a:cxn>
                <a:cxn ang="0">
                  <a:pos x="478" y="722"/>
                </a:cxn>
                <a:cxn ang="0">
                  <a:pos x="585" y="644"/>
                </a:cxn>
                <a:cxn ang="0">
                  <a:pos x="498" y="634"/>
                </a:cxn>
                <a:cxn ang="0">
                  <a:pos x="459" y="604"/>
                </a:cxn>
                <a:cxn ang="0">
                  <a:pos x="488" y="556"/>
                </a:cxn>
                <a:cxn ang="0">
                  <a:pos x="517" y="517"/>
                </a:cxn>
                <a:cxn ang="0">
                  <a:pos x="556" y="458"/>
                </a:cxn>
                <a:cxn ang="0">
                  <a:pos x="566" y="390"/>
                </a:cxn>
                <a:cxn ang="0">
                  <a:pos x="634" y="448"/>
                </a:cxn>
                <a:cxn ang="0">
                  <a:pos x="673" y="487"/>
                </a:cxn>
                <a:cxn ang="0">
                  <a:pos x="732" y="497"/>
                </a:cxn>
                <a:cxn ang="0">
                  <a:pos x="790" y="458"/>
                </a:cxn>
                <a:cxn ang="0">
                  <a:pos x="790" y="400"/>
                </a:cxn>
                <a:cxn ang="0">
                  <a:pos x="771" y="331"/>
                </a:cxn>
                <a:cxn ang="0">
                  <a:pos x="742" y="263"/>
                </a:cxn>
                <a:cxn ang="0">
                  <a:pos x="693" y="185"/>
                </a:cxn>
                <a:cxn ang="0">
                  <a:pos x="673" y="185"/>
                </a:cxn>
                <a:cxn ang="0">
                  <a:pos x="664" y="165"/>
                </a:cxn>
                <a:cxn ang="0">
                  <a:pos x="654" y="107"/>
                </a:cxn>
                <a:cxn ang="0">
                  <a:pos x="576" y="97"/>
                </a:cxn>
                <a:cxn ang="0">
                  <a:pos x="498" y="78"/>
                </a:cxn>
                <a:cxn ang="0">
                  <a:pos x="449" y="156"/>
                </a:cxn>
                <a:cxn ang="0">
                  <a:pos x="420" y="156"/>
                </a:cxn>
                <a:cxn ang="0">
                  <a:pos x="390" y="136"/>
                </a:cxn>
                <a:cxn ang="0">
                  <a:pos x="361" y="87"/>
                </a:cxn>
                <a:cxn ang="0">
                  <a:pos x="371" y="78"/>
                </a:cxn>
                <a:cxn ang="0">
                  <a:pos x="371" y="9"/>
                </a:cxn>
                <a:cxn ang="0">
                  <a:pos x="332" y="9"/>
                </a:cxn>
                <a:cxn ang="0">
                  <a:pos x="303" y="48"/>
                </a:cxn>
                <a:cxn ang="0">
                  <a:pos x="312" y="107"/>
                </a:cxn>
                <a:cxn ang="0">
                  <a:pos x="264" y="126"/>
                </a:cxn>
                <a:cxn ang="0">
                  <a:pos x="234" y="78"/>
                </a:cxn>
                <a:cxn ang="0">
                  <a:pos x="186" y="58"/>
                </a:cxn>
                <a:cxn ang="0">
                  <a:pos x="147" y="117"/>
                </a:cxn>
                <a:cxn ang="0">
                  <a:pos x="156" y="185"/>
                </a:cxn>
                <a:cxn ang="0">
                  <a:pos x="88" y="243"/>
                </a:cxn>
                <a:cxn ang="0">
                  <a:pos x="20" y="302"/>
                </a:cxn>
                <a:cxn ang="0">
                  <a:pos x="0" y="380"/>
                </a:cxn>
                <a:cxn ang="0">
                  <a:pos x="49" y="439"/>
                </a:cxn>
                <a:cxn ang="0">
                  <a:pos x="88" y="487"/>
                </a:cxn>
                <a:cxn ang="0">
                  <a:pos x="127" y="517"/>
                </a:cxn>
                <a:cxn ang="0">
                  <a:pos x="186" y="575"/>
                </a:cxn>
                <a:cxn ang="0">
                  <a:pos x="225" y="595"/>
                </a:cxn>
                <a:cxn ang="0">
                  <a:pos x="273" y="624"/>
                </a:cxn>
                <a:cxn ang="0">
                  <a:pos x="303" y="663"/>
                </a:cxn>
                <a:cxn ang="0">
                  <a:pos x="332" y="702"/>
                </a:cxn>
                <a:cxn ang="0">
                  <a:pos x="381" y="751"/>
                </a:cxn>
              </a:cxnLst>
              <a:rect l="0" t="0" r="r" b="b"/>
              <a:pathLst>
                <a:path w="839" h="770">
                  <a:moveTo>
                    <a:pt x="381" y="751"/>
                  </a:moveTo>
                  <a:lnTo>
                    <a:pt x="390" y="751"/>
                  </a:lnTo>
                  <a:lnTo>
                    <a:pt x="420" y="751"/>
                  </a:lnTo>
                  <a:lnTo>
                    <a:pt x="449" y="761"/>
                  </a:lnTo>
                  <a:lnTo>
                    <a:pt x="449" y="770"/>
                  </a:lnTo>
                  <a:lnTo>
                    <a:pt x="459" y="770"/>
                  </a:lnTo>
                  <a:lnTo>
                    <a:pt x="488" y="741"/>
                  </a:lnTo>
                  <a:lnTo>
                    <a:pt x="478" y="722"/>
                  </a:lnTo>
                  <a:lnTo>
                    <a:pt x="488" y="702"/>
                  </a:lnTo>
                  <a:lnTo>
                    <a:pt x="537" y="692"/>
                  </a:lnTo>
                  <a:lnTo>
                    <a:pt x="576" y="663"/>
                  </a:lnTo>
                  <a:lnTo>
                    <a:pt x="585" y="644"/>
                  </a:lnTo>
                  <a:lnTo>
                    <a:pt x="546" y="614"/>
                  </a:lnTo>
                  <a:lnTo>
                    <a:pt x="537" y="624"/>
                  </a:lnTo>
                  <a:lnTo>
                    <a:pt x="527" y="614"/>
                  </a:lnTo>
                  <a:lnTo>
                    <a:pt x="498" y="634"/>
                  </a:lnTo>
                  <a:lnTo>
                    <a:pt x="478" y="624"/>
                  </a:lnTo>
                  <a:lnTo>
                    <a:pt x="459" y="624"/>
                  </a:lnTo>
                  <a:lnTo>
                    <a:pt x="449" y="614"/>
                  </a:lnTo>
                  <a:lnTo>
                    <a:pt x="459" y="604"/>
                  </a:lnTo>
                  <a:lnTo>
                    <a:pt x="459" y="595"/>
                  </a:lnTo>
                  <a:lnTo>
                    <a:pt x="468" y="575"/>
                  </a:lnTo>
                  <a:lnTo>
                    <a:pt x="478" y="575"/>
                  </a:lnTo>
                  <a:lnTo>
                    <a:pt x="488" y="556"/>
                  </a:lnTo>
                  <a:lnTo>
                    <a:pt x="507" y="556"/>
                  </a:lnTo>
                  <a:lnTo>
                    <a:pt x="537" y="546"/>
                  </a:lnTo>
                  <a:lnTo>
                    <a:pt x="537" y="536"/>
                  </a:lnTo>
                  <a:lnTo>
                    <a:pt x="517" y="517"/>
                  </a:lnTo>
                  <a:lnTo>
                    <a:pt x="537" y="507"/>
                  </a:lnTo>
                  <a:lnTo>
                    <a:pt x="546" y="497"/>
                  </a:lnTo>
                  <a:lnTo>
                    <a:pt x="556" y="487"/>
                  </a:lnTo>
                  <a:lnTo>
                    <a:pt x="556" y="458"/>
                  </a:lnTo>
                  <a:lnTo>
                    <a:pt x="546" y="419"/>
                  </a:lnTo>
                  <a:lnTo>
                    <a:pt x="546" y="400"/>
                  </a:lnTo>
                  <a:lnTo>
                    <a:pt x="546" y="390"/>
                  </a:lnTo>
                  <a:lnTo>
                    <a:pt x="566" y="390"/>
                  </a:lnTo>
                  <a:lnTo>
                    <a:pt x="576" y="400"/>
                  </a:lnTo>
                  <a:lnTo>
                    <a:pt x="595" y="419"/>
                  </a:lnTo>
                  <a:lnTo>
                    <a:pt x="615" y="429"/>
                  </a:lnTo>
                  <a:lnTo>
                    <a:pt x="634" y="448"/>
                  </a:lnTo>
                  <a:lnTo>
                    <a:pt x="654" y="468"/>
                  </a:lnTo>
                  <a:lnTo>
                    <a:pt x="654" y="478"/>
                  </a:lnTo>
                  <a:lnTo>
                    <a:pt x="664" y="487"/>
                  </a:lnTo>
                  <a:lnTo>
                    <a:pt x="673" y="487"/>
                  </a:lnTo>
                  <a:lnTo>
                    <a:pt x="693" y="497"/>
                  </a:lnTo>
                  <a:lnTo>
                    <a:pt x="703" y="487"/>
                  </a:lnTo>
                  <a:lnTo>
                    <a:pt x="722" y="507"/>
                  </a:lnTo>
                  <a:lnTo>
                    <a:pt x="732" y="497"/>
                  </a:lnTo>
                  <a:lnTo>
                    <a:pt x="751" y="526"/>
                  </a:lnTo>
                  <a:lnTo>
                    <a:pt x="781" y="507"/>
                  </a:lnTo>
                  <a:lnTo>
                    <a:pt x="771" y="487"/>
                  </a:lnTo>
                  <a:lnTo>
                    <a:pt x="790" y="458"/>
                  </a:lnTo>
                  <a:lnTo>
                    <a:pt x="790" y="439"/>
                  </a:lnTo>
                  <a:lnTo>
                    <a:pt x="761" y="429"/>
                  </a:lnTo>
                  <a:lnTo>
                    <a:pt x="771" y="419"/>
                  </a:lnTo>
                  <a:lnTo>
                    <a:pt x="790" y="400"/>
                  </a:lnTo>
                  <a:lnTo>
                    <a:pt x="839" y="351"/>
                  </a:lnTo>
                  <a:lnTo>
                    <a:pt x="820" y="341"/>
                  </a:lnTo>
                  <a:lnTo>
                    <a:pt x="800" y="322"/>
                  </a:lnTo>
                  <a:lnTo>
                    <a:pt x="771" y="331"/>
                  </a:lnTo>
                  <a:lnTo>
                    <a:pt x="751" y="312"/>
                  </a:lnTo>
                  <a:lnTo>
                    <a:pt x="742" y="292"/>
                  </a:lnTo>
                  <a:lnTo>
                    <a:pt x="742" y="263"/>
                  </a:lnTo>
                  <a:lnTo>
                    <a:pt x="722" y="243"/>
                  </a:lnTo>
                  <a:lnTo>
                    <a:pt x="712" y="204"/>
                  </a:lnTo>
                  <a:lnTo>
                    <a:pt x="703" y="175"/>
                  </a:lnTo>
                  <a:lnTo>
                    <a:pt x="693" y="185"/>
                  </a:lnTo>
                  <a:lnTo>
                    <a:pt x="673" y="204"/>
                  </a:lnTo>
                  <a:lnTo>
                    <a:pt x="654" y="214"/>
                  </a:lnTo>
                  <a:lnTo>
                    <a:pt x="654" y="204"/>
                  </a:lnTo>
                  <a:lnTo>
                    <a:pt x="673" y="185"/>
                  </a:lnTo>
                  <a:lnTo>
                    <a:pt x="664" y="175"/>
                  </a:lnTo>
                  <a:lnTo>
                    <a:pt x="644" y="175"/>
                  </a:lnTo>
                  <a:lnTo>
                    <a:pt x="644" y="165"/>
                  </a:lnTo>
                  <a:lnTo>
                    <a:pt x="664" y="165"/>
                  </a:lnTo>
                  <a:lnTo>
                    <a:pt x="673" y="165"/>
                  </a:lnTo>
                  <a:lnTo>
                    <a:pt x="673" y="136"/>
                  </a:lnTo>
                  <a:lnTo>
                    <a:pt x="654" y="126"/>
                  </a:lnTo>
                  <a:lnTo>
                    <a:pt x="654" y="107"/>
                  </a:lnTo>
                  <a:lnTo>
                    <a:pt x="644" y="107"/>
                  </a:lnTo>
                  <a:lnTo>
                    <a:pt x="634" y="97"/>
                  </a:lnTo>
                  <a:lnTo>
                    <a:pt x="595" y="97"/>
                  </a:lnTo>
                  <a:lnTo>
                    <a:pt x="576" y="97"/>
                  </a:lnTo>
                  <a:lnTo>
                    <a:pt x="556" y="87"/>
                  </a:lnTo>
                  <a:lnTo>
                    <a:pt x="546" y="87"/>
                  </a:lnTo>
                  <a:lnTo>
                    <a:pt x="517" y="87"/>
                  </a:lnTo>
                  <a:lnTo>
                    <a:pt x="498" y="78"/>
                  </a:lnTo>
                  <a:lnTo>
                    <a:pt x="459" y="97"/>
                  </a:lnTo>
                  <a:lnTo>
                    <a:pt x="459" y="117"/>
                  </a:lnTo>
                  <a:lnTo>
                    <a:pt x="449" y="136"/>
                  </a:lnTo>
                  <a:lnTo>
                    <a:pt x="449" y="156"/>
                  </a:lnTo>
                  <a:lnTo>
                    <a:pt x="429" y="165"/>
                  </a:lnTo>
                  <a:lnTo>
                    <a:pt x="429" y="156"/>
                  </a:lnTo>
                  <a:lnTo>
                    <a:pt x="429" y="146"/>
                  </a:lnTo>
                  <a:lnTo>
                    <a:pt x="420" y="156"/>
                  </a:lnTo>
                  <a:lnTo>
                    <a:pt x="410" y="156"/>
                  </a:lnTo>
                  <a:lnTo>
                    <a:pt x="400" y="156"/>
                  </a:lnTo>
                  <a:lnTo>
                    <a:pt x="390" y="156"/>
                  </a:lnTo>
                  <a:lnTo>
                    <a:pt x="390" y="136"/>
                  </a:lnTo>
                  <a:lnTo>
                    <a:pt x="390" y="126"/>
                  </a:lnTo>
                  <a:lnTo>
                    <a:pt x="371" y="87"/>
                  </a:lnTo>
                  <a:lnTo>
                    <a:pt x="361" y="87"/>
                  </a:lnTo>
                  <a:lnTo>
                    <a:pt x="342" y="87"/>
                  </a:lnTo>
                  <a:lnTo>
                    <a:pt x="351" y="78"/>
                  </a:lnTo>
                  <a:lnTo>
                    <a:pt x="361" y="87"/>
                  </a:lnTo>
                  <a:lnTo>
                    <a:pt x="371" y="78"/>
                  </a:lnTo>
                  <a:lnTo>
                    <a:pt x="371" y="68"/>
                  </a:lnTo>
                  <a:lnTo>
                    <a:pt x="371" y="48"/>
                  </a:lnTo>
                  <a:lnTo>
                    <a:pt x="371" y="29"/>
                  </a:lnTo>
                  <a:lnTo>
                    <a:pt x="371" y="9"/>
                  </a:lnTo>
                  <a:lnTo>
                    <a:pt x="361" y="0"/>
                  </a:lnTo>
                  <a:lnTo>
                    <a:pt x="342" y="9"/>
                  </a:lnTo>
                  <a:lnTo>
                    <a:pt x="332" y="9"/>
                  </a:lnTo>
                  <a:lnTo>
                    <a:pt x="312" y="19"/>
                  </a:lnTo>
                  <a:lnTo>
                    <a:pt x="312" y="29"/>
                  </a:lnTo>
                  <a:lnTo>
                    <a:pt x="303" y="39"/>
                  </a:lnTo>
                  <a:lnTo>
                    <a:pt x="303" y="48"/>
                  </a:lnTo>
                  <a:lnTo>
                    <a:pt x="303" y="68"/>
                  </a:lnTo>
                  <a:lnTo>
                    <a:pt x="312" y="78"/>
                  </a:lnTo>
                  <a:lnTo>
                    <a:pt x="322" y="87"/>
                  </a:lnTo>
                  <a:lnTo>
                    <a:pt x="312" y="107"/>
                  </a:lnTo>
                  <a:lnTo>
                    <a:pt x="293" y="107"/>
                  </a:lnTo>
                  <a:lnTo>
                    <a:pt x="293" y="126"/>
                  </a:lnTo>
                  <a:lnTo>
                    <a:pt x="283" y="126"/>
                  </a:lnTo>
                  <a:lnTo>
                    <a:pt x="264" y="126"/>
                  </a:lnTo>
                  <a:lnTo>
                    <a:pt x="244" y="117"/>
                  </a:lnTo>
                  <a:lnTo>
                    <a:pt x="244" y="107"/>
                  </a:lnTo>
                  <a:lnTo>
                    <a:pt x="244" y="87"/>
                  </a:lnTo>
                  <a:lnTo>
                    <a:pt x="234" y="78"/>
                  </a:lnTo>
                  <a:lnTo>
                    <a:pt x="225" y="78"/>
                  </a:lnTo>
                  <a:lnTo>
                    <a:pt x="205" y="7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76" y="87"/>
                  </a:lnTo>
                  <a:lnTo>
                    <a:pt x="156" y="107"/>
                  </a:lnTo>
                  <a:lnTo>
                    <a:pt x="147" y="117"/>
                  </a:lnTo>
                  <a:lnTo>
                    <a:pt x="137" y="136"/>
                  </a:lnTo>
                  <a:lnTo>
                    <a:pt x="137" y="156"/>
                  </a:lnTo>
                  <a:lnTo>
                    <a:pt x="147" y="175"/>
                  </a:lnTo>
                  <a:lnTo>
                    <a:pt x="156" y="185"/>
                  </a:lnTo>
                  <a:lnTo>
                    <a:pt x="156" y="204"/>
                  </a:lnTo>
                  <a:lnTo>
                    <a:pt x="137" y="214"/>
                  </a:lnTo>
                  <a:lnTo>
                    <a:pt x="98" y="243"/>
                  </a:lnTo>
                  <a:lnTo>
                    <a:pt x="88" y="243"/>
                  </a:lnTo>
                  <a:lnTo>
                    <a:pt x="88" y="263"/>
                  </a:lnTo>
                  <a:lnTo>
                    <a:pt x="49" y="273"/>
                  </a:lnTo>
                  <a:lnTo>
                    <a:pt x="29" y="292"/>
                  </a:lnTo>
                  <a:lnTo>
                    <a:pt x="20" y="302"/>
                  </a:lnTo>
                  <a:lnTo>
                    <a:pt x="20" y="322"/>
                  </a:lnTo>
                  <a:lnTo>
                    <a:pt x="0" y="331"/>
                  </a:lnTo>
                  <a:lnTo>
                    <a:pt x="0" y="361"/>
                  </a:lnTo>
                  <a:lnTo>
                    <a:pt x="0" y="380"/>
                  </a:lnTo>
                  <a:lnTo>
                    <a:pt x="10" y="400"/>
                  </a:lnTo>
                  <a:lnTo>
                    <a:pt x="20" y="409"/>
                  </a:lnTo>
                  <a:lnTo>
                    <a:pt x="29" y="439"/>
                  </a:lnTo>
                  <a:lnTo>
                    <a:pt x="49" y="439"/>
                  </a:lnTo>
                  <a:lnTo>
                    <a:pt x="59" y="448"/>
                  </a:lnTo>
                  <a:lnTo>
                    <a:pt x="69" y="458"/>
                  </a:lnTo>
                  <a:lnTo>
                    <a:pt x="78" y="487"/>
                  </a:lnTo>
                  <a:lnTo>
                    <a:pt x="88" y="487"/>
                  </a:lnTo>
                  <a:lnTo>
                    <a:pt x="108" y="487"/>
                  </a:lnTo>
                  <a:lnTo>
                    <a:pt x="127" y="497"/>
                  </a:lnTo>
                  <a:lnTo>
                    <a:pt x="137" y="507"/>
                  </a:lnTo>
                  <a:lnTo>
                    <a:pt x="127" y="517"/>
                  </a:lnTo>
                  <a:lnTo>
                    <a:pt x="137" y="526"/>
                  </a:lnTo>
                  <a:lnTo>
                    <a:pt x="147" y="536"/>
                  </a:lnTo>
                  <a:lnTo>
                    <a:pt x="156" y="556"/>
                  </a:lnTo>
                  <a:lnTo>
                    <a:pt x="186" y="575"/>
                  </a:lnTo>
                  <a:lnTo>
                    <a:pt x="205" y="575"/>
                  </a:lnTo>
                  <a:lnTo>
                    <a:pt x="215" y="575"/>
                  </a:lnTo>
                  <a:lnTo>
                    <a:pt x="234" y="585"/>
                  </a:lnTo>
                  <a:lnTo>
                    <a:pt x="225" y="595"/>
                  </a:lnTo>
                  <a:lnTo>
                    <a:pt x="234" y="604"/>
                  </a:lnTo>
                  <a:lnTo>
                    <a:pt x="244" y="624"/>
                  </a:lnTo>
                  <a:lnTo>
                    <a:pt x="254" y="634"/>
                  </a:lnTo>
                  <a:lnTo>
                    <a:pt x="273" y="624"/>
                  </a:lnTo>
                  <a:lnTo>
                    <a:pt x="293" y="614"/>
                  </a:lnTo>
                  <a:lnTo>
                    <a:pt x="303" y="634"/>
                  </a:lnTo>
                  <a:lnTo>
                    <a:pt x="293" y="644"/>
                  </a:lnTo>
                  <a:lnTo>
                    <a:pt x="303" y="663"/>
                  </a:lnTo>
                  <a:lnTo>
                    <a:pt x="312" y="673"/>
                  </a:lnTo>
                  <a:lnTo>
                    <a:pt x="322" y="673"/>
                  </a:lnTo>
                  <a:lnTo>
                    <a:pt x="332" y="683"/>
                  </a:lnTo>
                  <a:lnTo>
                    <a:pt x="332" y="702"/>
                  </a:lnTo>
                  <a:lnTo>
                    <a:pt x="351" y="692"/>
                  </a:lnTo>
                  <a:lnTo>
                    <a:pt x="381" y="722"/>
                  </a:lnTo>
                  <a:lnTo>
                    <a:pt x="351" y="741"/>
                  </a:lnTo>
                  <a:lnTo>
                    <a:pt x="381" y="751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3" name="Freeform 168"/>
            <p:cNvSpPr>
              <a:spLocks/>
            </p:cNvSpPr>
            <p:nvPr/>
          </p:nvSpPr>
          <p:spPr bwMode="auto">
            <a:xfrm>
              <a:off x="1203" y="1911"/>
              <a:ext cx="249" cy="275"/>
            </a:xfrm>
            <a:custGeom>
              <a:avLst/>
              <a:gdLst/>
              <a:ahLst/>
              <a:cxnLst>
                <a:cxn ang="0">
                  <a:pos x="195" y="264"/>
                </a:cxn>
                <a:cxn ang="0">
                  <a:pos x="175" y="254"/>
                </a:cxn>
                <a:cxn ang="0">
                  <a:pos x="156" y="225"/>
                </a:cxn>
                <a:cxn ang="0">
                  <a:pos x="136" y="205"/>
                </a:cxn>
                <a:cxn ang="0">
                  <a:pos x="117" y="205"/>
                </a:cxn>
                <a:cxn ang="0">
                  <a:pos x="97" y="186"/>
                </a:cxn>
                <a:cxn ang="0">
                  <a:pos x="68" y="176"/>
                </a:cxn>
                <a:cxn ang="0">
                  <a:pos x="68" y="156"/>
                </a:cxn>
                <a:cxn ang="0">
                  <a:pos x="58" y="156"/>
                </a:cxn>
                <a:cxn ang="0">
                  <a:pos x="39" y="156"/>
                </a:cxn>
                <a:cxn ang="0">
                  <a:pos x="29" y="137"/>
                </a:cxn>
                <a:cxn ang="0">
                  <a:pos x="29" y="137"/>
                </a:cxn>
                <a:cxn ang="0">
                  <a:pos x="19" y="127"/>
                </a:cxn>
                <a:cxn ang="0">
                  <a:pos x="19" y="117"/>
                </a:cxn>
                <a:cxn ang="0">
                  <a:pos x="29" y="117"/>
                </a:cxn>
                <a:cxn ang="0">
                  <a:pos x="29" y="98"/>
                </a:cxn>
                <a:cxn ang="0">
                  <a:pos x="29" y="88"/>
                </a:cxn>
                <a:cxn ang="0">
                  <a:pos x="19" y="78"/>
                </a:cxn>
                <a:cxn ang="0">
                  <a:pos x="19" y="69"/>
                </a:cxn>
                <a:cxn ang="0">
                  <a:pos x="10" y="59"/>
                </a:cxn>
                <a:cxn ang="0">
                  <a:pos x="0" y="39"/>
                </a:cxn>
                <a:cxn ang="0">
                  <a:pos x="0" y="39"/>
                </a:cxn>
                <a:cxn ang="0">
                  <a:pos x="10" y="39"/>
                </a:cxn>
                <a:cxn ang="0">
                  <a:pos x="19" y="39"/>
                </a:cxn>
                <a:cxn ang="0">
                  <a:pos x="29" y="30"/>
                </a:cxn>
                <a:cxn ang="0">
                  <a:pos x="39" y="20"/>
                </a:cxn>
                <a:cxn ang="0">
                  <a:pos x="49" y="30"/>
                </a:cxn>
                <a:cxn ang="0">
                  <a:pos x="58" y="39"/>
                </a:cxn>
                <a:cxn ang="0">
                  <a:pos x="68" y="30"/>
                </a:cxn>
                <a:cxn ang="0">
                  <a:pos x="68" y="10"/>
                </a:cxn>
                <a:cxn ang="0">
                  <a:pos x="68" y="0"/>
                </a:cxn>
                <a:cxn ang="0">
                  <a:pos x="107" y="10"/>
                </a:cxn>
                <a:cxn ang="0">
                  <a:pos x="117" y="10"/>
                </a:cxn>
                <a:cxn ang="0">
                  <a:pos x="127" y="10"/>
                </a:cxn>
                <a:cxn ang="0">
                  <a:pos x="136" y="10"/>
                </a:cxn>
                <a:cxn ang="0">
                  <a:pos x="136" y="10"/>
                </a:cxn>
                <a:cxn ang="0">
                  <a:pos x="156" y="30"/>
                </a:cxn>
                <a:cxn ang="0">
                  <a:pos x="175" y="39"/>
                </a:cxn>
                <a:cxn ang="0">
                  <a:pos x="166" y="49"/>
                </a:cxn>
                <a:cxn ang="0">
                  <a:pos x="156" y="59"/>
                </a:cxn>
                <a:cxn ang="0">
                  <a:pos x="156" y="59"/>
                </a:cxn>
                <a:cxn ang="0">
                  <a:pos x="175" y="69"/>
                </a:cxn>
                <a:cxn ang="0">
                  <a:pos x="195" y="78"/>
                </a:cxn>
                <a:cxn ang="0">
                  <a:pos x="195" y="108"/>
                </a:cxn>
                <a:cxn ang="0">
                  <a:pos x="205" y="127"/>
                </a:cxn>
                <a:cxn ang="0">
                  <a:pos x="205" y="156"/>
                </a:cxn>
                <a:cxn ang="0">
                  <a:pos x="205" y="176"/>
                </a:cxn>
                <a:cxn ang="0">
                  <a:pos x="205" y="156"/>
                </a:cxn>
                <a:cxn ang="0">
                  <a:pos x="205" y="176"/>
                </a:cxn>
                <a:cxn ang="0">
                  <a:pos x="224" y="186"/>
                </a:cxn>
                <a:cxn ang="0">
                  <a:pos x="224" y="205"/>
                </a:cxn>
                <a:cxn ang="0">
                  <a:pos x="224" y="205"/>
                </a:cxn>
                <a:cxn ang="0">
                  <a:pos x="253" y="215"/>
                </a:cxn>
                <a:cxn ang="0">
                  <a:pos x="253" y="225"/>
                </a:cxn>
                <a:cxn ang="0">
                  <a:pos x="244" y="234"/>
                </a:cxn>
                <a:cxn ang="0">
                  <a:pos x="244" y="254"/>
                </a:cxn>
                <a:cxn ang="0">
                  <a:pos x="234" y="244"/>
                </a:cxn>
                <a:cxn ang="0">
                  <a:pos x="224" y="234"/>
                </a:cxn>
                <a:cxn ang="0">
                  <a:pos x="214" y="244"/>
                </a:cxn>
                <a:cxn ang="0">
                  <a:pos x="205" y="264"/>
                </a:cxn>
                <a:cxn ang="0">
                  <a:pos x="195" y="274"/>
                </a:cxn>
                <a:cxn ang="0">
                  <a:pos x="195" y="264"/>
                </a:cxn>
              </a:cxnLst>
              <a:rect l="0" t="0" r="r" b="b"/>
              <a:pathLst>
                <a:path w="253" h="274">
                  <a:moveTo>
                    <a:pt x="195" y="264"/>
                  </a:moveTo>
                  <a:lnTo>
                    <a:pt x="175" y="254"/>
                  </a:lnTo>
                  <a:lnTo>
                    <a:pt x="156" y="225"/>
                  </a:lnTo>
                  <a:lnTo>
                    <a:pt x="136" y="205"/>
                  </a:lnTo>
                  <a:lnTo>
                    <a:pt x="117" y="205"/>
                  </a:lnTo>
                  <a:lnTo>
                    <a:pt x="97" y="186"/>
                  </a:lnTo>
                  <a:lnTo>
                    <a:pt x="68" y="17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39" y="156"/>
                  </a:lnTo>
                  <a:lnTo>
                    <a:pt x="29" y="13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29" y="117"/>
                  </a:lnTo>
                  <a:lnTo>
                    <a:pt x="29" y="98"/>
                  </a:lnTo>
                  <a:lnTo>
                    <a:pt x="29" y="88"/>
                  </a:lnTo>
                  <a:lnTo>
                    <a:pt x="19" y="78"/>
                  </a:lnTo>
                  <a:lnTo>
                    <a:pt x="19" y="69"/>
                  </a:lnTo>
                  <a:lnTo>
                    <a:pt x="1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19" y="39"/>
                  </a:lnTo>
                  <a:lnTo>
                    <a:pt x="29" y="30"/>
                  </a:lnTo>
                  <a:lnTo>
                    <a:pt x="39" y="20"/>
                  </a:lnTo>
                  <a:lnTo>
                    <a:pt x="49" y="30"/>
                  </a:lnTo>
                  <a:lnTo>
                    <a:pt x="58" y="39"/>
                  </a:lnTo>
                  <a:lnTo>
                    <a:pt x="68" y="30"/>
                  </a:lnTo>
                  <a:lnTo>
                    <a:pt x="68" y="10"/>
                  </a:lnTo>
                  <a:lnTo>
                    <a:pt x="68" y="0"/>
                  </a:lnTo>
                  <a:lnTo>
                    <a:pt x="107" y="10"/>
                  </a:lnTo>
                  <a:lnTo>
                    <a:pt x="117" y="10"/>
                  </a:lnTo>
                  <a:lnTo>
                    <a:pt x="127" y="10"/>
                  </a:lnTo>
                  <a:lnTo>
                    <a:pt x="136" y="10"/>
                  </a:lnTo>
                  <a:lnTo>
                    <a:pt x="156" y="3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56" y="59"/>
                  </a:lnTo>
                  <a:lnTo>
                    <a:pt x="175" y="69"/>
                  </a:lnTo>
                  <a:lnTo>
                    <a:pt x="195" y="78"/>
                  </a:lnTo>
                  <a:lnTo>
                    <a:pt x="195" y="108"/>
                  </a:lnTo>
                  <a:lnTo>
                    <a:pt x="205" y="127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24" y="186"/>
                  </a:lnTo>
                  <a:lnTo>
                    <a:pt x="224" y="205"/>
                  </a:lnTo>
                  <a:lnTo>
                    <a:pt x="253" y="215"/>
                  </a:lnTo>
                  <a:lnTo>
                    <a:pt x="253" y="225"/>
                  </a:lnTo>
                  <a:lnTo>
                    <a:pt x="244" y="234"/>
                  </a:lnTo>
                  <a:lnTo>
                    <a:pt x="244" y="254"/>
                  </a:lnTo>
                  <a:lnTo>
                    <a:pt x="234" y="244"/>
                  </a:lnTo>
                  <a:lnTo>
                    <a:pt x="224" y="234"/>
                  </a:lnTo>
                  <a:lnTo>
                    <a:pt x="214" y="24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95" y="26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4" name="Freeform 167"/>
            <p:cNvSpPr>
              <a:spLocks/>
            </p:cNvSpPr>
            <p:nvPr/>
          </p:nvSpPr>
          <p:spPr bwMode="auto">
            <a:xfrm>
              <a:off x="1171" y="2050"/>
              <a:ext cx="225" cy="291"/>
            </a:xfrm>
            <a:custGeom>
              <a:avLst/>
              <a:gdLst/>
              <a:ahLst/>
              <a:cxnLst>
                <a:cxn ang="0">
                  <a:pos x="137" y="283"/>
                </a:cxn>
                <a:cxn ang="0">
                  <a:pos x="147" y="263"/>
                </a:cxn>
                <a:cxn ang="0">
                  <a:pos x="166" y="244"/>
                </a:cxn>
                <a:cxn ang="0">
                  <a:pos x="186" y="244"/>
                </a:cxn>
                <a:cxn ang="0">
                  <a:pos x="186" y="224"/>
                </a:cxn>
                <a:cxn ang="0">
                  <a:pos x="186" y="215"/>
                </a:cxn>
                <a:cxn ang="0">
                  <a:pos x="186" y="205"/>
                </a:cxn>
                <a:cxn ang="0">
                  <a:pos x="186" y="205"/>
                </a:cxn>
                <a:cxn ang="0">
                  <a:pos x="196" y="205"/>
                </a:cxn>
                <a:cxn ang="0">
                  <a:pos x="205" y="195"/>
                </a:cxn>
                <a:cxn ang="0">
                  <a:pos x="215" y="185"/>
                </a:cxn>
                <a:cxn ang="0">
                  <a:pos x="215" y="176"/>
                </a:cxn>
                <a:cxn ang="0">
                  <a:pos x="205" y="166"/>
                </a:cxn>
                <a:cxn ang="0">
                  <a:pos x="215" y="156"/>
                </a:cxn>
                <a:cxn ang="0">
                  <a:pos x="225" y="156"/>
                </a:cxn>
                <a:cxn ang="0">
                  <a:pos x="225" y="137"/>
                </a:cxn>
                <a:cxn ang="0">
                  <a:pos x="225" y="127"/>
                </a:cxn>
                <a:cxn ang="0">
                  <a:pos x="215" y="117"/>
                </a:cxn>
                <a:cxn ang="0">
                  <a:pos x="186" y="88"/>
                </a:cxn>
                <a:cxn ang="0">
                  <a:pos x="166" y="78"/>
                </a:cxn>
                <a:cxn ang="0">
                  <a:pos x="147" y="68"/>
                </a:cxn>
                <a:cxn ang="0">
                  <a:pos x="127" y="58"/>
                </a:cxn>
                <a:cxn ang="0">
                  <a:pos x="108" y="39"/>
                </a:cxn>
                <a:cxn ang="0">
                  <a:pos x="98" y="19"/>
                </a:cxn>
                <a:cxn ang="0">
                  <a:pos x="88" y="19"/>
                </a:cxn>
                <a:cxn ang="0">
                  <a:pos x="79" y="19"/>
                </a:cxn>
                <a:cxn ang="0">
                  <a:pos x="69" y="0"/>
                </a:cxn>
                <a:cxn ang="0">
                  <a:pos x="59" y="0"/>
                </a:cxn>
                <a:cxn ang="0">
                  <a:pos x="49" y="0"/>
                </a:cxn>
                <a:cxn ang="0">
                  <a:pos x="40" y="10"/>
                </a:cxn>
                <a:cxn ang="0">
                  <a:pos x="40" y="19"/>
                </a:cxn>
                <a:cxn ang="0">
                  <a:pos x="10" y="19"/>
                </a:cxn>
                <a:cxn ang="0">
                  <a:pos x="0" y="49"/>
                </a:cxn>
                <a:cxn ang="0">
                  <a:pos x="0" y="58"/>
                </a:cxn>
                <a:cxn ang="0">
                  <a:pos x="20" y="58"/>
                </a:cxn>
                <a:cxn ang="0">
                  <a:pos x="30" y="68"/>
                </a:cxn>
                <a:cxn ang="0">
                  <a:pos x="30" y="88"/>
                </a:cxn>
                <a:cxn ang="0">
                  <a:pos x="30" y="117"/>
                </a:cxn>
                <a:cxn ang="0">
                  <a:pos x="49" y="127"/>
                </a:cxn>
                <a:cxn ang="0">
                  <a:pos x="59" y="127"/>
                </a:cxn>
                <a:cxn ang="0">
                  <a:pos x="79" y="146"/>
                </a:cxn>
                <a:cxn ang="0">
                  <a:pos x="88" y="146"/>
                </a:cxn>
                <a:cxn ang="0">
                  <a:pos x="88" y="156"/>
                </a:cxn>
                <a:cxn ang="0">
                  <a:pos x="79" y="166"/>
                </a:cxn>
                <a:cxn ang="0">
                  <a:pos x="79" y="185"/>
                </a:cxn>
                <a:cxn ang="0">
                  <a:pos x="69" y="205"/>
                </a:cxn>
                <a:cxn ang="0">
                  <a:pos x="79" y="224"/>
                </a:cxn>
                <a:cxn ang="0">
                  <a:pos x="88" y="234"/>
                </a:cxn>
                <a:cxn ang="0">
                  <a:pos x="98" y="224"/>
                </a:cxn>
                <a:cxn ang="0">
                  <a:pos x="98" y="234"/>
                </a:cxn>
                <a:cxn ang="0">
                  <a:pos x="108" y="254"/>
                </a:cxn>
                <a:cxn ang="0">
                  <a:pos x="108" y="283"/>
                </a:cxn>
                <a:cxn ang="0">
                  <a:pos x="108" y="293"/>
                </a:cxn>
                <a:cxn ang="0">
                  <a:pos x="127" y="283"/>
                </a:cxn>
                <a:cxn ang="0">
                  <a:pos x="137" y="283"/>
                </a:cxn>
              </a:cxnLst>
              <a:rect l="0" t="0" r="r" b="b"/>
              <a:pathLst>
                <a:path w="225" h="293">
                  <a:moveTo>
                    <a:pt x="137" y="283"/>
                  </a:moveTo>
                  <a:lnTo>
                    <a:pt x="147" y="263"/>
                  </a:lnTo>
                  <a:lnTo>
                    <a:pt x="166" y="244"/>
                  </a:lnTo>
                  <a:lnTo>
                    <a:pt x="186" y="244"/>
                  </a:lnTo>
                  <a:lnTo>
                    <a:pt x="186" y="224"/>
                  </a:lnTo>
                  <a:lnTo>
                    <a:pt x="186" y="215"/>
                  </a:lnTo>
                  <a:lnTo>
                    <a:pt x="186" y="205"/>
                  </a:lnTo>
                  <a:lnTo>
                    <a:pt x="196" y="205"/>
                  </a:lnTo>
                  <a:lnTo>
                    <a:pt x="205" y="195"/>
                  </a:lnTo>
                  <a:lnTo>
                    <a:pt x="215" y="185"/>
                  </a:lnTo>
                  <a:lnTo>
                    <a:pt x="215" y="176"/>
                  </a:lnTo>
                  <a:lnTo>
                    <a:pt x="205" y="166"/>
                  </a:lnTo>
                  <a:lnTo>
                    <a:pt x="215" y="156"/>
                  </a:lnTo>
                  <a:lnTo>
                    <a:pt x="225" y="156"/>
                  </a:lnTo>
                  <a:lnTo>
                    <a:pt x="225" y="137"/>
                  </a:lnTo>
                  <a:lnTo>
                    <a:pt x="225" y="127"/>
                  </a:lnTo>
                  <a:lnTo>
                    <a:pt x="215" y="117"/>
                  </a:lnTo>
                  <a:lnTo>
                    <a:pt x="186" y="88"/>
                  </a:lnTo>
                  <a:lnTo>
                    <a:pt x="166" y="78"/>
                  </a:lnTo>
                  <a:lnTo>
                    <a:pt x="147" y="68"/>
                  </a:lnTo>
                  <a:lnTo>
                    <a:pt x="127" y="58"/>
                  </a:lnTo>
                  <a:lnTo>
                    <a:pt x="108" y="39"/>
                  </a:lnTo>
                  <a:lnTo>
                    <a:pt x="98" y="19"/>
                  </a:lnTo>
                  <a:lnTo>
                    <a:pt x="88" y="19"/>
                  </a:lnTo>
                  <a:lnTo>
                    <a:pt x="79" y="19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0"/>
                  </a:lnTo>
                  <a:lnTo>
                    <a:pt x="40" y="10"/>
                  </a:lnTo>
                  <a:lnTo>
                    <a:pt x="40" y="19"/>
                  </a:lnTo>
                  <a:lnTo>
                    <a:pt x="10" y="19"/>
                  </a:lnTo>
                  <a:lnTo>
                    <a:pt x="0" y="49"/>
                  </a:lnTo>
                  <a:lnTo>
                    <a:pt x="0" y="58"/>
                  </a:lnTo>
                  <a:lnTo>
                    <a:pt x="20" y="58"/>
                  </a:lnTo>
                  <a:lnTo>
                    <a:pt x="30" y="68"/>
                  </a:lnTo>
                  <a:lnTo>
                    <a:pt x="30" y="88"/>
                  </a:lnTo>
                  <a:lnTo>
                    <a:pt x="30" y="117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79" y="146"/>
                  </a:lnTo>
                  <a:lnTo>
                    <a:pt x="88" y="146"/>
                  </a:lnTo>
                  <a:lnTo>
                    <a:pt x="88" y="156"/>
                  </a:lnTo>
                  <a:lnTo>
                    <a:pt x="79" y="166"/>
                  </a:lnTo>
                  <a:lnTo>
                    <a:pt x="79" y="185"/>
                  </a:lnTo>
                  <a:lnTo>
                    <a:pt x="69" y="205"/>
                  </a:lnTo>
                  <a:lnTo>
                    <a:pt x="79" y="224"/>
                  </a:lnTo>
                  <a:lnTo>
                    <a:pt x="88" y="234"/>
                  </a:lnTo>
                  <a:lnTo>
                    <a:pt x="98" y="224"/>
                  </a:lnTo>
                  <a:lnTo>
                    <a:pt x="98" y="234"/>
                  </a:lnTo>
                  <a:lnTo>
                    <a:pt x="108" y="25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83"/>
                  </a:lnTo>
                  <a:lnTo>
                    <a:pt x="137" y="28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5" name="Freeform 166"/>
            <p:cNvSpPr>
              <a:spLocks/>
            </p:cNvSpPr>
            <p:nvPr/>
          </p:nvSpPr>
          <p:spPr bwMode="auto">
            <a:xfrm>
              <a:off x="1329" y="1864"/>
              <a:ext cx="203" cy="233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5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8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175 w 204"/>
                <a:gd name="T99" fmla="*/ 78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"/>
                <a:gd name="T151" fmla="*/ 0 h 234"/>
                <a:gd name="T152" fmla="*/ 204 w 204"/>
                <a:gd name="T153" fmla="*/ 234 h 23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8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  <a:lnTo>
                    <a:pt x="175" y="7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6" name="Freeform 165"/>
            <p:cNvSpPr>
              <a:spLocks/>
            </p:cNvSpPr>
            <p:nvPr/>
          </p:nvSpPr>
          <p:spPr bwMode="auto">
            <a:xfrm>
              <a:off x="1326" y="1864"/>
              <a:ext cx="206" cy="233"/>
            </a:xfrm>
            <a:custGeom>
              <a:avLst/>
              <a:gdLst/>
              <a:ahLst/>
              <a:cxnLst>
                <a:cxn ang="0">
                  <a:pos x="175" y="78"/>
                </a:cxn>
                <a:cxn ang="0">
                  <a:pos x="165" y="97"/>
                </a:cxn>
                <a:cxn ang="0">
                  <a:pos x="175" y="126"/>
                </a:cxn>
                <a:cxn ang="0">
                  <a:pos x="195" y="136"/>
                </a:cxn>
                <a:cxn ang="0">
                  <a:pos x="195" y="146"/>
                </a:cxn>
                <a:cxn ang="0">
                  <a:pos x="195" y="156"/>
                </a:cxn>
                <a:cxn ang="0">
                  <a:pos x="204" y="175"/>
                </a:cxn>
                <a:cxn ang="0">
                  <a:pos x="185" y="185"/>
                </a:cxn>
                <a:cxn ang="0">
                  <a:pos x="165" y="195"/>
                </a:cxn>
                <a:cxn ang="0">
                  <a:pos x="146" y="195"/>
                </a:cxn>
                <a:cxn ang="0">
                  <a:pos x="146" y="204"/>
                </a:cxn>
                <a:cxn ang="0">
                  <a:pos x="156" y="214"/>
                </a:cxn>
                <a:cxn ang="0">
                  <a:pos x="146" y="224"/>
                </a:cxn>
                <a:cxn ang="0">
                  <a:pos x="136" y="234"/>
                </a:cxn>
                <a:cxn ang="0">
                  <a:pos x="117" y="234"/>
                </a:cxn>
                <a:cxn ang="0">
                  <a:pos x="97" y="234"/>
                </a:cxn>
                <a:cxn ang="0">
                  <a:pos x="78" y="224"/>
                </a:cxn>
                <a:cxn ang="0">
                  <a:pos x="87" y="204"/>
                </a:cxn>
                <a:cxn ang="0">
                  <a:pos x="78" y="224"/>
                </a:cxn>
                <a:cxn ang="0">
                  <a:pos x="87" y="204"/>
                </a:cxn>
                <a:cxn ang="0">
                  <a:pos x="78" y="175"/>
                </a:cxn>
                <a:cxn ang="0">
                  <a:pos x="68" y="156"/>
                </a:cxn>
                <a:cxn ang="0">
                  <a:pos x="68" y="126"/>
                </a:cxn>
                <a:cxn ang="0">
                  <a:pos x="48" y="117"/>
                </a:cxn>
                <a:cxn ang="0">
                  <a:pos x="29" y="107"/>
                </a:cxn>
                <a:cxn ang="0">
                  <a:pos x="29" y="107"/>
                </a:cxn>
                <a:cxn ang="0">
                  <a:pos x="39" y="97"/>
                </a:cxn>
                <a:cxn ang="0">
                  <a:pos x="48" y="87"/>
                </a:cxn>
                <a:cxn ang="0">
                  <a:pos x="29" y="78"/>
                </a:cxn>
                <a:cxn ang="0">
                  <a:pos x="9" y="68"/>
                </a:cxn>
                <a:cxn ang="0">
                  <a:pos x="9" y="58"/>
                </a:cxn>
                <a:cxn ang="0">
                  <a:pos x="0" y="48"/>
                </a:cxn>
                <a:cxn ang="0">
                  <a:pos x="0" y="39"/>
                </a:cxn>
                <a:cxn ang="0">
                  <a:pos x="19" y="39"/>
                </a:cxn>
                <a:cxn ang="0">
                  <a:pos x="29" y="39"/>
                </a:cxn>
                <a:cxn ang="0">
                  <a:pos x="48" y="39"/>
                </a:cxn>
                <a:cxn ang="0">
                  <a:pos x="48" y="29"/>
                </a:cxn>
                <a:cxn ang="0">
                  <a:pos x="48" y="19"/>
                </a:cxn>
                <a:cxn ang="0">
                  <a:pos x="48" y="9"/>
                </a:cxn>
                <a:cxn ang="0">
                  <a:pos x="58" y="9"/>
                </a:cxn>
                <a:cxn ang="0">
                  <a:pos x="78" y="29"/>
                </a:cxn>
                <a:cxn ang="0">
                  <a:pos x="97" y="29"/>
                </a:cxn>
                <a:cxn ang="0">
                  <a:pos x="97" y="9"/>
                </a:cxn>
                <a:cxn ang="0">
                  <a:pos x="107" y="0"/>
                </a:cxn>
                <a:cxn ang="0">
                  <a:pos x="156" y="29"/>
                </a:cxn>
                <a:cxn ang="0">
                  <a:pos x="156" y="39"/>
                </a:cxn>
                <a:cxn ang="0">
                  <a:pos x="175" y="39"/>
                </a:cxn>
                <a:cxn ang="0">
                  <a:pos x="175" y="48"/>
                </a:cxn>
                <a:cxn ang="0">
                  <a:pos x="175" y="58"/>
                </a:cxn>
              </a:cxnLst>
              <a:rect l="0" t="0" r="r" b="b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48" y="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9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7" name="Freeform 164"/>
            <p:cNvSpPr>
              <a:spLocks/>
            </p:cNvSpPr>
            <p:nvPr/>
          </p:nvSpPr>
          <p:spPr bwMode="auto">
            <a:xfrm>
              <a:off x="1491" y="1864"/>
              <a:ext cx="206" cy="214"/>
            </a:xfrm>
            <a:custGeom>
              <a:avLst/>
              <a:gdLst/>
              <a:ahLst/>
              <a:cxnLst>
                <a:cxn ang="0">
                  <a:pos x="137" y="204"/>
                </a:cxn>
                <a:cxn ang="0">
                  <a:pos x="117" y="204"/>
                </a:cxn>
                <a:cxn ang="0">
                  <a:pos x="88" y="204"/>
                </a:cxn>
                <a:cxn ang="0">
                  <a:pos x="78" y="214"/>
                </a:cxn>
                <a:cxn ang="0">
                  <a:pos x="69" y="214"/>
                </a:cxn>
                <a:cxn ang="0">
                  <a:pos x="49" y="204"/>
                </a:cxn>
                <a:cxn ang="0">
                  <a:pos x="49" y="195"/>
                </a:cxn>
                <a:cxn ang="0">
                  <a:pos x="39" y="175"/>
                </a:cxn>
                <a:cxn ang="0">
                  <a:pos x="30" y="156"/>
                </a:cxn>
                <a:cxn ang="0">
                  <a:pos x="30" y="146"/>
                </a:cxn>
                <a:cxn ang="0">
                  <a:pos x="30" y="136"/>
                </a:cxn>
                <a:cxn ang="0">
                  <a:pos x="10" y="117"/>
                </a:cxn>
                <a:cxn ang="0">
                  <a:pos x="0" y="97"/>
                </a:cxn>
                <a:cxn ang="0">
                  <a:pos x="10" y="78"/>
                </a:cxn>
                <a:cxn ang="0">
                  <a:pos x="10" y="58"/>
                </a:cxn>
                <a:cxn ang="0">
                  <a:pos x="10" y="48"/>
                </a:cxn>
                <a:cxn ang="0">
                  <a:pos x="10" y="39"/>
                </a:cxn>
                <a:cxn ang="0">
                  <a:pos x="20" y="39"/>
                </a:cxn>
                <a:cxn ang="0">
                  <a:pos x="30" y="29"/>
                </a:cxn>
                <a:cxn ang="0">
                  <a:pos x="49" y="29"/>
                </a:cxn>
                <a:cxn ang="0">
                  <a:pos x="69" y="29"/>
                </a:cxn>
                <a:cxn ang="0">
                  <a:pos x="69" y="9"/>
                </a:cxn>
                <a:cxn ang="0">
                  <a:pos x="78" y="0"/>
                </a:cxn>
                <a:cxn ang="0">
                  <a:pos x="78" y="9"/>
                </a:cxn>
                <a:cxn ang="0">
                  <a:pos x="98" y="29"/>
                </a:cxn>
                <a:cxn ang="0">
                  <a:pos x="108" y="39"/>
                </a:cxn>
                <a:cxn ang="0">
                  <a:pos x="137" y="39"/>
                </a:cxn>
                <a:cxn ang="0">
                  <a:pos x="166" y="39"/>
                </a:cxn>
                <a:cxn ang="0">
                  <a:pos x="176" y="39"/>
                </a:cxn>
                <a:cxn ang="0">
                  <a:pos x="176" y="48"/>
                </a:cxn>
                <a:cxn ang="0">
                  <a:pos x="176" y="58"/>
                </a:cxn>
                <a:cxn ang="0">
                  <a:pos x="195" y="58"/>
                </a:cxn>
                <a:cxn ang="0">
                  <a:pos x="205" y="58"/>
                </a:cxn>
                <a:cxn ang="0">
                  <a:pos x="195" y="68"/>
                </a:cxn>
                <a:cxn ang="0">
                  <a:pos x="205" y="87"/>
                </a:cxn>
                <a:cxn ang="0">
                  <a:pos x="195" y="97"/>
                </a:cxn>
                <a:cxn ang="0">
                  <a:pos x="186" y="107"/>
                </a:cxn>
                <a:cxn ang="0">
                  <a:pos x="186" y="117"/>
                </a:cxn>
                <a:cxn ang="0">
                  <a:pos x="186" y="136"/>
                </a:cxn>
                <a:cxn ang="0">
                  <a:pos x="186" y="146"/>
                </a:cxn>
                <a:cxn ang="0">
                  <a:pos x="176" y="156"/>
                </a:cxn>
                <a:cxn ang="0">
                  <a:pos x="156" y="175"/>
                </a:cxn>
                <a:cxn ang="0">
                  <a:pos x="137" y="204"/>
                </a:cxn>
              </a:cxnLst>
              <a:rect l="0" t="0" r="r" b="b"/>
              <a:pathLst>
                <a:path w="205" h="214">
                  <a:moveTo>
                    <a:pt x="137" y="204"/>
                  </a:moveTo>
                  <a:lnTo>
                    <a:pt x="117" y="204"/>
                  </a:lnTo>
                  <a:lnTo>
                    <a:pt x="88" y="204"/>
                  </a:lnTo>
                  <a:lnTo>
                    <a:pt x="78" y="214"/>
                  </a:lnTo>
                  <a:lnTo>
                    <a:pt x="69" y="214"/>
                  </a:lnTo>
                  <a:lnTo>
                    <a:pt x="49" y="204"/>
                  </a:lnTo>
                  <a:lnTo>
                    <a:pt x="49" y="195"/>
                  </a:lnTo>
                  <a:lnTo>
                    <a:pt x="39" y="175"/>
                  </a:lnTo>
                  <a:lnTo>
                    <a:pt x="30" y="156"/>
                  </a:lnTo>
                  <a:lnTo>
                    <a:pt x="30" y="146"/>
                  </a:lnTo>
                  <a:lnTo>
                    <a:pt x="30" y="136"/>
                  </a:lnTo>
                  <a:lnTo>
                    <a:pt x="10" y="117"/>
                  </a:lnTo>
                  <a:lnTo>
                    <a:pt x="0" y="97"/>
                  </a:lnTo>
                  <a:lnTo>
                    <a:pt x="10" y="78"/>
                  </a:lnTo>
                  <a:lnTo>
                    <a:pt x="10" y="58"/>
                  </a:lnTo>
                  <a:lnTo>
                    <a:pt x="10" y="48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29"/>
                  </a:lnTo>
                  <a:lnTo>
                    <a:pt x="49" y="29"/>
                  </a:lnTo>
                  <a:lnTo>
                    <a:pt x="69" y="29"/>
                  </a:lnTo>
                  <a:lnTo>
                    <a:pt x="69" y="9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98" y="29"/>
                  </a:lnTo>
                  <a:lnTo>
                    <a:pt x="108" y="39"/>
                  </a:lnTo>
                  <a:lnTo>
                    <a:pt x="137" y="39"/>
                  </a:lnTo>
                  <a:lnTo>
                    <a:pt x="166" y="39"/>
                  </a:lnTo>
                  <a:lnTo>
                    <a:pt x="176" y="39"/>
                  </a:lnTo>
                  <a:lnTo>
                    <a:pt x="176" y="48"/>
                  </a:lnTo>
                  <a:lnTo>
                    <a:pt x="176" y="58"/>
                  </a:lnTo>
                  <a:lnTo>
                    <a:pt x="195" y="58"/>
                  </a:lnTo>
                  <a:lnTo>
                    <a:pt x="205" y="58"/>
                  </a:lnTo>
                  <a:lnTo>
                    <a:pt x="195" y="68"/>
                  </a:lnTo>
                  <a:lnTo>
                    <a:pt x="205" y="87"/>
                  </a:lnTo>
                  <a:lnTo>
                    <a:pt x="195" y="97"/>
                  </a:lnTo>
                  <a:lnTo>
                    <a:pt x="186" y="107"/>
                  </a:lnTo>
                  <a:lnTo>
                    <a:pt x="186" y="117"/>
                  </a:lnTo>
                  <a:lnTo>
                    <a:pt x="186" y="136"/>
                  </a:lnTo>
                  <a:lnTo>
                    <a:pt x="186" y="146"/>
                  </a:lnTo>
                  <a:lnTo>
                    <a:pt x="176" y="156"/>
                  </a:lnTo>
                  <a:lnTo>
                    <a:pt x="156" y="175"/>
                  </a:lnTo>
                  <a:lnTo>
                    <a:pt x="137" y="20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8" name="Freeform 163"/>
            <p:cNvSpPr>
              <a:spLocks/>
            </p:cNvSpPr>
            <p:nvPr/>
          </p:nvSpPr>
          <p:spPr bwMode="auto">
            <a:xfrm>
              <a:off x="1631" y="1982"/>
              <a:ext cx="271" cy="244"/>
            </a:xfrm>
            <a:custGeom>
              <a:avLst/>
              <a:gdLst/>
              <a:ahLst/>
              <a:cxnLst>
                <a:cxn ang="0">
                  <a:pos x="39" y="156"/>
                </a:cxn>
                <a:cxn ang="0">
                  <a:pos x="39" y="165"/>
                </a:cxn>
                <a:cxn ang="0">
                  <a:pos x="49" y="165"/>
                </a:cxn>
                <a:cxn ang="0">
                  <a:pos x="68" y="165"/>
                </a:cxn>
                <a:cxn ang="0">
                  <a:pos x="78" y="165"/>
                </a:cxn>
                <a:cxn ang="0">
                  <a:pos x="78" y="185"/>
                </a:cxn>
                <a:cxn ang="0">
                  <a:pos x="78" y="195"/>
                </a:cxn>
                <a:cxn ang="0">
                  <a:pos x="88" y="214"/>
                </a:cxn>
                <a:cxn ang="0">
                  <a:pos x="97" y="214"/>
                </a:cxn>
                <a:cxn ang="0">
                  <a:pos x="117" y="205"/>
                </a:cxn>
                <a:cxn ang="0">
                  <a:pos x="137" y="205"/>
                </a:cxn>
                <a:cxn ang="0">
                  <a:pos x="166" y="234"/>
                </a:cxn>
                <a:cxn ang="0">
                  <a:pos x="185" y="244"/>
                </a:cxn>
                <a:cxn ang="0">
                  <a:pos x="185" y="234"/>
                </a:cxn>
                <a:cxn ang="0">
                  <a:pos x="195" y="224"/>
                </a:cxn>
                <a:cxn ang="0">
                  <a:pos x="195" y="224"/>
                </a:cxn>
                <a:cxn ang="0">
                  <a:pos x="195" y="234"/>
                </a:cxn>
                <a:cxn ang="0">
                  <a:pos x="215" y="224"/>
                </a:cxn>
                <a:cxn ang="0">
                  <a:pos x="205" y="214"/>
                </a:cxn>
                <a:cxn ang="0">
                  <a:pos x="205" y="205"/>
                </a:cxn>
                <a:cxn ang="0">
                  <a:pos x="215" y="205"/>
                </a:cxn>
                <a:cxn ang="0">
                  <a:pos x="234" y="214"/>
                </a:cxn>
                <a:cxn ang="0">
                  <a:pos x="244" y="214"/>
                </a:cxn>
                <a:cxn ang="0">
                  <a:pos x="244" y="205"/>
                </a:cxn>
                <a:cxn ang="0">
                  <a:pos x="263" y="195"/>
                </a:cxn>
                <a:cxn ang="0">
                  <a:pos x="254" y="175"/>
                </a:cxn>
                <a:cxn ang="0">
                  <a:pos x="263" y="175"/>
                </a:cxn>
                <a:cxn ang="0">
                  <a:pos x="273" y="175"/>
                </a:cxn>
                <a:cxn ang="0">
                  <a:pos x="273" y="156"/>
                </a:cxn>
                <a:cxn ang="0">
                  <a:pos x="263" y="146"/>
                </a:cxn>
                <a:cxn ang="0">
                  <a:pos x="263" y="126"/>
                </a:cxn>
                <a:cxn ang="0">
                  <a:pos x="263" y="97"/>
                </a:cxn>
                <a:cxn ang="0">
                  <a:pos x="263" y="78"/>
                </a:cxn>
                <a:cxn ang="0">
                  <a:pos x="244" y="78"/>
                </a:cxn>
                <a:cxn ang="0">
                  <a:pos x="244" y="68"/>
                </a:cxn>
                <a:cxn ang="0">
                  <a:pos x="234" y="58"/>
                </a:cxn>
                <a:cxn ang="0">
                  <a:pos x="224" y="58"/>
                </a:cxn>
                <a:cxn ang="0">
                  <a:pos x="224" y="39"/>
                </a:cxn>
                <a:cxn ang="0">
                  <a:pos x="215" y="29"/>
                </a:cxn>
                <a:cxn ang="0">
                  <a:pos x="195" y="19"/>
                </a:cxn>
                <a:cxn ang="0">
                  <a:pos x="176" y="19"/>
                </a:cxn>
                <a:cxn ang="0">
                  <a:pos x="156" y="19"/>
                </a:cxn>
                <a:cxn ang="0">
                  <a:pos x="127" y="9"/>
                </a:cxn>
                <a:cxn ang="0">
                  <a:pos x="107" y="9"/>
                </a:cxn>
                <a:cxn ang="0">
                  <a:pos x="107" y="9"/>
                </a:cxn>
                <a:cxn ang="0">
                  <a:pos x="97" y="0"/>
                </a:cxn>
                <a:cxn ang="0">
                  <a:pos x="78" y="0"/>
                </a:cxn>
                <a:cxn ang="0">
                  <a:pos x="78" y="9"/>
                </a:cxn>
                <a:cxn ang="0">
                  <a:pos x="68" y="19"/>
                </a:cxn>
                <a:cxn ang="0">
                  <a:pos x="58" y="9"/>
                </a:cxn>
                <a:cxn ang="0">
                  <a:pos x="49" y="19"/>
                </a:cxn>
                <a:cxn ang="0">
                  <a:pos x="49" y="29"/>
                </a:cxn>
                <a:cxn ang="0">
                  <a:pos x="39" y="39"/>
                </a:cxn>
                <a:cxn ang="0">
                  <a:pos x="19" y="58"/>
                </a:cxn>
                <a:cxn ang="0">
                  <a:pos x="0" y="87"/>
                </a:cxn>
                <a:cxn ang="0">
                  <a:pos x="10" y="97"/>
                </a:cxn>
                <a:cxn ang="0">
                  <a:pos x="0" y="117"/>
                </a:cxn>
                <a:cxn ang="0">
                  <a:pos x="10" y="126"/>
                </a:cxn>
                <a:cxn ang="0">
                  <a:pos x="19" y="126"/>
                </a:cxn>
                <a:cxn ang="0">
                  <a:pos x="39" y="126"/>
                </a:cxn>
                <a:cxn ang="0">
                  <a:pos x="49" y="136"/>
                </a:cxn>
                <a:cxn ang="0">
                  <a:pos x="29" y="146"/>
                </a:cxn>
                <a:cxn ang="0">
                  <a:pos x="39" y="156"/>
                </a:cxn>
              </a:cxnLst>
              <a:rect l="0" t="0" r="r" b="b"/>
              <a:pathLst>
                <a:path w="273" h="244">
                  <a:moveTo>
                    <a:pt x="39" y="156"/>
                  </a:moveTo>
                  <a:lnTo>
                    <a:pt x="39" y="165"/>
                  </a:lnTo>
                  <a:lnTo>
                    <a:pt x="49" y="165"/>
                  </a:lnTo>
                  <a:lnTo>
                    <a:pt x="68" y="165"/>
                  </a:lnTo>
                  <a:lnTo>
                    <a:pt x="78" y="16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7" y="214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66" y="234"/>
                  </a:lnTo>
                  <a:lnTo>
                    <a:pt x="185" y="244"/>
                  </a:lnTo>
                  <a:lnTo>
                    <a:pt x="185" y="234"/>
                  </a:lnTo>
                  <a:lnTo>
                    <a:pt x="195" y="224"/>
                  </a:lnTo>
                  <a:lnTo>
                    <a:pt x="195" y="234"/>
                  </a:lnTo>
                  <a:lnTo>
                    <a:pt x="215" y="22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215" y="205"/>
                  </a:lnTo>
                  <a:lnTo>
                    <a:pt x="234" y="214"/>
                  </a:lnTo>
                  <a:lnTo>
                    <a:pt x="244" y="214"/>
                  </a:lnTo>
                  <a:lnTo>
                    <a:pt x="244" y="205"/>
                  </a:lnTo>
                  <a:lnTo>
                    <a:pt x="263" y="195"/>
                  </a:lnTo>
                  <a:lnTo>
                    <a:pt x="254" y="175"/>
                  </a:lnTo>
                  <a:lnTo>
                    <a:pt x="263" y="175"/>
                  </a:lnTo>
                  <a:lnTo>
                    <a:pt x="273" y="175"/>
                  </a:lnTo>
                  <a:lnTo>
                    <a:pt x="273" y="156"/>
                  </a:lnTo>
                  <a:lnTo>
                    <a:pt x="263" y="146"/>
                  </a:lnTo>
                  <a:lnTo>
                    <a:pt x="263" y="126"/>
                  </a:lnTo>
                  <a:lnTo>
                    <a:pt x="263" y="97"/>
                  </a:lnTo>
                  <a:lnTo>
                    <a:pt x="263" y="78"/>
                  </a:lnTo>
                  <a:lnTo>
                    <a:pt x="244" y="78"/>
                  </a:lnTo>
                  <a:lnTo>
                    <a:pt x="244" y="68"/>
                  </a:lnTo>
                  <a:lnTo>
                    <a:pt x="234" y="58"/>
                  </a:lnTo>
                  <a:lnTo>
                    <a:pt x="224" y="58"/>
                  </a:lnTo>
                  <a:lnTo>
                    <a:pt x="224" y="39"/>
                  </a:lnTo>
                  <a:lnTo>
                    <a:pt x="215" y="29"/>
                  </a:lnTo>
                  <a:lnTo>
                    <a:pt x="195" y="19"/>
                  </a:lnTo>
                  <a:lnTo>
                    <a:pt x="176" y="19"/>
                  </a:lnTo>
                  <a:lnTo>
                    <a:pt x="156" y="19"/>
                  </a:lnTo>
                  <a:lnTo>
                    <a:pt x="127" y="9"/>
                  </a:lnTo>
                  <a:lnTo>
                    <a:pt x="107" y="9"/>
                  </a:lnTo>
                  <a:lnTo>
                    <a:pt x="97" y="0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68" y="19"/>
                  </a:lnTo>
                  <a:lnTo>
                    <a:pt x="58" y="9"/>
                  </a:lnTo>
                  <a:lnTo>
                    <a:pt x="49" y="19"/>
                  </a:lnTo>
                  <a:lnTo>
                    <a:pt x="49" y="29"/>
                  </a:lnTo>
                  <a:lnTo>
                    <a:pt x="39" y="39"/>
                  </a:lnTo>
                  <a:lnTo>
                    <a:pt x="19" y="58"/>
                  </a:lnTo>
                  <a:lnTo>
                    <a:pt x="0" y="87"/>
                  </a:lnTo>
                  <a:lnTo>
                    <a:pt x="10" y="97"/>
                  </a:lnTo>
                  <a:lnTo>
                    <a:pt x="0" y="117"/>
                  </a:lnTo>
                  <a:lnTo>
                    <a:pt x="10" y="126"/>
                  </a:lnTo>
                  <a:lnTo>
                    <a:pt x="19" y="126"/>
                  </a:lnTo>
                  <a:lnTo>
                    <a:pt x="39" y="126"/>
                  </a:lnTo>
                  <a:lnTo>
                    <a:pt x="49" y="136"/>
                  </a:lnTo>
                  <a:lnTo>
                    <a:pt x="29" y="146"/>
                  </a:lnTo>
                  <a:lnTo>
                    <a:pt x="39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9" name="Freeform 162"/>
            <p:cNvSpPr>
              <a:spLocks/>
            </p:cNvSpPr>
            <p:nvPr/>
          </p:nvSpPr>
          <p:spPr bwMode="auto">
            <a:xfrm>
              <a:off x="1425" y="2038"/>
              <a:ext cx="256" cy="235"/>
            </a:xfrm>
            <a:custGeom>
              <a:avLst/>
              <a:gdLst/>
              <a:ahLst/>
              <a:cxnLst>
                <a:cxn ang="0">
                  <a:pos x="127" y="234"/>
                </a:cxn>
                <a:cxn ang="0">
                  <a:pos x="166" y="215"/>
                </a:cxn>
                <a:cxn ang="0">
                  <a:pos x="166" y="156"/>
                </a:cxn>
                <a:cxn ang="0">
                  <a:pos x="166" y="147"/>
                </a:cxn>
                <a:cxn ang="0">
                  <a:pos x="185" y="137"/>
                </a:cxn>
                <a:cxn ang="0">
                  <a:pos x="215" y="117"/>
                </a:cxn>
                <a:cxn ang="0">
                  <a:pos x="244" y="98"/>
                </a:cxn>
                <a:cxn ang="0">
                  <a:pos x="234" y="88"/>
                </a:cxn>
                <a:cxn ang="0">
                  <a:pos x="254" y="78"/>
                </a:cxn>
                <a:cxn ang="0">
                  <a:pos x="244" y="68"/>
                </a:cxn>
                <a:cxn ang="0">
                  <a:pos x="224" y="68"/>
                </a:cxn>
                <a:cxn ang="0">
                  <a:pos x="215" y="68"/>
                </a:cxn>
                <a:cxn ang="0">
                  <a:pos x="215" y="59"/>
                </a:cxn>
                <a:cxn ang="0">
                  <a:pos x="215" y="39"/>
                </a:cxn>
                <a:cxn ang="0">
                  <a:pos x="205" y="29"/>
                </a:cxn>
                <a:cxn ang="0">
                  <a:pos x="185" y="29"/>
                </a:cxn>
                <a:cxn ang="0">
                  <a:pos x="166" y="29"/>
                </a:cxn>
                <a:cxn ang="0">
                  <a:pos x="156" y="49"/>
                </a:cxn>
                <a:cxn ang="0">
                  <a:pos x="137" y="39"/>
                </a:cxn>
                <a:cxn ang="0">
                  <a:pos x="117" y="29"/>
                </a:cxn>
                <a:cxn ang="0">
                  <a:pos x="127" y="20"/>
                </a:cxn>
                <a:cxn ang="0">
                  <a:pos x="107" y="0"/>
                </a:cxn>
                <a:cxn ang="0">
                  <a:pos x="88" y="10"/>
                </a:cxn>
                <a:cxn ang="0">
                  <a:pos x="78" y="20"/>
                </a:cxn>
                <a:cxn ang="0">
                  <a:pos x="59" y="20"/>
                </a:cxn>
                <a:cxn ang="0">
                  <a:pos x="49" y="29"/>
                </a:cxn>
                <a:cxn ang="0">
                  <a:pos x="59" y="39"/>
                </a:cxn>
                <a:cxn ang="0">
                  <a:pos x="49" y="49"/>
                </a:cxn>
                <a:cxn ang="0">
                  <a:pos x="39" y="59"/>
                </a:cxn>
                <a:cxn ang="0">
                  <a:pos x="20" y="59"/>
                </a:cxn>
                <a:cxn ang="0">
                  <a:pos x="10" y="68"/>
                </a:cxn>
                <a:cxn ang="0">
                  <a:pos x="0" y="78"/>
                </a:cxn>
                <a:cxn ang="0">
                  <a:pos x="10" y="88"/>
                </a:cxn>
                <a:cxn ang="0">
                  <a:pos x="29" y="88"/>
                </a:cxn>
                <a:cxn ang="0">
                  <a:pos x="29" y="98"/>
                </a:cxn>
                <a:cxn ang="0">
                  <a:pos x="39" y="107"/>
                </a:cxn>
                <a:cxn ang="0">
                  <a:pos x="39" y="107"/>
                </a:cxn>
                <a:cxn ang="0">
                  <a:pos x="59" y="107"/>
                </a:cxn>
                <a:cxn ang="0">
                  <a:pos x="49" y="127"/>
                </a:cxn>
                <a:cxn ang="0">
                  <a:pos x="59" y="137"/>
                </a:cxn>
                <a:cxn ang="0">
                  <a:pos x="78" y="137"/>
                </a:cxn>
                <a:cxn ang="0">
                  <a:pos x="78" y="156"/>
                </a:cxn>
                <a:cxn ang="0">
                  <a:pos x="88" y="156"/>
                </a:cxn>
                <a:cxn ang="0">
                  <a:pos x="78" y="166"/>
                </a:cxn>
                <a:cxn ang="0">
                  <a:pos x="78" y="186"/>
                </a:cxn>
                <a:cxn ang="0">
                  <a:pos x="88" y="195"/>
                </a:cxn>
                <a:cxn ang="0">
                  <a:pos x="98" y="195"/>
                </a:cxn>
                <a:cxn ang="0">
                  <a:pos x="107" y="205"/>
                </a:cxn>
                <a:cxn ang="0">
                  <a:pos x="127" y="234"/>
                </a:cxn>
              </a:cxnLst>
              <a:rect l="0" t="0" r="r" b="b"/>
              <a:pathLst>
                <a:path w="254" h="234">
                  <a:moveTo>
                    <a:pt x="127" y="234"/>
                  </a:moveTo>
                  <a:lnTo>
                    <a:pt x="166" y="215"/>
                  </a:lnTo>
                  <a:lnTo>
                    <a:pt x="166" y="156"/>
                  </a:lnTo>
                  <a:lnTo>
                    <a:pt x="166" y="147"/>
                  </a:lnTo>
                  <a:lnTo>
                    <a:pt x="185" y="137"/>
                  </a:lnTo>
                  <a:lnTo>
                    <a:pt x="215" y="117"/>
                  </a:lnTo>
                  <a:lnTo>
                    <a:pt x="244" y="98"/>
                  </a:lnTo>
                  <a:lnTo>
                    <a:pt x="234" y="8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24" y="68"/>
                  </a:lnTo>
                  <a:lnTo>
                    <a:pt x="215" y="68"/>
                  </a:lnTo>
                  <a:lnTo>
                    <a:pt x="215" y="59"/>
                  </a:lnTo>
                  <a:lnTo>
                    <a:pt x="215" y="39"/>
                  </a:lnTo>
                  <a:lnTo>
                    <a:pt x="205" y="29"/>
                  </a:lnTo>
                  <a:lnTo>
                    <a:pt x="185" y="29"/>
                  </a:lnTo>
                  <a:lnTo>
                    <a:pt x="166" y="29"/>
                  </a:lnTo>
                  <a:lnTo>
                    <a:pt x="156" y="49"/>
                  </a:lnTo>
                  <a:lnTo>
                    <a:pt x="137" y="39"/>
                  </a:lnTo>
                  <a:lnTo>
                    <a:pt x="117" y="29"/>
                  </a:lnTo>
                  <a:lnTo>
                    <a:pt x="127" y="20"/>
                  </a:lnTo>
                  <a:lnTo>
                    <a:pt x="107" y="0"/>
                  </a:lnTo>
                  <a:lnTo>
                    <a:pt x="88" y="10"/>
                  </a:lnTo>
                  <a:lnTo>
                    <a:pt x="78" y="2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59" y="39"/>
                  </a:lnTo>
                  <a:lnTo>
                    <a:pt x="49" y="49"/>
                  </a:lnTo>
                  <a:lnTo>
                    <a:pt x="39" y="59"/>
                  </a:lnTo>
                  <a:lnTo>
                    <a:pt x="20" y="59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29" y="88"/>
                  </a:lnTo>
                  <a:lnTo>
                    <a:pt x="29" y="9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49" y="127"/>
                  </a:lnTo>
                  <a:lnTo>
                    <a:pt x="59" y="137"/>
                  </a:lnTo>
                  <a:lnTo>
                    <a:pt x="78" y="137"/>
                  </a:lnTo>
                  <a:lnTo>
                    <a:pt x="78" y="156"/>
                  </a:lnTo>
                  <a:lnTo>
                    <a:pt x="88" y="156"/>
                  </a:lnTo>
                  <a:lnTo>
                    <a:pt x="78" y="166"/>
                  </a:lnTo>
                  <a:lnTo>
                    <a:pt x="78" y="186"/>
                  </a:lnTo>
                  <a:lnTo>
                    <a:pt x="88" y="195"/>
                  </a:lnTo>
                  <a:lnTo>
                    <a:pt x="98" y="195"/>
                  </a:lnTo>
                  <a:lnTo>
                    <a:pt x="107" y="205"/>
                  </a:lnTo>
                  <a:lnTo>
                    <a:pt x="127" y="23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0" name="Freeform 161"/>
            <p:cNvSpPr>
              <a:spLocks/>
            </p:cNvSpPr>
            <p:nvPr/>
          </p:nvSpPr>
          <p:spPr bwMode="auto">
            <a:xfrm>
              <a:off x="1544" y="2134"/>
              <a:ext cx="252" cy="266"/>
            </a:xfrm>
            <a:custGeom>
              <a:avLst/>
              <a:gdLst/>
              <a:ahLst/>
              <a:cxnLst>
                <a:cxn ang="0">
                  <a:pos x="10" y="156"/>
                </a:cxn>
                <a:cxn ang="0">
                  <a:pos x="10" y="156"/>
                </a:cxn>
                <a:cxn ang="0">
                  <a:pos x="0" y="175"/>
                </a:cxn>
                <a:cxn ang="0">
                  <a:pos x="10" y="185"/>
                </a:cxn>
                <a:cxn ang="0">
                  <a:pos x="29" y="185"/>
                </a:cxn>
                <a:cxn ang="0">
                  <a:pos x="39" y="185"/>
                </a:cxn>
                <a:cxn ang="0">
                  <a:pos x="49" y="205"/>
                </a:cxn>
                <a:cxn ang="0">
                  <a:pos x="49" y="224"/>
                </a:cxn>
                <a:cxn ang="0">
                  <a:pos x="59" y="234"/>
                </a:cxn>
                <a:cxn ang="0">
                  <a:pos x="68" y="234"/>
                </a:cxn>
                <a:cxn ang="0">
                  <a:pos x="78" y="244"/>
                </a:cxn>
                <a:cxn ang="0">
                  <a:pos x="68" y="244"/>
                </a:cxn>
                <a:cxn ang="0">
                  <a:pos x="68" y="253"/>
                </a:cxn>
                <a:cxn ang="0">
                  <a:pos x="78" y="263"/>
                </a:cxn>
                <a:cxn ang="0">
                  <a:pos x="88" y="263"/>
                </a:cxn>
                <a:cxn ang="0">
                  <a:pos x="98" y="263"/>
                </a:cxn>
                <a:cxn ang="0">
                  <a:pos x="117" y="244"/>
                </a:cxn>
                <a:cxn ang="0">
                  <a:pos x="127" y="244"/>
                </a:cxn>
                <a:cxn ang="0">
                  <a:pos x="137" y="234"/>
                </a:cxn>
                <a:cxn ang="0">
                  <a:pos x="146" y="224"/>
                </a:cxn>
                <a:cxn ang="0">
                  <a:pos x="166" y="224"/>
                </a:cxn>
                <a:cxn ang="0">
                  <a:pos x="185" y="224"/>
                </a:cxn>
                <a:cxn ang="0">
                  <a:pos x="195" y="205"/>
                </a:cxn>
                <a:cxn ang="0">
                  <a:pos x="195" y="185"/>
                </a:cxn>
                <a:cxn ang="0">
                  <a:pos x="195" y="166"/>
                </a:cxn>
                <a:cxn ang="0">
                  <a:pos x="215" y="156"/>
                </a:cxn>
                <a:cxn ang="0">
                  <a:pos x="225" y="136"/>
                </a:cxn>
                <a:cxn ang="0">
                  <a:pos x="225" y="88"/>
                </a:cxn>
                <a:cxn ang="0">
                  <a:pos x="254" y="88"/>
                </a:cxn>
                <a:cxn ang="0">
                  <a:pos x="225" y="49"/>
                </a:cxn>
                <a:cxn ang="0">
                  <a:pos x="205" y="49"/>
                </a:cxn>
                <a:cxn ang="0">
                  <a:pos x="185" y="58"/>
                </a:cxn>
                <a:cxn ang="0">
                  <a:pos x="176" y="58"/>
                </a:cxn>
                <a:cxn ang="0">
                  <a:pos x="166" y="39"/>
                </a:cxn>
                <a:cxn ang="0">
                  <a:pos x="166" y="29"/>
                </a:cxn>
                <a:cxn ang="0">
                  <a:pos x="166" y="9"/>
                </a:cxn>
                <a:cxn ang="0">
                  <a:pos x="156" y="9"/>
                </a:cxn>
                <a:cxn ang="0">
                  <a:pos x="137" y="9"/>
                </a:cxn>
                <a:cxn ang="0">
                  <a:pos x="127" y="9"/>
                </a:cxn>
                <a:cxn ang="0">
                  <a:pos x="127" y="0"/>
                </a:cxn>
                <a:cxn ang="0">
                  <a:pos x="98" y="19"/>
                </a:cxn>
                <a:cxn ang="0">
                  <a:pos x="68" y="39"/>
                </a:cxn>
                <a:cxn ang="0">
                  <a:pos x="49" y="39"/>
                </a:cxn>
                <a:cxn ang="0">
                  <a:pos x="39" y="58"/>
                </a:cxn>
                <a:cxn ang="0">
                  <a:pos x="39" y="107"/>
                </a:cxn>
                <a:cxn ang="0">
                  <a:pos x="10" y="136"/>
                </a:cxn>
                <a:cxn ang="0">
                  <a:pos x="10" y="156"/>
                </a:cxn>
              </a:cxnLst>
              <a:rect l="0" t="0" r="r" b="b"/>
              <a:pathLst>
                <a:path w="254" h="263">
                  <a:moveTo>
                    <a:pt x="10" y="156"/>
                  </a:moveTo>
                  <a:lnTo>
                    <a:pt x="10" y="156"/>
                  </a:lnTo>
                  <a:lnTo>
                    <a:pt x="0" y="175"/>
                  </a:lnTo>
                  <a:lnTo>
                    <a:pt x="10" y="185"/>
                  </a:lnTo>
                  <a:lnTo>
                    <a:pt x="29" y="185"/>
                  </a:lnTo>
                  <a:lnTo>
                    <a:pt x="39" y="185"/>
                  </a:lnTo>
                  <a:lnTo>
                    <a:pt x="49" y="205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68" y="234"/>
                  </a:lnTo>
                  <a:lnTo>
                    <a:pt x="78" y="244"/>
                  </a:lnTo>
                  <a:lnTo>
                    <a:pt x="68" y="244"/>
                  </a:lnTo>
                  <a:lnTo>
                    <a:pt x="68" y="253"/>
                  </a:lnTo>
                  <a:lnTo>
                    <a:pt x="78" y="263"/>
                  </a:lnTo>
                  <a:lnTo>
                    <a:pt x="88" y="263"/>
                  </a:lnTo>
                  <a:lnTo>
                    <a:pt x="98" y="263"/>
                  </a:lnTo>
                  <a:lnTo>
                    <a:pt x="117" y="244"/>
                  </a:lnTo>
                  <a:lnTo>
                    <a:pt x="127" y="244"/>
                  </a:lnTo>
                  <a:lnTo>
                    <a:pt x="137" y="234"/>
                  </a:lnTo>
                  <a:lnTo>
                    <a:pt x="146" y="224"/>
                  </a:lnTo>
                  <a:lnTo>
                    <a:pt x="166" y="224"/>
                  </a:lnTo>
                  <a:lnTo>
                    <a:pt x="185" y="224"/>
                  </a:lnTo>
                  <a:lnTo>
                    <a:pt x="195" y="205"/>
                  </a:lnTo>
                  <a:lnTo>
                    <a:pt x="195" y="185"/>
                  </a:lnTo>
                  <a:lnTo>
                    <a:pt x="195" y="166"/>
                  </a:lnTo>
                  <a:lnTo>
                    <a:pt x="215" y="156"/>
                  </a:lnTo>
                  <a:lnTo>
                    <a:pt x="225" y="136"/>
                  </a:lnTo>
                  <a:lnTo>
                    <a:pt x="225" y="88"/>
                  </a:lnTo>
                  <a:lnTo>
                    <a:pt x="254" y="88"/>
                  </a:lnTo>
                  <a:lnTo>
                    <a:pt x="225" y="49"/>
                  </a:lnTo>
                  <a:lnTo>
                    <a:pt x="205" y="49"/>
                  </a:lnTo>
                  <a:lnTo>
                    <a:pt x="185" y="58"/>
                  </a:lnTo>
                  <a:lnTo>
                    <a:pt x="176" y="58"/>
                  </a:lnTo>
                  <a:lnTo>
                    <a:pt x="166" y="39"/>
                  </a:lnTo>
                  <a:lnTo>
                    <a:pt x="166" y="29"/>
                  </a:lnTo>
                  <a:lnTo>
                    <a:pt x="166" y="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9"/>
                  </a:lnTo>
                  <a:lnTo>
                    <a:pt x="127" y="0"/>
                  </a:lnTo>
                  <a:lnTo>
                    <a:pt x="98" y="19"/>
                  </a:lnTo>
                  <a:lnTo>
                    <a:pt x="68" y="39"/>
                  </a:lnTo>
                  <a:lnTo>
                    <a:pt x="49" y="39"/>
                  </a:lnTo>
                  <a:lnTo>
                    <a:pt x="39" y="58"/>
                  </a:lnTo>
                  <a:lnTo>
                    <a:pt x="39" y="107"/>
                  </a:lnTo>
                  <a:lnTo>
                    <a:pt x="10" y="136"/>
                  </a:lnTo>
                  <a:lnTo>
                    <a:pt x="10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1" name="Freeform 160"/>
            <p:cNvSpPr>
              <a:spLocks/>
            </p:cNvSpPr>
            <p:nvPr/>
          </p:nvSpPr>
          <p:spPr bwMode="auto">
            <a:xfrm>
              <a:off x="1290" y="2134"/>
              <a:ext cx="331" cy="315"/>
            </a:xfrm>
            <a:custGeom>
              <a:avLst/>
              <a:gdLst/>
              <a:ahLst/>
              <a:cxnLst>
                <a:cxn ang="0">
                  <a:pos x="117" y="68"/>
                </a:cxn>
                <a:cxn ang="0">
                  <a:pos x="87" y="78"/>
                </a:cxn>
                <a:cxn ang="0">
                  <a:pos x="97" y="97"/>
                </a:cxn>
                <a:cxn ang="0">
                  <a:pos x="78" y="117"/>
                </a:cxn>
                <a:cxn ang="0">
                  <a:pos x="68" y="117"/>
                </a:cxn>
                <a:cxn ang="0">
                  <a:pos x="68" y="136"/>
                </a:cxn>
                <a:cxn ang="0">
                  <a:pos x="58" y="156"/>
                </a:cxn>
                <a:cxn ang="0">
                  <a:pos x="19" y="195"/>
                </a:cxn>
                <a:cxn ang="0">
                  <a:pos x="0" y="205"/>
                </a:cxn>
                <a:cxn ang="0">
                  <a:pos x="9" y="234"/>
                </a:cxn>
                <a:cxn ang="0">
                  <a:pos x="9" y="263"/>
                </a:cxn>
                <a:cxn ang="0">
                  <a:pos x="39" y="292"/>
                </a:cxn>
                <a:cxn ang="0">
                  <a:pos x="68" y="312"/>
                </a:cxn>
                <a:cxn ang="0">
                  <a:pos x="107" y="292"/>
                </a:cxn>
                <a:cxn ang="0">
                  <a:pos x="136" y="302"/>
                </a:cxn>
                <a:cxn ang="0">
                  <a:pos x="156" y="292"/>
                </a:cxn>
                <a:cxn ang="0">
                  <a:pos x="175" y="273"/>
                </a:cxn>
                <a:cxn ang="0">
                  <a:pos x="185" y="253"/>
                </a:cxn>
                <a:cxn ang="0">
                  <a:pos x="234" y="263"/>
                </a:cxn>
                <a:cxn ang="0">
                  <a:pos x="282" y="302"/>
                </a:cxn>
                <a:cxn ang="0">
                  <a:pos x="321" y="292"/>
                </a:cxn>
                <a:cxn ang="0">
                  <a:pos x="331" y="263"/>
                </a:cxn>
                <a:cxn ang="0">
                  <a:pos x="321" y="244"/>
                </a:cxn>
                <a:cxn ang="0">
                  <a:pos x="321" y="234"/>
                </a:cxn>
                <a:cxn ang="0">
                  <a:pos x="302" y="224"/>
                </a:cxn>
                <a:cxn ang="0">
                  <a:pos x="292" y="185"/>
                </a:cxn>
                <a:cxn ang="0">
                  <a:pos x="263" y="185"/>
                </a:cxn>
                <a:cxn ang="0">
                  <a:pos x="263" y="156"/>
                </a:cxn>
                <a:cxn ang="0">
                  <a:pos x="263" y="136"/>
                </a:cxn>
                <a:cxn ang="0">
                  <a:pos x="234" y="97"/>
                </a:cxn>
                <a:cxn ang="0">
                  <a:pos x="214" y="88"/>
                </a:cxn>
                <a:cxn ang="0">
                  <a:pos x="224" y="58"/>
                </a:cxn>
                <a:cxn ang="0">
                  <a:pos x="204" y="39"/>
                </a:cxn>
                <a:cxn ang="0">
                  <a:pos x="185" y="29"/>
                </a:cxn>
                <a:cxn ang="0">
                  <a:pos x="175" y="9"/>
                </a:cxn>
                <a:cxn ang="0">
                  <a:pos x="165" y="0"/>
                </a:cxn>
                <a:cxn ang="0">
                  <a:pos x="156" y="29"/>
                </a:cxn>
                <a:cxn ang="0">
                  <a:pos x="136" y="9"/>
                </a:cxn>
                <a:cxn ang="0">
                  <a:pos x="126" y="39"/>
                </a:cxn>
              </a:cxnLst>
              <a:rect l="0" t="0" r="r" b="b"/>
              <a:pathLst>
                <a:path w="331" h="312">
                  <a:moveTo>
                    <a:pt x="117" y="49"/>
                  </a:moveTo>
                  <a:lnTo>
                    <a:pt x="117" y="68"/>
                  </a:lnTo>
                  <a:lnTo>
                    <a:pt x="97" y="68"/>
                  </a:lnTo>
                  <a:lnTo>
                    <a:pt x="87" y="78"/>
                  </a:lnTo>
                  <a:lnTo>
                    <a:pt x="97" y="88"/>
                  </a:lnTo>
                  <a:lnTo>
                    <a:pt x="97" y="97"/>
                  </a:lnTo>
                  <a:lnTo>
                    <a:pt x="87" y="107"/>
                  </a:lnTo>
                  <a:lnTo>
                    <a:pt x="78" y="117"/>
                  </a:lnTo>
                  <a:lnTo>
                    <a:pt x="68" y="117"/>
                  </a:lnTo>
                  <a:lnTo>
                    <a:pt x="68" y="127"/>
                  </a:lnTo>
                  <a:lnTo>
                    <a:pt x="68" y="13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29" y="185"/>
                  </a:lnTo>
                  <a:lnTo>
                    <a:pt x="19" y="195"/>
                  </a:lnTo>
                  <a:lnTo>
                    <a:pt x="9" y="205"/>
                  </a:lnTo>
                  <a:lnTo>
                    <a:pt x="0" y="205"/>
                  </a:lnTo>
                  <a:lnTo>
                    <a:pt x="0" y="214"/>
                  </a:lnTo>
                  <a:lnTo>
                    <a:pt x="9" y="234"/>
                  </a:lnTo>
                  <a:lnTo>
                    <a:pt x="0" y="253"/>
                  </a:lnTo>
                  <a:lnTo>
                    <a:pt x="9" y="263"/>
                  </a:lnTo>
                  <a:lnTo>
                    <a:pt x="9" y="273"/>
                  </a:lnTo>
                  <a:lnTo>
                    <a:pt x="39" y="29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97" y="292"/>
                  </a:lnTo>
                  <a:lnTo>
                    <a:pt x="107" y="292"/>
                  </a:lnTo>
                  <a:lnTo>
                    <a:pt x="117" y="312"/>
                  </a:lnTo>
                  <a:lnTo>
                    <a:pt x="136" y="302"/>
                  </a:lnTo>
                  <a:lnTo>
                    <a:pt x="146" y="292"/>
                  </a:lnTo>
                  <a:lnTo>
                    <a:pt x="156" y="292"/>
                  </a:lnTo>
                  <a:lnTo>
                    <a:pt x="165" y="283"/>
                  </a:lnTo>
                  <a:lnTo>
                    <a:pt x="175" y="273"/>
                  </a:lnTo>
                  <a:lnTo>
                    <a:pt x="185" y="263"/>
                  </a:lnTo>
                  <a:lnTo>
                    <a:pt x="185" y="253"/>
                  </a:lnTo>
                  <a:lnTo>
                    <a:pt x="204" y="253"/>
                  </a:lnTo>
                  <a:lnTo>
                    <a:pt x="234" y="263"/>
                  </a:lnTo>
                  <a:lnTo>
                    <a:pt x="253" y="263"/>
                  </a:lnTo>
                  <a:lnTo>
                    <a:pt x="282" y="302"/>
                  </a:lnTo>
                  <a:lnTo>
                    <a:pt x="302" y="312"/>
                  </a:lnTo>
                  <a:lnTo>
                    <a:pt x="321" y="292"/>
                  </a:lnTo>
                  <a:lnTo>
                    <a:pt x="321" y="273"/>
                  </a:lnTo>
                  <a:lnTo>
                    <a:pt x="331" y="263"/>
                  </a:lnTo>
                  <a:lnTo>
                    <a:pt x="321" y="253"/>
                  </a:lnTo>
                  <a:lnTo>
                    <a:pt x="321" y="244"/>
                  </a:lnTo>
                  <a:lnTo>
                    <a:pt x="331" y="234"/>
                  </a:lnTo>
                  <a:lnTo>
                    <a:pt x="321" y="234"/>
                  </a:lnTo>
                  <a:lnTo>
                    <a:pt x="312" y="234"/>
                  </a:lnTo>
                  <a:lnTo>
                    <a:pt x="302" y="224"/>
                  </a:lnTo>
                  <a:lnTo>
                    <a:pt x="302" y="205"/>
                  </a:lnTo>
                  <a:lnTo>
                    <a:pt x="292" y="185"/>
                  </a:lnTo>
                  <a:lnTo>
                    <a:pt x="282" y="185"/>
                  </a:lnTo>
                  <a:lnTo>
                    <a:pt x="263" y="185"/>
                  </a:lnTo>
                  <a:lnTo>
                    <a:pt x="253" y="175"/>
                  </a:lnTo>
                  <a:lnTo>
                    <a:pt x="263" y="156"/>
                  </a:lnTo>
                  <a:lnTo>
                    <a:pt x="263" y="136"/>
                  </a:lnTo>
                  <a:lnTo>
                    <a:pt x="243" y="97"/>
                  </a:lnTo>
                  <a:lnTo>
                    <a:pt x="234" y="97"/>
                  </a:lnTo>
                  <a:lnTo>
                    <a:pt x="224" y="97"/>
                  </a:lnTo>
                  <a:lnTo>
                    <a:pt x="214" y="88"/>
                  </a:lnTo>
                  <a:lnTo>
                    <a:pt x="214" y="6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204" y="39"/>
                  </a:lnTo>
                  <a:lnTo>
                    <a:pt x="195" y="39"/>
                  </a:lnTo>
                  <a:lnTo>
                    <a:pt x="185" y="29"/>
                  </a:lnTo>
                  <a:lnTo>
                    <a:pt x="195" y="9"/>
                  </a:lnTo>
                  <a:lnTo>
                    <a:pt x="175" y="9"/>
                  </a:lnTo>
                  <a:lnTo>
                    <a:pt x="165" y="0"/>
                  </a:lnTo>
                  <a:lnTo>
                    <a:pt x="156" y="9"/>
                  </a:lnTo>
                  <a:lnTo>
                    <a:pt x="156" y="29"/>
                  </a:lnTo>
                  <a:lnTo>
                    <a:pt x="146" y="19"/>
                  </a:lnTo>
                  <a:lnTo>
                    <a:pt x="136" y="9"/>
                  </a:lnTo>
                  <a:lnTo>
                    <a:pt x="126" y="19"/>
                  </a:lnTo>
                  <a:lnTo>
                    <a:pt x="126" y="39"/>
                  </a:lnTo>
                  <a:lnTo>
                    <a:pt x="117" y="4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2" name="Freeform 159"/>
            <p:cNvSpPr>
              <a:spLocks/>
            </p:cNvSpPr>
            <p:nvPr/>
          </p:nvSpPr>
          <p:spPr bwMode="auto">
            <a:xfrm>
              <a:off x="1769" y="1072"/>
              <a:ext cx="455" cy="432"/>
            </a:xfrm>
            <a:custGeom>
              <a:avLst/>
              <a:gdLst/>
              <a:ahLst/>
              <a:cxnLst>
                <a:cxn ang="0">
                  <a:pos x="429" y="322"/>
                </a:cxn>
                <a:cxn ang="0">
                  <a:pos x="399" y="322"/>
                </a:cxn>
                <a:cxn ang="0">
                  <a:pos x="370" y="351"/>
                </a:cxn>
                <a:cxn ang="0">
                  <a:pos x="331" y="371"/>
                </a:cxn>
                <a:cxn ang="0">
                  <a:pos x="292" y="410"/>
                </a:cxn>
                <a:cxn ang="0">
                  <a:pos x="253" y="410"/>
                </a:cxn>
                <a:cxn ang="0">
                  <a:pos x="224" y="410"/>
                </a:cxn>
                <a:cxn ang="0">
                  <a:pos x="214" y="381"/>
                </a:cxn>
                <a:cxn ang="0">
                  <a:pos x="224" y="361"/>
                </a:cxn>
                <a:cxn ang="0">
                  <a:pos x="204" y="351"/>
                </a:cxn>
                <a:cxn ang="0">
                  <a:pos x="214" y="322"/>
                </a:cxn>
                <a:cxn ang="0">
                  <a:pos x="185" y="303"/>
                </a:cxn>
                <a:cxn ang="0">
                  <a:pos x="156" y="293"/>
                </a:cxn>
                <a:cxn ang="0">
                  <a:pos x="175" y="264"/>
                </a:cxn>
                <a:cxn ang="0">
                  <a:pos x="156" y="244"/>
                </a:cxn>
                <a:cxn ang="0">
                  <a:pos x="107" y="244"/>
                </a:cxn>
                <a:cxn ang="0">
                  <a:pos x="87" y="215"/>
                </a:cxn>
                <a:cxn ang="0">
                  <a:pos x="58" y="225"/>
                </a:cxn>
                <a:cxn ang="0">
                  <a:pos x="48" y="205"/>
                </a:cxn>
                <a:cxn ang="0">
                  <a:pos x="29" y="205"/>
                </a:cxn>
                <a:cxn ang="0">
                  <a:pos x="0" y="195"/>
                </a:cxn>
                <a:cxn ang="0">
                  <a:pos x="9" y="176"/>
                </a:cxn>
                <a:cxn ang="0">
                  <a:pos x="9" y="147"/>
                </a:cxn>
                <a:cxn ang="0">
                  <a:pos x="9" y="108"/>
                </a:cxn>
                <a:cxn ang="0">
                  <a:pos x="9" y="88"/>
                </a:cxn>
                <a:cxn ang="0">
                  <a:pos x="29" y="78"/>
                </a:cxn>
                <a:cxn ang="0">
                  <a:pos x="58" y="69"/>
                </a:cxn>
                <a:cxn ang="0">
                  <a:pos x="97" y="59"/>
                </a:cxn>
                <a:cxn ang="0">
                  <a:pos x="87" y="69"/>
                </a:cxn>
                <a:cxn ang="0">
                  <a:pos x="107" y="69"/>
                </a:cxn>
                <a:cxn ang="0">
                  <a:pos x="107" y="78"/>
                </a:cxn>
                <a:cxn ang="0">
                  <a:pos x="126" y="88"/>
                </a:cxn>
                <a:cxn ang="0">
                  <a:pos x="146" y="108"/>
                </a:cxn>
                <a:cxn ang="0">
                  <a:pos x="146" y="127"/>
                </a:cxn>
                <a:cxn ang="0">
                  <a:pos x="126" y="147"/>
                </a:cxn>
                <a:cxn ang="0">
                  <a:pos x="117" y="166"/>
                </a:cxn>
                <a:cxn ang="0">
                  <a:pos x="126" y="186"/>
                </a:cxn>
                <a:cxn ang="0">
                  <a:pos x="156" y="195"/>
                </a:cxn>
                <a:cxn ang="0">
                  <a:pos x="185" y="195"/>
                </a:cxn>
                <a:cxn ang="0">
                  <a:pos x="204" y="176"/>
                </a:cxn>
                <a:cxn ang="0">
                  <a:pos x="214" y="156"/>
                </a:cxn>
                <a:cxn ang="0">
                  <a:pos x="204" y="127"/>
                </a:cxn>
                <a:cxn ang="0">
                  <a:pos x="195" y="117"/>
                </a:cxn>
                <a:cxn ang="0">
                  <a:pos x="175" y="98"/>
                </a:cxn>
                <a:cxn ang="0">
                  <a:pos x="165" y="78"/>
                </a:cxn>
                <a:cxn ang="0">
                  <a:pos x="165" y="49"/>
                </a:cxn>
                <a:cxn ang="0">
                  <a:pos x="175" y="49"/>
                </a:cxn>
                <a:cxn ang="0">
                  <a:pos x="185" y="30"/>
                </a:cxn>
                <a:cxn ang="0">
                  <a:pos x="204" y="30"/>
                </a:cxn>
                <a:cxn ang="0">
                  <a:pos x="185" y="20"/>
                </a:cxn>
                <a:cxn ang="0">
                  <a:pos x="165" y="10"/>
                </a:cxn>
                <a:cxn ang="0">
                  <a:pos x="195" y="0"/>
                </a:cxn>
                <a:cxn ang="0">
                  <a:pos x="263" y="20"/>
                </a:cxn>
                <a:cxn ang="0">
                  <a:pos x="282" y="20"/>
                </a:cxn>
                <a:cxn ang="0">
                  <a:pos x="282" y="49"/>
                </a:cxn>
                <a:cxn ang="0">
                  <a:pos x="282" y="88"/>
                </a:cxn>
                <a:cxn ang="0">
                  <a:pos x="331" y="234"/>
                </a:cxn>
                <a:cxn ang="0">
                  <a:pos x="390" y="244"/>
                </a:cxn>
                <a:cxn ang="0">
                  <a:pos x="399" y="215"/>
                </a:cxn>
                <a:cxn ang="0">
                  <a:pos x="419" y="254"/>
                </a:cxn>
                <a:cxn ang="0">
                  <a:pos x="458" y="303"/>
                </a:cxn>
                <a:cxn ang="0">
                  <a:pos x="458" y="322"/>
                </a:cxn>
                <a:cxn ang="0">
                  <a:pos x="448" y="332"/>
                </a:cxn>
              </a:cxnLst>
              <a:rect l="0" t="0" r="r" b="b"/>
              <a:pathLst>
                <a:path w="458" h="430">
                  <a:moveTo>
                    <a:pt x="448" y="332"/>
                  </a:moveTo>
                  <a:lnTo>
                    <a:pt x="429" y="322"/>
                  </a:lnTo>
                  <a:lnTo>
                    <a:pt x="409" y="322"/>
                  </a:lnTo>
                  <a:lnTo>
                    <a:pt x="399" y="322"/>
                  </a:lnTo>
                  <a:lnTo>
                    <a:pt x="390" y="332"/>
                  </a:lnTo>
                  <a:lnTo>
                    <a:pt x="370" y="351"/>
                  </a:lnTo>
                  <a:lnTo>
                    <a:pt x="331" y="361"/>
                  </a:lnTo>
                  <a:lnTo>
                    <a:pt x="331" y="371"/>
                  </a:lnTo>
                  <a:lnTo>
                    <a:pt x="312" y="391"/>
                  </a:lnTo>
                  <a:lnTo>
                    <a:pt x="292" y="410"/>
                  </a:lnTo>
                  <a:lnTo>
                    <a:pt x="273" y="430"/>
                  </a:lnTo>
                  <a:lnTo>
                    <a:pt x="253" y="410"/>
                  </a:lnTo>
                  <a:lnTo>
                    <a:pt x="234" y="410"/>
                  </a:lnTo>
                  <a:lnTo>
                    <a:pt x="224" y="410"/>
                  </a:lnTo>
                  <a:lnTo>
                    <a:pt x="224" y="381"/>
                  </a:lnTo>
                  <a:lnTo>
                    <a:pt x="214" y="381"/>
                  </a:lnTo>
                  <a:lnTo>
                    <a:pt x="214" y="371"/>
                  </a:lnTo>
                  <a:lnTo>
                    <a:pt x="224" y="361"/>
                  </a:lnTo>
                  <a:lnTo>
                    <a:pt x="224" y="351"/>
                  </a:lnTo>
                  <a:lnTo>
                    <a:pt x="204" y="351"/>
                  </a:lnTo>
                  <a:lnTo>
                    <a:pt x="214" y="332"/>
                  </a:lnTo>
                  <a:lnTo>
                    <a:pt x="214" y="322"/>
                  </a:lnTo>
                  <a:lnTo>
                    <a:pt x="204" y="303"/>
                  </a:lnTo>
                  <a:lnTo>
                    <a:pt x="185" y="303"/>
                  </a:lnTo>
                  <a:lnTo>
                    <a:pt x="165" y="303"/>
                  </a:lnTo>
                  <a:lnTo>
                    <a:pt x="156" y="293"/>
                  </a:lnTo>
                  <a:lnTo>
                    <a:pt x="165" y="273"/>
                  </a:lnTo>
                  <a:lnTo>
                    <a:pt x="175" y="264"/>
                  </a:lnTo>
                  <a:lnTo>
                    <a:pt x="165" y="244"/>
                  </a:lnTo>
                  <a:lnTo>
                    <a:pt x="156" y="244"/>
                  </a:lnTo>
                  <a:lnTo>
                    <a:pt x="126" y="244"/>
                  </a:lnTo>
                  <a:lnTo>
                    <a:pt x="107" y="244"/>
                  </a:lnTo>
                  <a:lnTo>
                    <a:pt x="97" y="225"/>
                  </a:lnTo>
                  <a:lnTo>
                    <a:pt x="87" y="215"/>
                  </a:lnTo>
                  <a:lnTo>
                    <a:pt x="68" y="225"/>
                  </a:lnTo>
                  <a:lnTo>
                    <a:pt x="58" y="225"/>
                  </a:lnTo>
                  <a:lnTo>
                    <a:pt x="48" y="215"/>
                  </a:lnTo>
                  <a:lnTo>
                    <a:pt x="48" y="205"/>
                  </a:lnTo>
                  <a:lnTo>
                    <a:pt x="39" y="195"/>
                  </a:lnTo>
                  <a:lnTo>
                    <a:pt x="29" y="205"/>
                  </a:lnTo>
                  <a:lnTo>
                    <a:pt x="9" y="20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9" y="176"/>
                  </a:lnTo>
                  <a:lnTo>
                    <a:pt x="0" y="16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9" y="108"/>
                  </a:lnTo>
                  <a:lnTo>
                    <a:pt x="9" y="88"/>
                  </a:lnTo>
                  <a:lnTo>
                    <a:pt x="9" y="78"/>
                  </a:lnTo>
                  <a:lnTo>
                    <a:pt x="29" y="78"/>
                  </a:lnTo>
                  <a:lnTo>
                    <a:pt x="48" y="69"/>
                  </a:lnTo>
                  <a:lnTo>
                    <a:pt x="58" y="69"/>
                  </a:lnTo>
                  <a:lnTo>
                    <a:pt x="87" y="59"/>
                  </a:lnTo>
                  <a:lnTo>
                    <a:pt x="97" y="59"/>
                  </a:lnTo>
                  <a:lnTo>
                    <a:pt x="87" y="59"/>
                  </a:lnTo>
                  <a:lnTo>
                    <a:pt x="87" y="69"/>
                  </a:lnTo>
                  <a:lnTo>
                    <a:pt x="97" y="69"/>
                  </a:lnTo>
                  <a:lnTo>
                    <a:pt x="107" y="69"/>
                  </a:lnTo>
                  <a:lnTo>
                    <a:pt x="107" y="78"/>
                  </a:lnTo>
                  <a:lnTo>
                    <a:pt x="107" y="88"/>
                  </a:lnTo>
                  <a:lnTo>
                    <a:pt x="126" y="88"/>
                  </a:lnTo>
                  <a:lnTo>
                    <a:pt x="136" y="88"/>
                  </a:lnTo>
                  <a:lnTo>
                    <a:pt x="146" y="108"/>
                  </a:lnTo>
                  <a:lnTo>
                    <a:pt x="156" y="127"/>
                  </a:lnTo>
                  <a:lnTo>
                    <a:pt x="146" y="127"/>
                  </a:lnTo>
                  <a:lnTo>
                    <a:pt x="136" y="137"/>
                  </a:lnTo>
                  <a:lnTo>
                    <a:pt x="126" y="147"/>
                  </a:lnTo>
                  <a:lnTo>
                    <a:pt x="117" y="147"/>
                  </a:lnTo>
                  <a:lnTo>
                    <a:pt x="117" y="166"/>
                  </a:lnTo>
                  <a:lnTo>
                    <a:pt x="126" y="176"/>
                  </a:lnTo>
                  <a:lnTo>
                    <a:pt x="126" y="186"/>
                  </a:lnTo>
                  <a:lnTo>
                    <a:pt x="136" y="186"/>
                  </a:lnTo>
                  <a:lnTo>
                    <a:pt x="156" y="195"/>
                  </a:lnTo>
                  <a:lnTo>
                    <a:pt x="165" y="195"/>
                  </a:lnTo>
                  <a:lnTo>
                    <a:pt x="185" y="195"/>
                  </a:lnTo>
                  <a:lnTo>
                    <a:pt x="195" y="186"/>
                  </a:lnTo>
                  <a:lnTo>
                    <a:pt x="204" y="176"/>
                  </a:lnTo>
                  <a:lnTo>
                    <a:pt x="214" y="166"/>
                  </a:lnTo>
                  <a:lnTo>
                    <a:pt x="214" y="156"/>
                  </a:lnTo>
                  <a:lnTo>
                    <a:pt x="214" y="137"/>
                  </a:lnTo>
                  <a:lnTo>
                    <a:pt x="204" y="127"/>
                  </a:lnTo>
                  <a:lnTo>
                    <a:pt x="195" y="117"/>
                  </a:lnTo>
                  <a:lnTo>
                    <a:pt x="175" y="117"/>
                  </a:lnTo>
                  <a:lnTo>
                    <a:pt x="175" y="98"/>
                  </a:lnTo>
                  <a:lnTo>
                    <a:pt x="165" y="88"/>
                  </a:lnTo>
                  <a:lnTo>
                    <a:pt x="165" y="78"/>
                  </a:lnTo>
                  <a:lnTo>
                    <a:pt x="165" y="59"/>
                  </a:lnTo>
                  <a:lnTo>
                    <a:pt x="165" y="49"/>
                  </a:lnTo>
                  <a:lnTo>
                    <a:pt x="175" y="30"/>
                  </a:lnTo>
                  <a:lnTo>
                    <a:pt x="175" y="49"/>
                  </a:lnTo>
                  <a:lnTo>
                    <a:pt x="185" y="39"/>
                  </a:lnTo>
                  <a:lnTo>
                    <a:pt x="185" y="30"/>
                  </a:lnTo>
                  <a:lnTo>
                    <a:pt x="195" y="30"/>
                  </a:lnTo>
                  <a:lnTo>
                    <a:pt x="204" y="30"/>
                  </a:lnTo>
                  <a:lnTo>
                    <a:pt x="195" y="20"/>
                  </a:lnTo>
                  <a:lnTo>
                    <a:pt x="185" y="20"/>
                  </a:lnTo>
                  <a:lnTo>
                    <a:pt x="175" y="20"/>
                  </a:lnTo>
                  <a:lnTo>
                    <a:pt x="165" y="10"/>
                  </a:lnTo>
                  <a:lnTo>
                    <a:pt x="165" y="0"/>
                  </a:lnTo>
                  <a:lnTo>
                    <a:pt x="195" y="0"/>
                  </a:lnTo>
                  <a:lnTo>
                    <a:pt x="224" y="10"/>
                  </a:lnTo>
                  <a:lnTo>
                    <a:pt x="263" y="20"/>
                  </a:lnTo>
                  <a:lnTo>
                    <a:pt x="273" y="20"/>
                  </a:lnTo>
                  <a:lnTo>
                    <a:pt x="282" y="20"/>
                  </a:lnTo>
                  <a:lnTo>
                    <a:pt x="273" y="30"/>
                  </a:lnTo>
                  <a:lnTo>
                    <a:pt x="282" y="49"/>
                  </a:lnTo>
                  <a:lnTo>
                    <a:pt x="282" y="69"/>
                  </a:lnTo>
                  <a:lnTo>
                    <a:pt x="282" y="88"/>
                  </a:lnTo>
                  <a:lnTo>
                    <a:pt x="263" y="108"/>
                  </a:lnTo>
                  <a:lnTo>
                    <a:pt x="331" y="234"/>
                  </a:lnTo>
                  <a:lnTo>
                    <a:pt x="370" y="244"/>
                  </a:lnTo>
                  <a:lnTo>
                    <a:pt x="390" y="244"/>
                  </a:lnTo>
                  <a:lnTo>
                    <a:pt x="380" y="215"/>
                  </a:lnTo>
                  <a:lnTo>
                    <a:pt x="399" y="215"/>
                  </a:lnTo>
                  <a:lnTo>
                    <a:pt x="409" y="244"/>
                  </a:lnTo>
                  <a:lnTo>
                    <a:pt x="419" y="254"/>
                  </a:lnTo>
                  <a:lnTo>
                    <a:pt x="448" y="283"/>
                  </a:lnTo>
                  <a:lnTo>
                    <a:pt x="458" y="303"/>
                  </a:lnTo>
                  <a:lnTo>
                    <a:pt x="448" y="312"/>
                  </a:lnTo>
                  <a:lnTo>
                    <a:pt x="458" y="322"/>
                  </a:lnTo>
                  <a:lnTo>
                    <a:pt x="458" y="332"/>
                  </a:lnTo>
                  <a:lnTo>
                    <a:pt x="448" y="33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3" name="Freeform 158"/>
            <p:cNvSpPr>
              <a:spLocks/>
            </p:cNvSpPr>
            <p:nvPr/>
          </p:nvSpPr>
          <p:spPr bwMode="auto">
            <a:xfrm>
              <a:off x="1706" y="2226"/>
              <a:ext cx="276" cy="301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117" y="29"/>
                </a:cxn>
                <a:cxn ang="0">
                  <a:pos x="137" y="29"/>
                </a:cxn>
                <a:cxn ang="0">
                  <a:pos x="156" y="39"/>
                </a:cxn>
                <a:cxn ang="0">
                  <a:pos x="166" y="58"/>
                </a:cxn>
                <a:cxn ang="0">
                  <a:pos x="166" y="68"/>
                </a:cxn>
                <a:cxn ang="0">
                  <a:pos x="166" y="87"/>
                </a:cxn>
                <a:cxn ang="0">
                  <a:pos x="185" y="117"/>
                </a:cxn>
                <a:cxn ang="0">
                  <a:pos x="195" y="117"/>
                </a:cxn>
                <a:cxn ang="0">
                  <a:pos x="205" y="117"/>
                </a:cxn>
                <a:cxn ang="0">
                  <a:pos x="215" y="107"/>
                </a:cxn>
                <a:cxn ang="0">
                  <a:pos x="224" y="117"/>
                </a:cxn>
                <a:cxn ang="0">
                  <a:pos x="234" y="126"/>
                </a:cxn>
                <a:cxn ang="0">
                  <a:pos x="244" y="146"/>
                </a:cxn>
                <a:cxn ang="0">
                  <a:pos x="254" y="156"/>
                </a:cxn>
                <a:cxn ang="0">
                  <a:pos x="273" y="156"/>
                </a:cxn>
                <a:cxn ang="0">
                  <a:pos x="273" y="195"/>
                </a:cxn>
                <a:cxn ang="0">
                  <a:pos x="263" y="195"/>
                </a:cxn>
                <a:cxn ang="0">
                  <a:pos x="263" y="214"/>
                </a:cxn>
                <a:cxn ang="0">
                  <a:pos x="254" y="234"/>
                </a:cxn>
                <a:cxn ang="0">
                  <a:pos x="263" y="234"/>
                </a:cxn>
                <a:cxn ang="0">
                  <a:pos x="263" y="263"/>
                </a:cxn>
                <a:cxn ang="0">
                  <a:pos x="254" y="263"/>
                </a:cxn>
                <a:cxn ang="0">
                  <a:pos x="254" y="282"/>
                </a:cxn>
                <a:cxn ang="0">
                  <a:pos x="224" y="273"/>
                </a:cxn>
                <a:cxn ang="0">
                  <a:pos x="224" y="302"/>
                </a:cxn>
                <a:cxn ang="0">
                  <a:pos x="195" y="302"/>
                </a:cxn>
                <a:cxn ang="0">
                  <a:pos x="185" y="282"/>
                </a:cxn>
                <a:cxn ang="0">
                  <a:pos x="156" y="273"/>
                </a:cxn>
                <a:cxn ang="0">
                  <a:pos x="146" y="282"/>
                </a:cxn>
                <a:cxn ang="0">
                  <a:pos x="137" y="282"/>
                </a:cxn>
                <a:cxn ang="0">
                  <a:pos x="127" y="263"/>
                </a:cxn>
                <a:cxn ang="0">
                  <a:pos x="107" y="253"/>
                </a:cxn>
                <a:cxn ang="0">
                  <a:pos x="98" y="243"/>
                </a:cxn>
                <a:cxn ang="0">
                  <a:pos x="78" y="243"/>
                </a:cxn>
                <a:cxn ang="0">
                  <a:pos x="78" y="224"/>
                </a:cxn>
                <a:cxn ang="0">
                  <a:pos x="88" y="224"/>
                </a:cxn>
                <a:cxn ang="0">
                  <a:pos x="78" y="204"/>
                </a:cxn>
                <a:cxn ang="0">
                  <a:pos x="49" y="204"/>
                </a:cxn>
                <a:cxn ang="0">
                  <a:pos x="29" y="175"/>
                </a:cxn>
                <a:cxn ang="0">
                  <a:pos x="0" y="175"/>
                </a:cxn>
                <a:cxn ang="0">
                  <a:pos x="0" y="136"/>
                </a:cxn>
                <a:cxn ang="0">
                  <a:pos x="29" y="136"/>
                </a:cxn>
                <a:cxn ang="0">
                  <a:pos x="29" y="117"/>
                </a:cxn>
                <a:cxn ang="0">
                  <a:pos x="29" y="87"/>
                </a:cxn>
                <a:cxn ang="0">
                  <a:pos x="29" y="78"/>
                </a:cxn>
                <a:cxn ang="0">
                  <a:pos x="49" y="68"/>
                </a:cxn>
                <a:cxn ang="0">
                  <a:pos x="59" y="48"/>
                </a:cxn>
                <a:cxn ang="0">
                  <a:pos x="59" y="0"/>
                </a:cxn>
                <a:cxn ang="0">
                  <a:pos x="88" y="0"/>
                </a:cxn>
              </a:cxnLst>
              <a:rect l="0" t="0" r="r" b="b"/>
              <a:pathLst>
                <a:path w="273" h="302">
                  <a:moveTo>
                    <a:pt x="88" y="0"/>
                  </a:moveTo>
                  <a:lnTo>
                    <a:pt x="117" y="29"/>
                  </a:lnTo>
                  <a:lnTo>
                    <a:pt x="137" y="2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66" y="87"/>
                  </a:lnTo>
                  <a:lnTo>
                    <a:pt x="185" y="117"/>
                  </a:lnTo>
                  <a:lnTo>
                    <a:pt x="195" y="117"/>
                  </a:lnTo>
                  <a:lnTo>
                    <a:pt x="205" y="117"/>
                  </a:lnTo>
                  <a:lnTo>
                    <a:pt x="215" y="107"/>
                  </a:lnTo>
                  <a:lnTo>
                    <a:pt x="224" y="117"/>
                  </a:lnTo>
                  <a:lnTo>
                    <a:pt x="234" y="126"/>
                  </a:lnTo>
                  <a:lnTo>
                    <a:pt x="244" y="146"/>
                  </a:lnTo>
                  <a:lnTo>
                    <a:pt x="254" y="156"/>
                  </a:lnTo>
                  <a:lnTo>
                    <a:pt x="273" y="156"/>
                  </a:lnTo>
                  <a:lnTo>
                    <a:pt x="273" y="195"/>
                  </a:lnTo>
                  <a:lnTo>
                    <a:pt x="263" y="195"/>
                  </a:lnTo>
                  <a:lnTo>
                    <a:pt x="263" y="214"/>
                  </a:lnTo>
                  <a:lnTo>
                    <a:pt x="254" y="234"/>
                  </a:lnTo>
                  <a:lnTo>
                    <a:pt x="263" y="234"/>
                  </a:lnTo>
                  <a:lnTo>
                    <a:pt x="263" y="263"/>
                  </a:lnTo>
                  <a:lnTo>
                    <a:pt x="254" y="263"/>
                  </a:lnTo>
                  <a:lnTo>
                    <a:pt x="254" y="282"/>
                  </a:lnTo>
                  <a:lnTo>
                    <a:pt x="224" y="273"/>
                  </a:lnTo>
                  <a:lnTo>
                    <a:pt x="224" y="302"/>
                  </a:lnTo>
                  <a:lnTo>
                    <a:pt x="195" y="302"/>
                  </a:lnTo>
                  <a:lnTo>
                    <a:pt x="185" y="282"/>
                  </a:lnTo>
                  <a:lnTo>
                    <a:pt x="156" y="273"/>
                  </a:lnTo>
                  <a:lnTo>
                    <a:pt x="146" y="282"/>
                  </a:lnTo>
                  <a:lnTo>
                    <a:pt x="137" y="282"/>
                  </a:lnTo>
                  <a:lnTo>
                    <a:pt x="127" y="263"/>
                  </a:lnTo>
                  <a:lnTo>
                    <a:pt x="107" y="253"/>
                  </a:lnTo>
                  <a:lnTo>
                    <a:pt x="98" y="243"/>
                  </a:lnTo>
                  <a:lnTo>
                    <a:pt x="78" y="243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78" y="204"/>
                  </a:lnTo>
                  <a:lnTo>
                    <a:pt x="49" y="204"/>
                  </a:lnTo>
                  <a:lnTo>
                    <a:pt x="29" y="175"/>
                  </a:lnTo>
                  <a:lnTo>
                    <a:pt x="0" y="175"/>
                  </a:lnTo>
                  <a:lnTo>
                    <a:pt x="0" y="13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87"/>
                  </a:lnTo>
                  <a:lnTo>
                    <a:pt x="29" y="78"/>
                  </a:lnTo>
                  <a:lnTo>
                    <a:pt x="49" y="68"/>
                  </a:lnTo>
                  <a:lnTo>
                    <a:pt x="59" y="48"/>
                  </a:lnTo>
                  <a:lnTo>
                    <a:pt x="59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4" name="Freeform 157"/>
            <p:cNvSpPr>
              <a:spLocks/>
            </p:cNvSpPr>
            <p:nvPr/>
          </p:nvSpPr>
          <p:spPr bwMode="auto">
            <a:xfrm>
              <a:off x="1902" y="2353"/>
              <a:ext cx="322" cy="235"/>
            </a:xfrm>
            <a:custGeom>
              <a:avLst/>
              <a:gdLst/>
              <a:ahLst/>
              <a:cxnLst>
                <a:cxn ang="0">
                  <a:pos x="78" y="69"/>
                </a:cxn>
                <a:cxn ang="0">
                  <a:pos x="68" y="88"/>
                </a:cxn>
                <a:cxn ang="0">
                  <a:pos x="68" y="108"/>
                </a:cxn>
                <a:cxn ang="0">
                  <a:pos x="59" y="137"/>
                </a:cxn>
                <a:cxn ang="0">
                  <a:pos x="39" y="147"/>
                </a:cxn>
                <a:cxn ang="0">
                  <a:pos x="0" y="176"/>
                </a:cxn>
                <a:cxn ang="0">
                  <a:pos x="20" y="186"/>
                </a:cxn>
                <a:cxn ang="0">
                  <a:pos x="49" y="215"/>
                </a:cxn>
                <a:cxn ang="0">
                  <a:pos x="68" y="235"/>
                </a:cxn>
                <a:cxn ang="0">
                  <a:pos x="107" y="235"/>
                </a:cxn>
                <a:cxn ang="0">
                  <a:pos x="107" y="215"/>
                </a:cxn>
                <a:cxn ang="0">
                  <a:pos x="98" y="205"/>
                </a:cxn>
                <a:cxn ang="0">
                  <a:pos x="117" y="186"/>
                </a:cxn>
                <a:cxn ang="0">
                  <a:pos x="156" y="186"/>
                </a:cxn>
                <a:cxn ang="0">
                  <a:pos x="176" y="186"/>
                </a:cxn>
                <a:cxn ang="0">
                  <a:pos x="195" y="186"/>
                </a:cxn>
                <a:cxn ang="0">
                  <a:pos x="234" y="205"/>
                </a:cxn>
                <a:cxn ang="0">
                  <a:pos x="273" y="235"/>
                </a:cxn>
                <a:cxn ang="0">
                  <a:pos x="293" y="215"/>
                </a:cxn>
                <a:cxn ang="0">
                  <a:pos x="322" y="205"/>
                </a:cxn>
                <a:cxn ang="0">
                  <a:pos x="322" y="186"/>
                </a:cxn>
                <a:cxn ang="0">
                  <a:pos x="322" y="137"/>
                </a:cxn>
                <a:cxn ang="0">
                  <a:pos x="302" y="117"/>
                </a:cxn>
                <a:cxn ang="0">
                  <a:pos x="273" y="127"/>
                </a:cxn>
                <a:cxn ang="0">
                  <a:pos x="254" y="108"/>
                </a:cxn>
                <a:cxn ang="0">
                  <a:pos x="224" y="88"/>
                </a:cxn>
                <a:cxn ang="0">
                  <a:pos x="205" y="69"/>
                </a:cxn>
                <a:cxn ang="0">
                  <a:pos x="195" y="39"/>
                </a:cxn>
                <a:cxn ang="0">
                  <a:pos x="185" y="20"/>
                </a:cxn>
                <a:cxn ang="0">
                  <a:pos x="166" y="0"/>
                </a:cxn>
                <a:cxn ang="0">
                  <a:pos x="146" y="39"/>
                </a:cxn>
                <a:cxn ang="0">
                  <a:pos x="117" y="39"/>
                </a:cxn>
              </a:cxnLst>
              <a:rect l="0" t="0" r="r" b="b"/>
              <a:pathLst>
                <a:path w="322" h="235">
                  <a:moveTo>
                    <a:pt x="88" y="30"/>
                  </a:moveTo>
                  <a:lnTo>
                    <a:pt x="78" y="69"/>
                  </a:lnTo>
                  <a:lnTo>
                    <a:pt x="68" y="69"/>
                  </a:lnTo>
                  <a:lnTo>
                    <a:pt x="68" y="88"/>
                  </a:lnTo>
                  <a:lnTo>
                    <a:pt x="59" y="108"/>
                  </a:lnTo>
                  <a:lnTo>
                    <a:pt x="68" y="108"/>
                  </a:lnTo>
                  <a:lnTo>
                    <a:pt x="68" y="137"/>
                  </a:lnTo>
                  <a:lnTo>
                    <a:pt x="59" y="137"/>
                  </a:lnTo>
                  <a:lnTo>
                    <a:pt x="59" y="156"/>
                  </a:lnTo>
                  <a:lnTo>
                    <a:pt x="39" y="147"/>
                  </a:lnTo>
                  <a:lnTo>
                    <a:pt x="29" y="17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20" y="18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68" y="215"/>
                  </a:lnTo>
                  <a:lnTo>
                    <a:pt x="68" y="235"/>
                  </a:lnTo>
                  <a:lnTo>
                    <a:pt x="98" y="235"/>
                  </a:lnTo>
                  <a:lnTo>
                    <a:pt x="107" y="235"/>
                  </a:lnTo>
                  <a:lnTo>
                    <a:pt x="107" y="215"/>
                  </a:lnTo>
                  <a:lnTo>
                    <a:pt x="98" y="215"/>
                  </a:lnTo>
                  <a:lnTo>
                    <a:pt x="98" y="205"/>
                  </a:lnTo>
                  <a:lnTo>
                    <a:pt x="117" y="205"/>
                  </a:lnTo>
                  <a:lnTo>
                    <a:pt x="117" y="186"/>
                  </a:lnTo>
                  <a:lnTo>
                    <a:pt x="127" y="186"/>
                  </a:lnTo>
                  <a:lnTo>
                    <a:pt x="156" y="186"/>
                  </a:lnTo>
                  <a:lnTo>
                    <a:pt x="176" y="186"/>
                  </a:lnTo>
                  <a:lnTo>
                    <a:pt x="176" y="176"/>
                  </a:lnTo>
                  <a:lnTo>
                    <a:pt x="195" y="186"/>
                  </a:lnTo>
                  <a:lnTo>
                    <a:pt x="215" y="196"/>
                  </a:lnTo>
                  <a:lnTo>
                    <a:pt x="234" y="205"/>
                  </a:lnTo>
                  <a:lnTo>
                    <a:pt x="254" y="235"/>
                  </a:lnTo>
                  <a:lnTo>
                    <a:pt x="273" y="235"/>
                  </a:lnTo>
                  <a:lnTo>
                    <a:pt x="273" y="215"/>
                  </a:lnTo>
                  <a:lnTo>
                    <a:pt x="293" y="215"/>
                  </a:lnTo>
                  <a:lnTo>
                    <a:pt x="312" y="215"/>
                  </a:lnTo>
                  <a:lnTo>
                    <a:pt x="322" y="205"/>
                  </a:lnTo>
                  <a:lnTo>
                    <a:pt x="322" y="196"/>
                  </a:lnTo>
                  <a:lnTo>
                    <a:pt x="322" y="186"/>
                  </a:lnTo>
                  <a:lnTo>
                    <a:pt x="322" y="156"/>
                  </a:lnTo>
                  <a:lnTo>
                    <a:pt x="322" y="137"/>
                  </a:lnTo>
                  <a:lnTo>
                    <a:pt x="322" y="127"/>
                  </a:lnTo>
                  <a:lnTo>
                    <a:pt x="302" y="117"/>
                  </a:lnTo>
                  <a:lnTo>
                    <a:pt x="283" y="117"/>
                  </a:lnTo>
                  <a:lnTo>
                    <a:pt x="273" y="127"/>
                  </a:lnTo>
                  <a:lnTo>
                    <a:pt x="263" y="117"/>
                  </a:lnTo>
                  <a:lnTo>
                    <a:pt x="254" y="108"/>
                  </a:lnTo>
                  <a:lnTo>
                    <a:pt x="244" y="88"/>
                  </a:lnTo>
                  <a:lnTo>
                    <a:pt x="224" y="88"/>
                  </a:lnTo>
                  <a:lnTo>
                    <a:pt x="224" y="69"/>
                  </a:lnTo>
                  <a:lnTo>
                    <a:pt x="205" y="69"/>
                  </a:lnTo>
                  <a:lnTo>
                    <a:pt x="185" y="69"/>
                  </a:lnTo>
                  <a:lnTo>
                    <a:pt x="195" y="39"/>
                  </a:lnTo>
                  <a:lnTo>
                    <a:pt x="195" y="30"/>
                  </a:lnTo>
                  <a:lnTo>
                    <a:pt x="185" y="20"/>
                  </a:lnTo>
                  <a:lnTo>
                    <a:pt x="185" y="10"/>
                  </a:lnTo>
                  <a:lnTo>
                    <a:pt x="166" y="0"/>
                  </a:lnTo>
                  <a:lnTo>
                    <a:pt x="166" y="20"/>
                  </a:lnTo>
                  <a:lnTo>
                    <a:pt x="146" y="3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88" y="3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5" name="Freeform 156"/>
            <p:cNvSpPr>
              <a:spLocks/>
            </p:cNvSpPr>
            <p:nvPr/>
          </p:nvSpPr>
          <p:spPr bwMode="auto">
            <a:xfrm>
              <a:off x="1989" y="2527"/>
              <a:ext cx="353" cy="282"/>
            </a:xfrm>
            <a:custGeom>
              <a:avLst/>
              <a:gdLst/>
              <a:ahLst/>
              <a:cxnLst>
                <a:cxn ang="0">
                  <a:pos x="19" y="59"/>
                </a:cxn>
                <a:cxn ang="0">
                  <a:pos x="19" y="39"/>
                </a:cxn>
                <a:cxn ang="0">
                  <a:pos x="10" y="29"/>
                </a:cxn>
                <a:cxn ang="0">
                  <a:pos x="29" y="10"/>
                </a:cxn>
                <a:cxn ang="0">
                  <a:pos x="68" y="0"/>
                </a:cxn>
                <a:cxn ang="0">
                  <a:pos x="88" y="10"/>
                </a:cxn>
                <a:cxn ang="0">
                  <a:pos x="107" y="0"/>
                </a:cxn>
                <a:cxn ang="0">
                  <a:pos x="146" y="29"/>
                </a:cxn>
                <a:cxn ang="0">
                  <a:pos x="185" y="59"/>
                </a:cxn>
                <a:cxn ang="0">
                  <a:pos x="205" y="39"/>
                </a:cxn>
                <a:cxn ang="0">
                  <a:pos x="234" y="29"/>
                </a:cxn>
                <a:cxn ang="0">
                  <a:pos x="244" y="0"/>
                </a:cxn>
                <a:cxn ang="0">
                  <a:pos x="253" y="39"/>
                </a:cxn>
                <a:cxn ang="0">
                  <a:pos x="273" y="59"/>
                </a:cxn>
                <a:cxn ang="0">
                  <a:pos x="292" y="39"/>
                </a:cxn>
                <a:cxn ang="0">
                  <a:pos x="322" y="59"/>
                </a:cxn>
                <a:cxn ang="0">
                  <a:pos x="322" y="117"/>
                </a:cxn>
                <a:cxn ang="0">
                  <a:pos x="351" y="117"/>
                </a:cxn>
                <a:cxn ang="0">
                  <a:pos x="341" y="127"/>
                </a:cxn>
                <a:cxn ang="0">
                  <a:pos x="322" y="166"/>
                </a:cxn>
                <a:cxn ang="0">
                  <a:pos x="273" y="185"/>
                </a:cxn>
                <a:cxn ang="0">
                  <a:pos x="263" y="224"/>
                </a:cxn>
                <a:cxn ang="0">
                  <a:pos x="224" y="234"/>
                </a:cxn>
                <a:cxn ang="0">
                  <a:pos x="175" y="254"/>
                </a:cxn>
                <a:cxn ang="0">
                  <a:pos x="156" y="254"/>
                </a:cxn>
                <a:cxn ang="0">
                  <a:pos x="136" y="283"/>
                </a:cxn>
                <a:cxn ang="0">
                  <a:pos x="78" y="283"/>
                </a:cxn>
                <a:cxn ang="0">
                  <a:pos x="49" y="234"/>
                </a:cxn>
                <a:cxn ang="0">
                  <a:pos x="39" y="195"/>
                </a:cxn>
                <a:cxn ang="0">
                  <a:pos x="29" y="156"/>
                </a:cxn>
                <a:cxn ang="0">
                  <a:pos x="39" y="146"/>
                </a:cxn>
                <a:cxn ang="0">
                  <a:pos x="19" y="127"/>
                </a:cxn>
                <a:cxn ang="0">
                  <a:pos x="29" y="107"/>
                </a:cxn>
                <a:cxn ang="0">
                  <a:pos x="29" y="98"/>
                </a:cxn>
                <a:cxn ang="0">
                  <a:pos x="0" y="59"/>
                </a:cxn>
              </a:cxnLst>
              <a:rect l="0" t="0" r="r" b="b"/>
              <a:pathLst>
                <a:path w="351" h="283">
                  <a:moveTo>
                    <a:pt x="0" y="59"/>
                  </a:moveTo>
                  <a:lnTo>
                    <a:pt x="19" y="59"/>
                  </a:lnTo>
                  <a:lnTo>
                    <a:pt x="19" y="39"/>
                  </a:lnTo>
                  <a:lnTo>
                    <a:pt x="10" y="39"/>
                  </a:lnTo>
                  <a:lnTo>
                    <a:pt x="10" y="29"/>
                  </a:lnTo>
                  <a:lnTo>
                    <a:pt x="29" y="20"/>
                  </a:lnTo>
                  <a:lnTo>
                    <a:pt x="29" y="10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68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27" y="20"/>
                  </a:lnTo>
                  <a:lnTo>
                    <a:pt x="146" y="29"/>
                  </a:lnTo>
                  <a:lnTo>
                    <a:pt x="166" y="5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205" y="39"/>
                  </a:lnTo>
                  <a:lnTo>
                    <a:pt x="224" y="39"/>
                  </a:lnTo>
                  <a:lnTo>
                    <a:pt x="234" y="29"/>
                  </a:lnTo>
                  <a:lnTo>
                    <a:pt x="244" y="20"/>
                  </a:lnTo>
                  <a:lnTo>
                    <a:pt x="244" y="0"/>
                  </a:lnTo>
                  <a:lnTo>
                    <a:pt x="244" y="20"/>
                  </a:lnTo>
                  <a:lnTo>
                    <a:pt x="253" y="39"/>
                  </a:lnTo>
                  <a:lnTo>
                    <a:pt x="273" y="39"/>
                  </a:lnTo>
                  <a:lnTo>
                    <a:pt x="273" y="59"/>
                  </a:lnTo>
                  <a:lnTo>
                    <a:pt x="292" y="59"/>
                  </a:lnTo>
                  <a:lnTo>
                    <a:pt x="292" y="39"/>
                  </a:lnTo>
                  <a:lnTo>
                    <a:pt x="312" y="49"/>
                  </a:lnTo>
                  <a:lnTo>
                    <a:pt x="322" y="59"/>
                  </a:lnTo>
                  <a:lnTo>
                    <a:pt x="322" y="88"/>
                  </a:lnTo>
                  <a:lnTo>
                    <a:pt x="322" y="117"/>
                  </a:lnTo>
                  <a:lnTo>
                    <a:pt x="341" y="107"/>
                  </a:lnTo>
                  <a:lnTo>
                    <a:pt x="351" y="117"/>
                  </a:lnTo>
                  <a:lnTo>
                    <a:pt x="351" y="127"/>
                  </a:lnTo>
                  <a:lnTo>
                    <a:pt x="341" y="127"/>
                  </a:lnTo>
                  <a:lnTo>
                    <a:pt x="331" y="137"/>
                  </a:lnTo>
                  <a:lnTo>
                    <a:pt x="322" y="166"/>
                  </a:lnTo>
                  <a:lnTo>
                    <a:pt x="302" y="176"/>
                  </a:lnTo>
                  <a:lnTo>
                    <a:pt x="273" y="185"/>
                  </a:lnTo>
                  <a:lnTo>
                    <a:pt x="273" y="195"/>
                  </a:lnTo>
                  <a:lnTo>
                    <a:pt x="263" y="224"/>
                  </a:lnTo>
                  <a:lnTo>
                    <a:pt x="253" y="234"/>
                  </a:lnTo>
                  <a:lnTo>
                    <a:pt x="224" y="234"/>
                  </a:lnTo>
                  <a:lnTo>
                    <a:pt x="195" y="234"/>
                  </a:lnTo>
                  <a:lnTo>
                    <a:pt x="175" y="254"/>
                  </a:lnTo>
                  <a:lnTo>
                    <a:pt x="166" y="244"/>
                  </a:lnTo>
                  <a:lnTo>
                    <a:pt x="156" y="254"/>
                  </a:lnTo>
                  <a:lnTo>
                    <a:pt x="156" y="263"/>
                  </a:lnTo>
                  <a:lnTo>
                    <a:pt x="136" y="283"/>
                  </a:lnTo>
                  <a:lnTo>
                    <a:pt x="107" y="283"/>
                  </a:lnTo>
                  <a:lnTo>
                    <a:pt x="78" y="283"/>
                  </a:lnTo>
                  <a:lnTo>
                    <a:pt x="58" y="283"/>
                  </a:lnTo>
                  <a:lnTo>
                    <a:pt x="49" y="234"/>
                  </a:lnTo>
                  <a:lnTo>
                    <a:pt x="39" y="205"/>
                  </a:lnTo>
                  <a:lnTo>
                    <a:pt x="39" y="195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46"/>
                  </a:lnTo>
                  <a:lnTo>
                    <a:pt x="39" y="146"/>
                  </a:lnTo>
                  <a:lnTo>
                    <a:pt x="39" y="137"/>
                  </a:lnTo>
                  <a:lnTo>
                    <a:pt x="19" y="127"/>
                  </a:lnTo>
                  <a:lnTo>
                    <a:pt x="29" y="10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10" y="78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6" name="Freeform 155"/>
            <p:cNvSpPr>
              <a:spLocks/>
            </p:cNvSpPr>
            <p:nvPr/>
          </p:nvSpPr>
          <p:spPr bwMode="auto">
            <a:xfrm>
              <a:off x="1590" y="2374"/>
              <a:ext cx="459" cy="496"/>
            </a:xfrm>
            <a:custGeom>
              <a:avLst/>
              <a:gdLst/>
              <a:ahLst/>
              <a:cxnLst>
                <a:cxn ang="0">
                  <a:pos x="322" y="166"/>
                </a:cxn>
                <a:cxn ang="0">
                  <a:pos x="332" y="185"/>
                </a:cxn>
                <a:cxn ang="0">
                  <a:pos x="380" y="195"/>
                </a:cxn>
                <a:cxn ang="0">
                  <a:pos x="400" y="224"/>
                </a:cxn>
                <a:cxn ang="0">
                  <a:pos x="429" y="254"/>
                </a:cxn>
                <a:cxn ang="0">
                  <a:pos x="429" y="273"/>
                </a:cxn>
                <a:cxn ang="0">
                  <a:pos x="419" y="283"/>
                </a:cxn>
                <a:cxn ang="0">
                  <a:pos x="429" y="302"/>
                </a:cxn>
                <a:cxn ang="0">
                  <a:pos x="429" y="322"/>
                </a:cxn>
                <a:cxn ang="0">
                  <a:pos x="439" y="351"/>
                </a:cxn>
                <a:cxn ang="0">
                  <a:pos x="449" y="400"/>
                </a:cxn>
                <a:cxn ang="0">
                  <a:pos x="439" y="449"/>
                </a:cxn>
                <a:cxn ang="0">
                  <a:pos x="429" y="439"/>
                </a:cxn>
                <a:cxn ang="0">
                  <a:pos x="390" y="449"/>
                </a:cxn>
                <a:cxn ang="0">
                  <a:pos x="351" y="439"/>
                </a:cxn>
                <a:cxn ang="0">
                  <a:pos x="341" y="429"/>
                </a:cxn>
                <a:cxn ang="0">
                  <a:pos x="322" y="439"/>
                </a:cxn>
                <a:cxn ang="0">
                  <a:pos x="283" y="439"/>
                </a:cxn>
                <a:cxn ang="0">
                  <a:pos x="273" y="439"/>
                </a:cxn>
                <a:cxn ang="0">
                  <a:pos x="254" y="419"/>
                </a:cxn>
                <a:cxn ang="0">
                  <a:pos x="234" y="429"/>
                </a:cxn>
                <a:cxn ang="0">
                  <a:pos x="215" y="468"/>
                </a:cxn>
                <a:cxn ang="0">
                  <a:pos x="215" y="497"/>
                </a:cxn>
                <a:cxn ang="0">
                  <a:pos x="166" y="468"/>
                </a:cxn>
                <a:cxn ang="0">
                  <a:pos x="176" y="439"/>
                </a:cxn>
                <a:cxn ang="0">
                  <a:pos x="176" y="390"/>
                </a:cxn>
                <a:cxn ang="0">
                  <a:pos x="156" y="380"/>
                </a:cxn>
                <a:cxn ang="0">
                  <a:pos x="146" y="361"/>
                </a:cxn>
                <a:cxn ang="0">
                  <a:pos x="136" y="351"/>
                </a:cxn>
                <a:cxn ang="0">
                  <a:pos x="136" y="312"/>
                </a:cxn>
                <a:cxn ang="0">
                  <a:pos x="107" y="322"/>
                </a:cxn>
                <a:cxn ang="0">
                  <a:pos x="107" y="293"/>
                </a:cxn>
                <a:cxn ang="0">
                  <a:pos x="97" y="273"/>
                </a:cxn>
                <a:cxn ang="0">
                  <a:pos x="58" y="263"/>
                </a:cxn>
                <a:cxn ang="0">
                  <a:pos x="78" y="234"/>
                </a:cxn>
                <a:cxn ang="0">
                  <a:pos x="97" y="176"/>
                </a:cxn>
                <a:cxn ang="0">
                  <a:pos x="58" y="156"/>
                </a:cxn>
                <a:cxn ang="0">
                  <a:pos x="49" y="136"/>
                </a:cxn>
                <a:cxn ang="0">
                  <a:pos x="29" y="127"/>
                </a:cxn>
                <a:cxn ang="0">
                  <a:pos x="10" y="117"/>
                </a:cxn>
                <a:cxn ang="0">
                  <a:pos x="0" y="78"/>
                </a:cxn>
                <a:cxn ang="0">
                  <a:pos x="19" y="49"/>
                </a:cxn>
                <a:cxn ang="0">
                  <a:pos x="39" y="29"/>
                </a:cxn>
                <a:cxn ang="0">
                  <a:pos x="68" y="19"/>
                </a:cxn>
                <a:cxn ang="0">
                  <a:pos x="88" y="0"/>
                </a:cxn>
                <a:cxn ang="0">
                  <a:pos x="117" y="0"/>
                </a:cxn>
                <a:cxn ang="0">
                  <a:pos x="146" y="39"/>
                </a:cxn>
                <a:cxn ang="0">
                  <a:pos x="195" y="58"/>
                </a:cxn>
                <a:cxn ang="0">
                  <a:pos x="195" y="88"/>
                </a:cxn>
                <a:cxn ang="0">
                  <a:pos x="215" y="97"/>
                </a:cxn>
                <a:cxn ang="0">
                  <a:pos x="244" y="117"/>
                </a:cxn>
                <a:cxn ang="0">
                  <a:pos x="263" y="146"/>
                </a:cxn>
                <a:cxn ang="0">
                  <a:pos x="302" y="146"/>
                </a:cxn>
              </a:cxnLst>
              <a:rect l="0" t="0" r="r" b="b"/>
              <a:pathLst>
                <a:path w="458" h="497">
                  <a:moveTo>
                    <a:pt x="312" y="156"/>
                  </a:moveTo>
                  <a:lnTo>
                    <a:pt x="322" y="166"/>
                  </a:lnTo>
                  <a:lnTo>
                    <a:pt x="332" y="176"/>
                  </a:lnTo>
                  <a:lnTo>
                    <a:pt x="332" y="185"/>
                  </a:lnTo>
                  <a:lnTo>
                    <a:pt x="361" y="205"/>
                  </a:lnTo>
                  <a:lnTo>
                    <a:pt x="380" y="195"/>
                  </a:lnTo>
                  <a:lnTo>
                    <a:pt x="380" y="215"/>
                  </a:lnTo>
                  <a:lnTo>
                    <a:pt x="400" y="224"/>
                  </a:lnTo>
                  <a:lnTo>
                    <a:pt x="410" y="234"/>
                  </a:lnTo>
                  <a:lnTo>
                    <a:pt x="429" y="254"/>
                  </a:lnTo>
                  <a:lnTo>
                    <a:pt x="419" y="263"/>
                  </a:lnTo>
                  <a:lnTo>
                    <a:pt x="429" y="273"/>
                  </a:lnTo>
                  <a:lnTo>
                    <a:pt x="419" y="283"/>
                  </a:lnTo>
                  <a:lnTo>
                    <a:pt x="429" y="293"/>
                  </a:lnTo>
                  <a:lnTo>
                    <a:pt x="429" y="302"/>
                  </a:lnTo>
                  <a:lnTo>
                    <a:pt x="429" y="322"/>
                  </a:lnTo>
                  <a:lnTo>
                    <a:pt x="439" y="322"/>
                  </a:lnTo>
                  <a:lnTo>
                    <a:pt x="439" y="351"/>
                  </a:lnTo>
                  <a:lnTo>
                    <a:pt x="439" y="361"/>
                  </a:lnTo>
                  <a:lnTo>
                    <a:pt x="449" y="400"/>
                  </a:lnTo>
                  <a:lnTo>
                    <a:pt x="458" y="439"/>
                  </a:lnTo>
                  <a:lnTo>
                    <a:pt x="439" y="449"/>
                  </a:lnTo>
                  <a:lnTo>
                    <a:pt x="439" y="439"/>
                  </a:lnTo>
                  <a:lnTo>
                    <a:pt x="429" y="439"/>
                  </a:lnTo>
                  <a:lnTo>
                    <a:pt x="419" y="449"/>
                  </a:lnTo>
                  <a:lnTo>
                    <a:pt x="390" y="449"/>
                  </a:lnTo>
                  <a:lnTo>
                    <a:pt x="380" y="439"/>
                  </a:lnTo>
                  <a:lnTo>
                    <a:pt x="351" y="439"/>
                  </a:lnTo>
                  <a:lnTo>
                    <a:pt x="341" y="439"/>
                  </a:lnTo>
                  <a:lnTo>
                    <a:pt x="341" y="429"/>
                  </a:lnTo>
                  <a:lnTo>
                    <a:pt x="332" y="429"/>
                  </a:lnTo>
                  <a:lnTo>
                    <a:pt x="322" y="439"/>
                  </a:lnTo>
                  <a:lnTo>
                    <a:pt x="312" y="439"/>
                  </a:lnTo>
                  <a:lnTo>
                    <a:pt x="283" y="439"/>
                  </a:lnTo>
                  <a:lnTo>
                    <a:pt x="273" y="439"/>
                  </a:lnTo>
                  <a:lnTo>
                    <a:pt x="254" y="439"/>
                  </a:lnTo>
                  <a:lnTo>
                    <a:pt x="254" y="419"/>
                  </a:lnTo>
                  <a:lnTo>
                    <a:pt x="234" y="429"/>
                  </a:lnTo>
                  <a:lnTo>
                    <a:pt x="224" y="439"/>
                  </a:lnTo>
                  <a:lnTo>
                    <a:pt x="215" y="468"/>
                  </a:lnTo>
                  <a:lnTo>
                    <a:pt x="205" y="468"/>
                  </a:lnTo>
                  <a:lnTo>
                    <a:pt x="215" y="497"/>
                  </a:lnTo>
                  <a:lnTo>
                    <a:pt x="166" y="478"/>
                  </a:lnTo>
                  <a:lnTo>
                    <a:pt x="166" y="468"/>
                  </a:lnTo>
                  <a:lnTo>
                    <a:pt x="176" y="458"/>
                  </a:lnTo>
                  <a:lnTo>
                    <a:pt x="176" y="439"/>
                  </a:lnTo>
                  <a:lnTo>
                    <a:pt x="176" y="410"/>
                  </a:lnTo>
                  <a:lnTo>
                    <a:pt x="176" y="390"/>
                  </a:lnTo>
                  <a:lnTo>
                    <a:pt x="166" y="380"/>
                  </a:lnTo>
                  <a:lnTo>
                    <a:pt x="156" y="380"/>
                  </a:lnTo>
                  <a:lnTo>
                    <a:pt x="146" y="371"/>
                  </a:lnTo>
                  <a:lnTo>
                    <a:pt x="146" y="361"/>
                  </a:lnTo>
                  <a:lnTo>
                    <a:pt x="146" y="351"/>
                  </a:lnTo>
                  <a:lnTo>
                    <a:pt x="136" y="351"/>
                  </a:lnTo>
                  <a:lnTo>
                    <a:pt x="146" y="332"/>
                  </a:lnTo>
                  <a:lnTo>
                    <a:pt x="136" y="312"/>
                  </a:lnTo>
                  <a:lnTo>
                    <a:pt x="117" y="322"/>
                  </a:lnTo>
                  <a:lnTo>
                    <a:pt x="107" y="322"/>
                  </a:lnTo>
                  <a:lnTo>
                    <a:pt x="97" y="302"/>
                  </a:lnTo>
                  <a:lnTo>
                    <a:pt x="107" y="293"/>
                  </a:lnTo>
                  <a:lnTo>
                    <a:pt x="107" y="283"/>
                  </a:lnTo>
                  <a:lnTo>
                    <a:pt x="97" y="273"/>
                  </a:lnTo>
                  <a:lnTo>
                    <a:pt x="78" y="283"/>
                  </a:lnTo>
                  <a:lnTo>
                    <a:pt x="58" y="263"/>
                  </a:lnTo>
                  <a:lnTo>
                    <a:pt x="58" y="254"/>
                  </a:lnTo>
                  <a:lnTo>
                    <a:pt x="78" y="234"/>
                  </a:lnTo>
                  <a:lnTo>
                    <a:pt x="107" y="195"/>
                  </a:lnTo>
                  <a:lnTo>
                    <a:pt x="97" y="176"/>
                  </a:lnTo>
                  <a:lnTo>
                    <a:pt x="68" y="146"/>
                  </a:lnTo>
                  <a:lnTo>
                    <a:pt x="58" y="156"/>
                  </a:lnTo>
                  <a:lnTo>
                    <a:pt x="39" y="146"/>
                  </a:lnTo>
                  <a:lnTo>
                    <a:pt x="49" y="136"/>
                  </a:lnTo>
                  <a:lnTo>
                    <a:pt x="58" y="136"/>
                  </a:lnTo>
                  <a:lnTo>
                    <a:pt x="29" y="127"/>
                  </a:lnTo>
                  <a:lnTo>
                    <a:pt x="19" y="127"/>
                  </a:lnTo>
                  <a:lnTo>
                    <a:pt x="10" y="117"/>
                  </a:lnTo>
                  <a:lnTo>
                    <a:pt x="10" y="97"/>
                  </a:lnTo>
                  <a:lnTo>
                    <a:pt x="0" y="78"/>
                  </a:lnTo>
                  <a:lnTo>
                    <a:pt x="19" y="58"/>
                  </a:lnTo>
                  <a:lnTo>
                    <a:pt x="19" y="49"/>
                  </a:lnTo>
                  <a:lnTo>
                    <a:pt x="29" y="29"/>
                  </a:lnTo>
                  <a:lnTo>
                    <a:pt x="39" y="29"/>
                  </a:lnTo>
                  <a:lnTo>
                    <a:pt x="58" y="29"/>
                  </a:lnTo>
                  <a:lnTo>
                    <a:pt x="68" y="19"/>
                  </a:lnTo>
                  <a:lnTo>
                    <a:pt x="78" y="19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17" y="0"/>
                  </a:lnTo>
                  <a:lnTo>
                    <a:pt x="117" y="29"/>
                  </a:lnTo>
                  <a:lnTo>
                    <a:pt x="146" y="39"/>
                  </a:lnTo>
                  <a:lnTo>
                    <a:pt x="166" y="68"/>
                  </a:lnTo>
                  <a:lnTo>
                    <a:pt x="195" y="58"/>
                  </a:lnTo>
                  <a:lnTo>
                    <a:pt x="205" y="78"/>
                  </a:lnTo>
                  <a:lnTo>
                    <a:pt x="195" y="88"/>
                  </a:lnTo>
                  <a:lnTo>
                    <a:pt x="195" y="107"/>
                  </a:lnTo>
                  <a:lnTo>
                    <a:pt x="215" y="97"/>
                  </a:lnTo>
                  <a:lnTo>
                    <a:pt x="224" y="117"/>
                  </a:lnTo>
                  <a:lnTo>
                    <a:pt x="244" y="117"/>
                  </a:lnTo>
                  <a:lnTo>
                    <a:pt x="254" y="146"/>
                  </a:lnTo>
                  <a:lnTo>
                    <a:pt x="263" y="146"/>
                  </a:lnTo>
                  <a:lnTo>
                    <a:pt x="273" y="127"/>
                  </a:lnTo>
                  <a:lnTo>
                    <a:pt x="302" y="146"/>
                  </a:lnTo>
                  <a:lnTo>
                    <a:pt x="312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7" name="Freeform 154"/>
            <p:cNvSpPr>
              <a:spLocks/>
            </p:cNvSpPr>
            <p:nvPr/>
          </p:nvSpPr>
          <p:spPr bwMode="auto">
            <a:xfrm>
              <a:off x="712" y="2478"/>
              <a:ext cx="334" cy="430"/>
            </a:xfrm>
            <a:custGeom>
              <a:avLst/>
              <a:gdLst/>
              <a:ahLst/>
              <a:cxnLst>
                <a:cxn ang="0">
                  <a:pos x="215" y="361"/>
                </a:cxn>
                <a:cxn ang="0">
                  <a:pos x="234" y="351"/>
                </a:cxn>
                <a:cxn ang="0">
                  <a:pos x="244" y="303"/>
                </a:cxn>
                <a:cxn ang="0">
                  <a:pos x="263" y="283"/>
                </a:cxn>
                <a:cxn ang="0">
                  <a:pos x="283" y="273"/>
                </a:cxn>
                <a:cxn ang="0">
                  <a:pos x="312" y="244"/>
                </a:cxn>
                <a:cxn ang="0">
                  <a:pos x="322" y="215"/>
                </a:cxn>
                <a:cxn ang="0">
                  <a:pos x="302" y="176"/>
                </a:cxn>
                <a:cxn ang="0">
                  <a:pos x="322" y="117"/>
                </a:cxn>
                <a:cxn ang="0">
                  <a:pos x="273" y="108"/>
                </a:cxn>
                <a:cxn ang="0">
                  <a:pos x="273" y="69"/>
                </a:cxn>
                <a:cxn ang="0">
                  <a:pos x="263" y="29"/>
                </a:cxn>
                <a:cxn ang="0">
                  <a:pos x="234" y="39"/>
                </a:cxn>
                <a:cxn ang="0">
                  <a:pos x="215" y="20"/>
                </a:cxn>
                <a:cxn ang="0">
                  <a:pos x="195" y="10"/>
                </a:cxn>
                <a:cxn ang="0">
                  <a:pos x="176" y="39"/>
                </a:cxn>
                <a:cxn ang="0">
                  <a:pos x="185" y="88"/>
                </a:cxn>
                <a:cxn ang="0">
                  <a:pos x="176" y="69"/>
                </a:cxn>
                <a:cxn ang="0">
                  <a:pos x="156" y="59"/>
                </a:cxn>
                <a:cxn ang="0">
                  <a:pos x="117" y="69"/>
                </a:cxn>
                <a:cxn ang="0">
                  <a:pos x="98" y="69"/>
                </a:cxn>
                <a:cxn ang="0">
                  <a:pos x="68" y="88"/>
                </a:cxn>
                <a:cxn ang="0">
                  <a:pos x="59" y="59"/>
                </a:cxn>
                <a:cxn ang="0">
                  <a:pos x="49" y="49"/>
                </a:cxn>
                <a:cxn ang="0">
                  <a:pos x="29" y="29"/>
                </a:cxn>
                <a:cxn ang="0">
                  <a:pos x="10" y="29"/>
                </a:cxn>
                <a:cxn ang="0">
                  <a:pos x="10" y="49"/>
                </a:cxn>
                <a:cxn ang="0">
                  <a:pos x="10" y="88"/>
                </a:cxn>
                <a:cxn ang="0">
                  <a:pos x="0" y="127"/>
                </a:cxn>
                <a:cxn ang="0">
                  <a:pos x="10" y="166"/>
                </a:cxn>
                <a:cxn ang="0">
                  <a:pos x="20" y="205"/>
                </a:cxn>
                <a:cxn ang="0">
                  <a:pos x="20" y="254"/>
                </a:cxn>
                <a:cxn ang="0">
                  <a:pos x="20" y="322"/>
                </a:cxn>
                <a:cxn ang="0">
                  <a:pos x="10" y="361"/>
                </a:cxn>
                <a:cxn ang="0">
                  <a:pos x="39" y="361"/>
                </a:cxn>
                <a:cxn ang="0">
                  <a:pos x="59" y="390"/>
                </a:cxn>
                <a:cxn ang="0">
                  <a:pos x="88" y="390"/>
                </a:cxn>
                <a:cxn ang="0">
                  <a:pos x="127" y="381"/>
                </a:cxn>
                <a:cxn ang="0">
                  <a:pos x="137" y="332"/>
                </a:cxn>
                <a:cxn ang="0">
                  <a:pos x="146" y="303"/>
                </a:cxn>
                <a:cxn ang="0">
                  <a:pos x="107" y="332"/>
                </a:cxn>
                <a:cxn ang="0">
                  <a:pos x="68" y="361"/>
                </a:cxn>
                <a:cxn ang="0">
                  <a:pos x="59" y="342"/>
                </a:cxn>
                <a:cxn ang="0">
                  <a:pos x="68" y="312"/>
                </a:cxn>
                <a:cxn ang="0">
                  <a:pos x="88" y="322"/>
                </a:cxn>
                <a:cxn ang="0">
                  <a:pos x="107" y="303"/>
                </a:cxn>
                <a:cxn ang="0">
                  <a:pos x="146" y="273"/>
                </a:cxn>
                <a:cxn ang="0">
                  <a:pos x="127" y="225"/>
                </a:cxn>
                <a:cxn ang="0">
                  <a:pos x="98" y="195"/>
                </a:cxn>
                <a:cxn ang="0">
                  <a:pos x="98" y="186"/>
                </a:cxn>
                <a:cxn ang="0">
                  <a:pos x="137" y="225"/>
                </a:cxn>
                <a:cxn ang="0">
                  <a:pos x="166" y="244"/>
                </a:cxn>
                <a:cxn ang="0">
                  <a:pos x="176" y="303"/>
                </a:cxn>
                <a:cxn ang="0">
                  <a:pos x="146" y="351"/>
                </a:cxn>
                <a:cxn ang="0">
                  <a:pos x="146" y="400"/>
                </a:cxn>
                <a:cxn ang="0">
                  <a:pos x="166" y="420"/>
                </a:cxn>
                <a:cxn ang="0">
                  <a:pos x="215" y="400"/>
                </a:cxn>
              </a:cxnLst>
              <a:rect l="0" t="0" r="r" b="b"/>
              <a:pathLst>
                <a:path w="332" h="430">
                  <a:moveTo>
                    <a:pt x="215" y="400"/>
                  </a:moveTo>
                  <a:lnTo>
                    <a:pt x="205" y="381"/>
                  </a:lnTo>
                  <a:lnTo>
                    <a:pt x="215" y="361"/>
                  </a:lnTo>
                  <a:lnTo>
                    <a:pt x="224" y="371"/>
                  </a:lnTo>
                  <a:lnTo>
                    <a:pt x="244" y="361"/>
                  </a:lnTo>
                  <a:lnTo>
                    <a:pt x="234" y="351"/>
                  </a:lnTo>
                  <a:lnTo>
                    <a:pt x="244" y="322"/>
                  </a:lnTo>
                  <a:lnTo>
                    <a:pt x="254" y="312"/>
                  </a:lnTo>
                  <a:lnTo>
                    <a:pt x="244" y="303"/>
                  </a:lnTo>
                  <a:lnTo>
                    <a:pt x="254" y="303"/>
                  </a:lnTo>
                  <a:lnTo>
                    <a:pt x="254" y="283"/>
                  </a:lnTo>
                  <a:lnTo>
                    <a:pt x="263" y="283"/>
                  </a:lnTo>
                  <a:lnTo>
                    <a:pt x="263" y="264"/>
                  </a:lnTo>
                  <a:lnTo>
                    <a:pt x="283" y="264"/>
                  </a:lnTo>
                  <a:lnTo>
                    <a:pt x="283" y="273"/>
                  </a:lnTo>
                  <a:lnTo>
                    <a:pt x="302" y="273"/>
                  </a:lnTo>
                  <a:lnTo>
                    <a:pt x="312" y="264"/>
                  </a:lnTo>
                  <a:lnTo>
                    <a:pt x="312" y="244"/>
                  </a:lnTo>
                  <a:lnTo>
                    <a:pt x="322" y="244"/>
                  </a:lnTo>
                  <a:lnTo>
                    <a:pt x="332" y="234"/>
                  </a:lnTo>
                  <a:lnTo>
                    <a:pt x="322" y="215"/>
                  </a:lnTo>
                  <a:lnTo>
                    <a:pt x="302" y="195"/>
                  </a:lnTo>
                  <a:lnTo>
                    <a:pt x="302" y="176"/>
                  </a:lnTo>
                  <a:lnTo>
                    <a:pt x="312" y="156"/>
                  </a:lnTo>
                  <a:lnTo>
                    <a:pt x="322" y="147"/>
                  </a:lnTo>
                  <a:lnTo>
                    <a:pt x="322" y="117"/>
                  </a:lnTo>
                  <a:lnTo>
                    <a:pt x="302" y="88"/>
                  </a:lnTo>
                  <a:lnTo>
                    <a:pt x="293" y="98"/>
                  </a:lnTo>
                  <a:lnTo>
                    <a:pt x="273" y="108"/>
                  </a:lnTo>
                  <a:lnTo>
                    <a:pt x="263" y="98"/>
                  </a:lnTo>
                  <a:lnTo>
                    <a:pt x="263" y="78"/>
                  </a:lnTo>
                  <a:lnTo>
                    <a:pt x="273" y="69"/>
                  </a:lnTo>
                  <a:lnTo>
                    <a:pt x="273" y="49"/>
                  </a:lnTo>
                  <a:lnTo>
                    <a:pt x="263" y="39"/>
                  </a:lnTo>
                  <a:lnTo>
                    <a:pt x="263" y="29"/>
                  </a:lnTo>
                  <a:lnTo>
                    <a:pt x="244" y="29"/>
                  </a:lnTo>
                  <a:lnTo>
                    <a:pt x="244" y="49"/>
                  </a:lnTo>
                  <a:lnTo>
                    <a:pt x="234" y="3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15" y="20"/>
                  </a:lnTo>
                  <a:lnTo>
                    <a:pt x="205" y="10"/>
                  </a:lnTo>
                  <a:lnTo>
                    <a:pt x="205" y="0"/>
                  </a:lnTo>
                  <a:lnTo>
                    <a:pt x="195" y="10"/>
                  </a:lnTo>
                  <a:lnTo>
                    <a:pt x="185" y="20"/>
                  </a:lnTo>
                  <a:lnTo>
                    <a:pt x="176" y="29"/>
                  </a:lnTo>
                  <a:lnTo>
                    <a:pt x="176" y="39"/>
                  </a:lnTo>
                  <a:lnTo>
                    <a:pt x="185" y="59"/>
                  </a:lnTo>
                  <a:lnTo>
                    <a:pt x="185" y="78"/>
                  </a:lnTo>
                  <a:lnTo>
                    <a:pt x="185" y="88"/>
                  </a:lnTo>
                  <a:lnTo>
                    <a:pt x="176" y="88"/>
                  </a:lnTo>
                  <a:lnTo>
                    <a:pt x="176" y="78"/>
                  </a:lnTo>
                  <a:lnTo>
                    <a:pt x="176" y="69"/>
                  </a:lnTo>
                  <a:lnTo>
                    <a:pt x="166" y="69"/>
                  </a:lnTo>
                  <a:lnTo>
                    <a:pt x="156" y="69"/>
                  </a:lnTo>
                  <a:lnTo>
                    <a:pt x="156" y="59"/>
                  </a:lnTo>
                  <a:lnTo>
                    <a:pt x="146" y="59"/>
                  </a:lnTo>
                  <a:lnTo>
                    <a:pt x="137" y="59"/>
                  </a:lnTo>
                  <a:lnTo>
                    <a:pt x="117" y="69"/>
                  </a:lnTo>
                  <a:lnTo>
                    <a:pt x="107" y="59"/>
                  </a:lnTo>
                  <a:lnTo>
                    <a:pt x="98" y="59"/>
                  </a:lnTo>
                  <a:lnTo>
                    <a:pt x="98" y="69"/>
                  </a:lnTo>
                  <a:lnTo>
                    <a:pt x="88" y="88"/>
                  </a:lnTo>
                  <a:lnTo>
                    <a:pt x="78" y="88"/>
                  </a:lnTo>
                  <a:lnTo>
                    <a:pt x="68" y="88"/>
                  </a:lnTo>
                  <a:lnTo>
                    <a:pt x="68" y="78"/>
                  </a:lnTo>
                  <a:lnTo>
                    <a:pt x="59" y="69"/>
                  </a:lnTo>
                  <a:lnTo>
                    <a:pt x="59" y="59"/>
                  </a:lnTo>
                  <a:lnTo>
                    <a:pt x="39" y="59"/>
                  </a:lnTo>
                  <a:lnTo>
                    <a:pt x="49" y="49"/>
                  </a:lnTo>
                  <a:lnTo>
                    <a:pt x="39" y="39"/>
                  </a:lnTo>
                  <a:lnTo>
                    <a:pt x="39" y="29"/>
                  </a:lnTo>
                  <a:lnTo>
                    <a:pt x="29" y="29"/>
                  </a:lnTo>
                  <a:lnTo>
                    <a:pt x="29" y="39"/>
                  </a:lnTo>
                  <a:lnTo>
                    <a:pt x="20" y="3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10" y="49"/>
                  </a:lnTo>
                  <a:lnTo>
                    <a:pt x="10" y="69"/>
                  </a:lnTo>
                  <a:lnTo>
                    <a:pt x="10" y="88"/>
                  </a:lnTo>
                  <a:lnTo>
                    <a:pt x="10" y="98"/>
                  </a:lnTo>
                  <a:lnTo>
                    <a:pt x="0" y="108"/>
                  </a:lnTo>
                  <a:lnTo>
                    <a:pt x="0" y="127"/>
                  </a:lnTo>
                  <a:lnTo>
                    <a:pt x="10" y="137"/>
                  </a:lnTo>
                  <a:lnTo>
                    <a:pt x="10" y="166"/>
                  </a:lnTo>
                  <a:lnTo>
                    <a:pt x="10" y="176"/>
                  </a:lnTo>
                  <a:lnTo>
                    <a:pt x="10" y="195"/>
                  </a:lnTo>
                  <a:lnTo>
                    <a:pt x="20" y="205"/>
                  </a:lnTo>
                  <a:lnTo>
                    <a:pt x="29" y="225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10" y="371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49" y="371"/>
                  </a:lnTo>
                  <a:lnTo>
                    <a:pt x="49" y="381"/>
                  </a:lnTo>
                  <a:lnTo>
                    <a:pt x="59" y="390"/>
                  </a:lnTo>
                  <a:lnTo>
                    <a:pt x="59" y="400"/>
                  </a:lnTo>
                  <a:lnTo>
                    <a:pt x="68" y="410"/>
                  </a:lnTo>
                  <a:lnTo>
                    <a:pt x="88" y="390"/>
                  </a:lnTo>
                  <a:lnTo>
                    <a:pt x="107" y="390"/>
                  </a:lnTo>
                  <a:lnTo>
                    <a:pt x="127" y="381"/>
                  </a:lnTo>
                  <a:lnTo>
                    <a:pt x="137" y="351"/>
                  </a:lnTo>
                  <a:lnTo>
                    <a:pt x="137" y="342"/>
                  </a:lnTo>
                  <a:lnTo>
                    <a:pt x="137" y="332"/>
                  </a:lnTo>
                  <a:lnTo>
                    <a:pt x="146" y="322"/>
                  </a:lnTo>
                  <a:lnTo>
                    <a:pt x="156" y="303"/>
                  </a:lnTo>
                  <a:lnTo>
                    <a:pt x="146" y="303"/>
                  </a:lnTo>
                  <a:lnTo>
                    <a:pt x="137" y="312"/>
                  </a:lnTo>
                  <a:lnTo>
                    <a:pt x="127" y="322"/>
                  </a:lnTo>
                  <a:lnTo>
                    <a:pt x="107" y="332"/>
                  </a:lnTo>
                  <a:lnTo>
                    <a:pt x="98" y="351"/>
                  </a:lnTo>
                  <a:lnTo>
                    <a:pt x="78" y="361"/>
                  </a:lnTo>
                  <a:lnTo>
                    <a:pt x="68" y="361"/>
                  </a:lnTo>
                  <a:lnTo>
                    <a:pt x="68" y="351"/>
                  </a:lnTo>
                  <a:lnTo>
                    <a:pt x="68" y="342"/>
                  </a:lnTo>
                  <a:lnTo>
                    <a:pt x="59" y="342"/>
                  </a:lnTo>
                  <a:lnTo>
                    <a:pt x="49" y="332"/>
                  </a:lnTo>
                  <a:lnTo>
                    <a:pt x="49" y="322"/>
                  </a:lnTo>
                  <a:lnTo>
                    <a:pt x="68" y="312"/>
                  </a:lnTo>
                  <a:lnTo>
                    <a:pt x="78" y="303"/>
                  </a:lnTo>
                  <a:lnTo>
                    <a:pt x="78" y="312"/>
                  </a:lnTo>
                  <a:lnTo>
                    <a:pt x="88" y="322"/>
                  </a:lnTo>
                  <a:lnTo>
                    <a:pt x="98" y="322"/>
                  </a:lnTo>
                  <a:lnTo>
                    <a:pt x="98" y="303"/>
                  </a:lnTo>
                  <a:lnTo>
                    <a:pt x="107" y="303"/>
                  </a:lnTo>
                  <a:lnTo>
                    <a:pt x="117" y="293"/>
                  </a:lnTo>
                  <a:lnTo>
                    <a:pt x="127" y="283"/>
                  </a:lnTo>
                  <a:lnTo>
                    <a:pt x="146" y="273"/>
                  </a:lnTo>
                  <a:lnTo>
                    <a:pt x="146" y="264"/>
                  </a:lnTo>
                  <a:lnTo>
                    <a:pt x="146" y="254"/>
                  </a:lnTo>
                  <a:lnTo>
                    <a:pt x="127" y="225"/>
                  </a:lnTo>
                  <a:lnTo>
                    <a:pt x="117" y="225"/>
                  </a:lnTo>
                  <a:lnTo>
                    <a:pt x="98" y="205"/>
                  </a:lnTo>
                  <a:lnTo>
                    <a:pt x="98" y="195"/>
                  </a:lnTo>
                  <a:lnTo>
                    <a:pt x="88" y="186"/>
                  </a:lnTo>
                  <a:lnTo>
                    <a:pt x="98" y="176"/>
                  </a:lnTo>
                  <a:lnTo>
                    <a:pt x="98" y="186"/>
                  </a:lnTo>
                  <a:lnTo>
                    <a:pt x="117" y="205"/>
                  </a:lnTo>
                  <a:lnTo>
                    <a:pt x="127" y="215"/>
                  </a:lnTo>
                  <a:lnTo>
                    <a:pt x="137" y="225"/>
                  </a:lnTo>
                  <a:lnTo>
                    <a:pt x="156" y="225"/>
                  </a:lnTo>
                  <a:lnTo>
                    <a:pt x="166" y="234"/>
                  </a:lnTo>
                  <a:lnTo>
                    <a:pt x="166" y="244"/>
                  </a:lnTo>
                  <a:lnTo>
                    <a:pt x="185" y="273"/>
                  </a:lnTo>
                  <a:lnTo>
                    <a:pt x="176" y="293"/>
                  </a:lnTo>
                  <a:lnTo>
                    <a:pt x="176" y="303"/>
                  </a:lnTo>
                  <a:lnTo>
                    <a:pt x="176" y="322"/>
                  </a:lnTo>
                  <a:lnTo>
                    <a:pt x="156" y="342"/>
                  </a:lnTo>
                  <a:lnTo>
                    <a:pt x="146" y="351"/>
                  </a:lnTo>
                  <a:lnTo>
                    <a:pt x="137" y="351"/>
                  </a:lnTo>
                  <a:lnTo>
                    <a:pt x="127" y="381"/>
                  </a:lnTo>
                  <a:lnTo>
                    <a:pt x="146" y="400"/>
                  </a:lnTo>
                  <a:lnTo>
                    <a:pt x="137" y="420"/>
                  </a:lnTo>
                  <a:lnTo>
                    <a:pt x="146" y="430"/>
                  </a:lnTo>
                  <a:lnTo>
                    <a:pt x="166" y="420"/>
                  </a:lnTo>
                  <a:lnTo>
                    <a:pt x="185" y="420"/>
                  </a:lnTo>
                  <a:lnTo>
                    <a:pt x="185" y="400"/>
                  </a:lnTo>
                  <a:lnTo>
                    <a:pt x="215" y="40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8" name="Freeform 153"/>
            <p:cNvSpPr>
              <a:spLocks/>
            </p:cNvSpPr>
            <p:nvPr/>
          </p:nvSpPr>
          <p:spPr bwMode="auto">
            <a:xfrm>
              <a:off x="896" y="2729"/>
              <a:ext cx="314" cy="430"/>
            </a:xfrm>
            <a:custGeom>
              <a:avLst/>
              <a:gdLst/>
              <a:ahLst/>
              <a:cxnLst>
                <a:cxn ang="0">
                  <a:pos x="39" y="273"/>
                </a:cxn>
                <a:cxn ang="0">
                  <a:pos x="39" y="293"/>
                </a:cxn>
                <a:cxn ang="0">
                  <a:pos x="69" y="312"/>
                </a:cxn>
                <a:cxn ang="0">
                  <a:pos x="98" y="322"/>
                </a:cxn>
                <a:cxn ang="0">
                  <a:pos x="117" y="341"/>
                </a:cxn>
                <a:cxn ang="0">
                  <a:pos x="117" y="361"/>
                </a:cxn>
                <a:cxn ang="0">
                  <a:pos x="127" y="390"/>
                </a:cxn>
                <a:cxn ang="0">
                  <a:pos x="166" y="390"/>
                </a:cxn>
                <a:cxn ang="0">
                  <a:pos x="166" y="419"/>
                </a:cxn>
                <a:cxn ang="0">
                  <a:pos x="195" y="419"/>
                </a:cxn>
                <a:cxn ang="0">
                  <a:pos x="215" y="410"/>
                </a:cxn>
                <a:cxn ang="0">
                  <a:pos x="186" y="380"/>
                </a:cxn>
                <a:cxn ang="0">
                  <a:pos x="215" y="390"/>
                </a:cxn>
                <a:cxn ang="0">
                  <a:pos x="225" y="371"/>
                </a:cxn>
                <a:cxn ang="0">
                  <a:pos x="234" y="351"/>
                </a:cxn>
                <a:cxn ang="0">
                  <a:pos x="273" y="371"/>
                </a:cxn>
                <a:cxn ang="0">
                  <a:pos x="293" y="351"/>
                </a:cxn>
                <a:cxn ang="0">
                  <a:pos x="313" y="322"/>
                </a:cxn>
                <a:cxn ang="0">
                  <a:pos x="264" y="234"/>
                </a:cxn>
                <a:cxn ang="0">
                  <a:pos x="273" y="195"/>
                </a:cxn>
                <a:cxn ang="0">
                  <a:pos x="264" y="156"/>
                </a:cxn>
                <a:cxn ang="0">
                  <a:pos x="254" y="127"/>
                </a:cxn>
                <a:cxn ang="0">
                  <a:pos x="244" y="97"/>
                </a:cxn>
                <a:cxn ang="0">
                  <a:pos x="205" y="88"/>
                </a:cxn>
                <a:cxn ang="0">
                  <a:pos x="205" y="78"/>
                </a:cxn>
                <a:cxn ang="0">
                  <a:pos x="186" y="68"/>
                </a:cxn>
                <a:cxn ang="0">
                  <a:pos x="166" y="58"/>
                </a:cxn>
                <a:cxn ang="0">
                  <a:pos x="127" y="0"/>
                </a:cxn>
                <a:cxn ang="0">
                  <a:pos x="98" y="19"/>
                </a:cxn>
                <a:cxn ang="0">
                  <a:pos x="78" y="10"/>
                </a:cxn>
                <a:cxn ang="0">
                  <a:pos x="59" y="29"/>
                </a:cxn>
                <a:cxn ang="0">
                  <a:pos x="59" y="49"/>
                </a:cxn>
                <a:cxn ang="0">
                  <a:pos x="59" y="68"/>
                </a:cxn>
                <a:cxn ang="0">
                  <a:pos x="59" y="107"/>
                </a:cxn>
                <a:cxn ang="0">
                  <a:pos x="30" y="107"/>
                </a:cxn>
                <a:cxn ang="0">
                  <a:pos x="20" y="146"/>
                </a:cxn>
                <a:cxn ang="0">
                  <a:pos x="30" y="185"/>
                </a:cxn>
                <a:cxn ang="0">
                  <a:pos x="49" y="195"/>
                </a:cxn>
                <a:cxn ang="0">
                  <a:pos x="30" y="215"/>
                </a:cxn>
                <a:cxn ang="0">
                  <a:pos x="0" y="215"/>
                </a:cxn>
                <a:cxn ang="0">
                  <a:pos x="20" y="234"/>
                </a:cxn>
                <a:cxn ang="0">
                  <a:pos x="20" y="263"/>
                </a:cxn>
              </a:cxnLst>
              <a:rect l="0" t="0" r="r" b="b"/>
              <a:pathLst>
                <a:path w="313" h="429">
                  <a:moveTo>
                    <a:pt x="20" y="263"/>
                  </a:moveTo>
                  <a:lnTo>
                    <a:pt x="39" y="273"/>
                  </a:lnTo>
                  <a:lnTo>
                    <a:pt x="49" y="283"/>
                  </a:lnTo>
                  <a:lnTo>
                    <a:pt x="39" y="293"/>
                  </a:lnTo>
                  <a:lnTo>
                    <a:pt x="59" y="302"/>
                  </a:lnTo>
                  <a:lnTo>
                    <a:pt x="69" y="312"/>
                  </a:lnTo>
                  <a:lnTo>
                    <a:pt x="69" y="322"/>
                  </a:lnTo>
                  <a:lnTo>
                    <a:pt x="98" y="322"/>
                  </a:lnTo>
                  <a:lnTo>
                    <a:pt x="98" y="332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37" y="371"/>
                  </a:lnTo>
                  <a:lnTo>
                    <a:pt x="127" y="390"/>
                  </a:lnTo>
                  <a:lnTo>
                    <a:pt x="137" y="410"/>
                  </a:lnTo>
                  <a:lnTo>
                    <a:pt x="166" y="390"/>
                  </a:lnTo>
                  <a:lnTo>
                    <a:pt x="176" y="410"/>
                  </a:lnTo>
                  <a:lnTo>
                    <a:pt x="166" y="419"/>
                  </a:lnTo>
                  <a:lnTo>
                    <a:pt x="176" y="429"/>
                  </a:lnTo>
                  <a:lnTo>
                    <a:pt x="195" y="419"/>
                  </a:lnTo>
                  <a:lnTo>
                    <a:pt x="205" y="429"/>
                  </a:lnTo>
                  <a:lnTo>
                    <a:pt x="215" y="410"/>
                  </a:lnTo>
                  <a:lnTo>
                    <a:pt x="195" y="400"/>
                  </a:lnTo>
                  <a:lnTo>
                    <a:pt x="186" y="380"/>
                  </a:lnTo>
                  <a:lnTo>
                    <a:pt x="205" y="380"/>
                  </a:lnTo>
                  <a:lnTo>
                    <a:pt x="215" y="390"/>
                  </a:lnTo>
                  <a:lnTo>
                    <a:pt x="225" y="371"/>
                  </a:lnTo>
                  <a:lnTo>
                    <a:pt x="225" y="351"/>
                  </a:lnTo>
                  <a:lnTo>
                    <a:pt x="234" y="351"/>
                  </a:lnTo>
                  <a:lnTo>
                    <a:pt x="254" y="371"/>
                  </a:lnTo>
                  <a:lnTo>
                    <a:pt x="273" y="371"/>
                  </a:lnTo>
                  <a:lnTo>
                    <a:pt x="283" y="361"/>
                  </a:lnTo>
                  <a:lnTo>
                    <a:pt x="293" y="351"/>
                  </a:lnTo>
                  <a:lnTo>
                    <a:pt x="313" y="332"/>
                  </a:lnTo>
                  <a:lnTo>
                    <a:pt x="313" y="322"/>
                  </a:lnTo>
                  <a:lnTo>
                    <a:pt x="293" y="293"/>
                  </a:lnTo>
                  <a:lnTo>
                    <a:pt x="264" y="234"/>
                  </a:lnTo>
                  <a:lnTo>
                    <a:pt x="264" y="215"/>
                  </a:lnTo>
                  <a:lnTo>
                    <a:pt x="273" y="195"/>
                  </a:lnTo>
                  <a:lnTo>
                    <a:pt x="273" y="176"/>
                  </a:lnTo>
                  <a:lnTo>
                    <a:pt x="264" y="156"/>
                  </a:lnTo>
                  <a:lnTo>
                    <a:pt x="254" y="146"/>
                  </a:lnTo>
                  <a:lnTo>
                    <a:pt x="254" y="127"/>
                  </a:lnTo>
                  <a:lnTo>
                    <a:pt x="254" y="117"/>
                  </a:lnTo>
                  <a:lnTo>
                    <a:pt x="244" y="97"/>
                  </a:lnTo>
                  <a:lnTo>
                    <a:pt x="225" y="97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205" y="78"/>
                  </a:lnTo>
                  <a:lnTo>
                    <a:pt x="195" y="68"/>
                  </a:lnTo>
                  <a:lnTo>
                    <a:pt x="186" y="68"/>
                  </a:lnTo>
                  <a:lnTo>
                    <a:pt x="176" y="78"/>
                  </a:lnTo>
                  <a:lnTo>
                    <a:pt x="166" y="58"/>
                  </a:lnTo>
                  <a:lnTo>
                    <a:pt x="156" y="39"/>
                  </a:lnTo>
                  <a:lnTo>
                    <a:pt x="127" y="0"/>
                  </a:lnTo>
                  <a:lnTo>
                    <a:pt x="117" y="10"/>
                  </a:lnTo>
                  <a:lnTo>
                    <a:pt x="98" y="19"/>
                  </a:lnTo>
                  <a:lnTo>
                    <a:pt x="98" y="0"/>
                  </a:lnTo>
                  <a:lnTo>
                    <a:pt x="78" y="10"/>
                  </a:lnTo>
                  <a:lnTo>
                    <a:pt x="69" y="29"/>
                  </a:lnTo>
                  <a:lnTo>
                    <a:pt x="59" y="29"/>
                  </a:lnTo>
                  <a:lnTo>
                    <a:pt x="59" y="49"/>
                  </a:lnTo>
                  <a:lnTo>
                    <a:pt x="69" y="58"/>
                  </a:lnTo>
                  <a:lnTo>
                    <a:pt x="59" y="68"/>
                  </a:lnTo>
                  <a:lnTo>
                    <a:pt x="49" y="97"/>
                  </a:lnTo>
                  <a:lnTo>
                    <a:pt x="59" y="107"/>
                  </a:lnTo>
                  <a:lnTo>
                    <a:pt x="39" y="12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20" y="146"/>
                  </a:lnTo>
                  <a:lnTo>
                    <a:pt x="20" y="166"/>
                  </a:lnTo>
                  <a:lnTo>
                    <a:pt x="30" y="18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10" y="215"/>
                  </a:lnTo>
                  <a:lnTo>
                    <a:pt x="0" y="215"/>
                  </a:lnTo>
                  <a:lnTo>
                    <a:pt x="10" y="224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6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9" name="Freeform 152"/>
            <p:cNvSpPr>
              <a:spLocks/>
            </p:cNvSpPr>
            <p:nvPr/>
          </p:nvSpPr>
          <p:spPr bwMode="auto">
            <a:xfrm>
              <a:off x="1053" y="2753"/>
              <a:ext cx="430" cy="430"/>
            </a:xfrm>
            <a:custGeom>
              <a:avLst/>
              <a:gdLst/>
              <a:ahLst/>
              <a:cxnLst>
                <a:cxn ang="0">
                  <a:pos x="157" y="313"/>
                </a:cxn>
                <a:cxn ang="0">
                  <a:pos x="137" y="274"/>
                </a:cxn>
                <a:cxn ang="0">
                  <a:pos x="108" y="196"/>
                </a:cxn>
                <a:cxn ang="0">
                  <a:pos x="117" y="157"/>
                </a:cxn>
                <a:cxn ang="0">
                  <a:pos x="98" y="137"/>
                </a:cxn>
                <a:cxn ang="0">
                  <a:pos x="98" y="98"/>
                </a:cxn>
                <a:cxn ang="0">
                  <a:pos x="69" y="78"/>
                </a:cxn>
                <a:cxn ang="0">
                  <a:pos x="39" y="69"/>
                </a:cxn>
                <a:cxn ang="0">
                  <a:pos x="39" y="49"/>
                </a:cxn>
                <a:cxn ang="0">
                  <a:pos x="20" y="59"/>
                </a:cxn>
                <a:cxn ang="0">
                  <a:pos x="0" y="30"/>
                </a:cxn>
                <a:cxn ang="0">
                  <a:pos x="30" y="10"/>
                </a:cxn>
                <a:cxn ang="0">
                  <a:pos x="69" y="30"/>
                </a:cxn>
                <a:cxn ang="0">
                  <a:pos x="78" y="0"/>
                </a:cxn>
                <a:cxn ang="0">
                  <a:pos x="88" y="39"/>
                </a:cxn>
                <a:cxn ang="0">
                  <a:pos x="108" y="69"/>
                </a:cxn>
                <a:cxn ang="0">
                  <a:pos x="117" y="117"/>
                </a:cxn>
                <a:cxn ang="0">
                  <a:pos x="157" y="137"/>
                </a:cxn>
                <a:cxn ang="0">
                  <a:pos x="186" y="117"/>
                </a:cxn>
                <a:cxn ang="0">
                  <a:pos x="196" y="98"/>
                </a:cxn>
                <a:cxn ang="0">
                  <a:pos x="235" y="98"/>
                </a:cxn>
                <a:cxn ang="0">
                  <a:pos x="283" y="69"/>
                </a:cxn>
                <a:cxn ang="0">
                  <a:pos x="264" y="49"/>
                </a:cxn>
                <a:cxn ang="0">
                  <a:pos x="235" y="49"/>
                </a:cxn>
                <a:cxn ang="0">
                  <a:pos x="264" y="30"/>
                </a:cxn>
                <a:cxn ang="0">
                  <a:pos x="283" y="20"/>
                </a:cxn>
                <a:cxn ang="0">
                  <a:pos x="313" y="39"/>
                </a:cxn>
                <a:cxn ang="0">
                  <a:pos x="322" y="10"/>
                </a:cxn>
                <a:cxn ang="0">
                  <a:pos x="342" y="30"/>
                </a:cxn>
                <a:cxn ang="0">
                  <a:pos x="371" y="39"/>
                </a:cxn>
                <a:cxn ang="0">
                  <a:pos x="391" y="78"/>
                </a:cxn>
                <a:cxn ang="0">
                  <a:pos x="391" y="98"/>
                </a:cxn>
                <a:cxn ang="0">
                  <a:pos x="381" y="147"/>
                </a:cxn>
                <a:cxn ang="0">
                  <a:pos x="391" y="176"/>
                </a:cxn>
                <a:cxn ang="0">
                  <a:pos x="430" y="196"/>
                </a:cxn>
                <a:cxn ang="0">
                  <a:pos x="430" y="205"/>
                </a:cxn>
                <a:cxn ang="0">
                  <a:pos x="391" y="196"/>
                </a:cxn>
                <a:cxn ang="0">
                  <a:pos x="371" y="244"/>
                </a:cxn>
                <a:cxn ang="0">
                  <a:pos x="381" y="283"/>
                </a:cxn>
                <a:cxn ang="0">
                  <a:pos x="342" y="283"/>
                </a:cxn>
                <a:cxn ang="0">
                  <a:pos x="322" y="283"/>
                </a:cxn>
                <a:cxn ang="0">
                  <a:pos x="313" y="293"/>
                </a:cxn>
                <a:cxn ang="0">
                  <a:pos x="313" y="332"/>
                </a:cxn>
                <a:cxn ang="0">
                  <a:pos x="274" y="352"/>
                </a:cxn>
                <a:cxn ang="0">
                  <a:pos x="293" y="381"/>
                </a:cxn>
                <a:cxn ang="0">
                  <a:pos x="283" y="410"/>
                </a:cxn>
                <a:cxn ang="0">
                  <a:pos x="254" y="420"/>
                </a:cxn>
                <a:cxn ang="0">
                  <a:pos x="215" y="430"/>
                </a:cxn>
                <a:cxn ang="0">
                  <a:pos x="196" y="420"/>
                </a:cxn>
                <a:cxn ang="0">
                  <a:pos x="205" y="410"/>
                </a:cxn>
                <a:cxn ang="0">
                  <a:pos x="186" y="400"/>
                </a:cxn>
                <a:cxn ang="0">
                  <a:pos x="137" y="332"/>
                </a:cxn>
              </a:cxnLst>
              <a:rect l="0" t="0" r="r" b="b"/>
              <a:pathLst>
                <a:path w="430" h="430">
                  <a:moveTo>
                    <a:pt x="137" y="332"/>
                  </a:moveTo>
                  <a:lnTo>
                    <a:pt x="157" y="313"/>
                  </a:lnTo>
                  <a:lnTo>
                    <a:pt x="157" y="303"/>
                  </a:lnTo>
                  <a:lnTo>
                    <a:pt x="137" y="274"/>
                  </a:lnTo>
                  <a:lnTo>
                    <a:pt x="117" y="225"/>
                  </a:lnTo>
                  <a:lnTo>
                    <a:pt x="108" y="196"/>
                  </a:lnTo>
                  <a:lnTo>
                    <a:pt x="117" y="176"/>
                  </a:lnTo>
                  <a:lnTo>
                    <a:pt x="117" y="157"/>
                  </a:lnTo>
                  <a:lnTo>
                    <a:pt x="117" y="147"/>
                  </a:lnTo>
                  <a:lnTo>
                    <a:pt x="98" y="137"/>
                  </a:lnTo>
                  <a:lnTo>
                    <a:pt x="98" y="117"/>
                  </a:lnTo>
                  <a:lnTo>
                    <a:pt x="98" y="98"/>
                  </a:lnTo>
                  <a:lnTo>
                    <a:pt x="88" y="78"/>
                  </a:lnTo>
                  <a:lnTo>
                    <a:pt x="69" y="78"/>
                  </a:lnTo>
                  <a:lnTo>
                    <a:pt x="49" y="78"/>
                  </a:lnTo>
                  <a:lnTo>
                    <a:pt x="39" y="69"/>
                  </a:lnTo>
                  <a:lnTo>
                    <a:pt x="49" y="59"/>
                  </a:lnTo>
                  <a:lnTo>
                    <a:pt x="39" y="49"/>
                  </a:lnTo>
                  <a:lnTo>
                    <a:pt x="30" y="59"/>
                  </a:lnTo>
                  <a:lnTo>
                    <a:pt x="20" y="59"/>
                  </a:lnTo>
                  <a:lnTo>
                    <a:pt x="10" y="39"/>
                  </a:lnTo>
                  <a:lnTo>
                    <a:pt x="0" y="30"/>
                  </a:lnTo>
                  <a:lnTo>
                    <a:pt x="20" y="10"/>
                  </a:lnTo>
                  <a:lnTo>
                    <a:pt x="30" y="10"/>
                  </a:lnTo>
                  <a:lnTo>
                    <a:pt x="59" y="20"/>
                  </a:lnTo>
                  <a:lnTo>
                    <a:pt x="69" y="3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88" y="30"/>
                  </a:lnTo>
                  <a:lnTo>
                    <a:pt x="88" y="39"/>
                  </a:lnTo>
                  <a:lnTo>
                    <a:pt x="108" y="49"/>
                  </a:lnTo>
                  <a:lnTo>
                    <a:pt x="108" y="69"/>
                  </a:lnTo>
                  <a:lnTo>
                    <a:pt x="117" y="98"/>
                  </a:lnTo>
                  <a:lnTo>
                    <a:pt x="117" y="117"/>
                  </a:lnTo>
                  <a:lnTo>
                    <a:pt x="157" y="117"/>
                  </a:lnTo>
                  <a:lnTo>
                    <a:pt x="157" y="137"/>
                  </a:lnTo>
                  <a:lnTo>
                    <a:pt x="166" y="137"/>
                  </a:lnTo>
                  <a:lnTo>
                    <a:pt x="186" y="117"/>
                  </a:lnTo>
                  <a:lnTo>
                    <a:pt x="176" y="108"/>
                  </a:lnTo>
                  <a:lnTo>
                    <a:pt x="196" y="98"/>
                  </a:lnTo>
                  <a:lnTo>
                    <a:pt x="215" y="108"/>
                  </a:lnTo>
                  <a:lnTo>
                    <a:pt x="235" y="98"/>
                  </a:lnTo>
                  <a:lnTo>
                    <a:pt x="264" y="88"/>
                  </a:lnTo>
                  <a:lnTo>
                    <a:pt x="283" y="69"/>
                  </a:lnTo>
                  <a:lnTo>
                    <a:pt x="274" y="59"/>
                  </a:lnTo>
                  <a:lnTo>
                    <a:pt x="264" y="49"/>
                  </a:lnTo>
                  <a:lnTo>
                    <a:pt x="244" y="59"/>
                  </a:lnTo>
                  <a:lnTo>
                    <a:pt x="235" y="49"/>
                  </a:lnTo>
                  <a:lnTo>
                    <a:pt x="244" y="39"/>
                  </a:lnTo>
                  <a:lnTo>
                    <a:pt x="264" y="30"/>
                  </a:lnTo>
                  <a:lnTo>
                    <a:pt x="264" y="10"/>
                  </a:lnTo>
                  <a:lnTo>
                    <a:pt x="283" y="20"/>
                  </a:lnTo>
                  <a:lnTo>
                    <a:pt x="303" y="30"/>
                  </a:lnTo>
                  <a:lnTo>
                    <a:pt x="313" y="39"/>
                  </a:lnTo>
                  <a:lnTo>
                    <a:pt x="322" y="30"/>
                  </a:lnTo>
                  <a:lnTo>
                    <a:pt x="322" y="10"/>
                  </a:lnTo>
                  <a:lnTo>
                    <a:pt x="342" y="10"/>
                  </a:lnTo>
                  <a:lnTo>
                    <a:pt x="342" y="30"/>
                  </a:lnTo>
                  <a:lnTo>
                    <a:pt x="352" y="39"/>
                  </a:lnTo>
                  <a:lnTo>
                    <a:pt x="371" y="39"/>
                  </a:lnTo>
                  <a:lnTo>
                    <a:pt x="371" y="59"/>
                  </a:lnTo>
                  <a:lnTo>
                    <a:pt x="391" y="78"/>
                  </a:lnTo>
                  <a:lnTo>
                    <a:pt x="381" y="88"/>
                  </a:lnTo>
                  <a:lnTo>
                    <a:pt x="391" y="98"/>
                  </a:lnTo>
                  <a:lnTo>
                    <a:pt x="381" y="117"/>
                  </a:lnTo>
                  <a:lnTo>
                    <a:pt x="381" y="147"/>
                  </a:lnTo>
                  <a:lnTo>
                    <a:pt x="381" y="166"/>
                  </a:lnTo>
                  <a:lnTo>
                    <a:pt x="391" y="176"/>
                  </a:lnTo>
                  <a:lnTo>
                    <a:pt x="410" y="176"/>
                  </a:lnTo>
                  <a:lnTo>
                    <a:pt x="430" y="196"/>
                  </a:lnTo>
                  <a:lnTo>
                    <a:pt x="430" y="205"/>
                  </a:lnTo>
                  <a:lnTo>
                    <a:pt x="410" y="196"/>
                  </a:lnTo>
                  <a:lnTo>
                    <a:pt x="391" y="196"/>
                  </a:lnTo>
                  <a:lnTo>
                    <a:pt x="381" y="225"/>
                  </a:lnTo>
                  <a:lnTo>
                    <a:pt x="371" y="244"/>
                  </a:lnTo>
                  <a:lnTo>
                    <a:pt x="371" y="264"/>
                  </a:lnTo>
                  <a:lnTo>
                    <a:pt x="381" y="283"/>
                  </a:lnTo>
                  <a:lnTo>
                    <a:pt x="361" y="283"/>
                  </a:lnTo>
                  <a:lnTo>
                    <a:pt x="342" y="283"/>
                  </a:lnTo>
                  <a:lnTo>
                    <a:pt x="332" y="293"/>
                  </a:lnTo>
                  <a:lnTo>
                    <a:pt x="322" y="283"/>
                  </a:lnTo>
                  <a:lnTo>
                    <a:pt x="303" y="283"/>
                  </a:lnTo>
                  <a:lnTo>
                    <a:pt x="313" y="293"/>
                  </a:lnTo>
                  <a:lnTo>
                    <a:pt x="303" y="313"/>
                  </a:lnTo>
                  <a:lnTo>
                    <a:pt x="313" y="332"/>
                  </a:lnTo>
                  <a:lnTo>
                    <a:pt x="293" y="342"/>
                  </a:lnTo>
                  <a:lnTo>
                    <a:pt x="274" y="352"/>
                  </a:lnTo>
                  <a:lnTo>
                    <a:pt x="274" y="371"/>
                  </a:lnTo>
                  <a:lnTo>
                    <a:pt x="293" y="381"/>
                  </a:lnTo>
                  <a:lnTo>
                    <a:pt x="293" y="400"/>
                  </a:lnTo>
                  <a:lnTo>
                    <a:pt x="283" y="410"/>
                  </a:lnTo>
                  <a:lnTo>
                    <a:pt x="274" y="420"/>
                  </a:lnTo>
                  <a:lnTo>
                    <a:pt x="254" y="420"/>
                  </a:lnTo>
                  <a:lnTo>
                    <a:pt x="235" y="430"/>
                  </a:lnTo>
                  <a:lnTo>
                    <a:pt x="215" y="430"/>
                  </a:lnTo>
                  <a:lnTo>
                    <a:pt x="215" y="420"/>
                  </a:lnTo>
                  <a:lnTo>
                    <a:pt x="196" y="420"/>
                  </a:lnTo>
                  <a:lnTo>
                    <a:pt x="205" y="410"/>
                  </a:lnTo>
                  <a:lnTo>
                    <a:pt x="196" y="391"/>
                  </a:lnTo>
                  <a:lnTo>
                    <a:pt x="186" y="400"/>
                  </a:lnTo>
                  <a:lnTo>
                    <a:pt x="166" y="352"/>
                  </a:lnTo>
                  <a:lnTo>
                    <a:pt x="137" y="33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0" name="Freeform 151"/>
            <p:cNvSpPr>
              <a:spLocks/>
            </p:cNvSpPr>
            <p:nvPr/>
          </p:nvSpPr>
          <p:spPr bwMode="auto">
            <a:xfrm>
              <a:off x="1329" y="2783"/>
              <a:ext cx="242" cy="407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7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34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5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7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39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292"/>
                  </a:lnTo>
                  <a:lnTo>
                    <a:pt x="234" y="253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34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39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5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29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71" name="Group 148"/>
            <p:cNvGrpSpPr>
              <a:grpSpLocks/>
            </p:cNvGrpSpPr>
            <p:nvPr/>
          </p:nvGrpSpPr>
          <p:grpSpPr bwMode="auto">
            <a:xfrm>
              <a:off x="1327" y="2781"/>
              <a:ext cx="243" cy="409"/>
              <a:chOff x="1327" y="2781"/>
              <a:chExt cx="243" cy="409"/>
            </a:xfrm>
          </p:grpSpPr>
          <p:sp>
            <p:nvSpPr>
              <p:cNvPr id="704" name="Freeform 150"/>
              <p:cNvSpPr>
                <a:spLocks/>
              </p:cNvSpPr>
              <p:nvPr/>
            </p:nvSpPr>
            <p:spPr bwMode="auto">
              <a:xfrm>
                <a:off x="1329" y="2781"/>
                <a:ext cx="242" cy="409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5" name="Freeform 149"/>
              <p:cNvSpPr>
                <a:spLocks/>
              </p:cNvSpPr>
              <p:nvPr/>
            </p:nvSpPr>
            <p:spPr bwMode="auto">
              <a:xfrm>
                <a:off x="1329" y="2781"/>
                <a:ext cx="237" cy="409"/>
              </a:xfrm>
              <a:custGeom>
                <a:avLst/>
                <a:gdLst/>
                <a:ahLst/>
                <a:cxnLst>
                  <a:cxn ang="0">
                    <a:pos x="39" y="351"/>
                  </a:cxn>
                  <a:cxn ang="0">
                    <a:pos x="48" y="361"/>
                  </a:cxn>
                  <a:cxn ang="0">
                    <a:pos x="68" y="380"/>
                  </a:cxn>
                  <a:cxn ang="0">
                    <a:pos x="87" y="390"/>
                  </a:cxn>
                  <a:cxn ang="0">
                    <a:pos x="117" y="390"/>
                  </a:cxn>
                  <a:cxn ang="0">
                    <a:pos x="136" y="400"/>
                  </a:cxn>
                  <a:cxn ang="0">
                    <a:pos x="146" y="400"/>
                  </a:cxn>
                  <a:cxn ang="0">
                    <a:pos x="185" y="400"/>
                  </a:cxn>
                  <a:cxn ang="0">
                    <a:pos x="195" y="380"/>
                  </a:cxn>
                  <a:cxn ang="0">
                    <a:pos x="165" y="351"/>
                  </a:cxn>
                  <a:cxn ang="0">
                    <a:pos x="175" y="331"/>
                  </a:cxn>
                  <a:cxn ang="0">
                    <a:pos x="185" y="341"/>
                  </a:cxn>
                  <a:cxn ang="0">
                    <a:pos x="204" y="351"/>
                  </a:cxn>
                  <a:cxn ang="0">
                    <a:pos x="224" y="322"/>
                  </a:cxn>
                  <a:cxn ang="0">
                    <a:pos x="234" y="253"/>
                  </a:cxn>
                  <a:cxn ang="0">
                    <a:pos x="234" y="224"/>
                  </a:cxn>
                  <a:cxn ang="0">
                    <a:pos x="214" y="185"/>
                  </a:cxn>
                  <a:cxn ang="0">
                    <a:pos x="195" y="185"/>
                  </a:cxn>
                  <a:cxn ang="0">
                    <a:pos x="195" y="166"/>
                  </a:cxn>
                  <a:cxn ang="0">
                    <a:pos x="214" y="146"/>
                  </a:cxn>
                  <a:cxn ang="0">
                    <a:pos x="224" y="117"/>
                  </a:cxn>
                  <a:cxn ang="0">
                    <a:pos x="214" y="78"/>
                  </a:cxn>
                  <a:cxn ang="0">
                    <a:pos x="243" y="68"/>
                  </a:cxn>
                  <a:cxn ang="0">
                    <a:pos x="234" y="48"/>
                  </a:cxn>
                  <a:cxn ang="0">
                    <a:pos x="185" y="29"/>
                  </a:cxn>
                  <a:cxn ang="0">
                    <a:pos x="146" y="9"/>
                  </a:cxn>
                  <a:cxn ang="0">
                    <a:pos x="136" y="9"/>
                  </a:cxn>
                  <a:cxn ang="0">
                    <a:pos x="117" y="0"/>
                  </a:cxn>
                  <a:cxn ang="0">
                    <a:pos x="107" y="58"/>
                  </a:cxn>
                  <a:cxn ang="0">
                    <a:pos x="107" y="87"/>
                  </a:cxn>
                  <a:cxn ang="0">
                    <a:pos x="107" y="136"/>
                  </a:cxn>
                  <a:cxn ang="0">
                    <a:pos x="136" y="146"/>
                  </a:cxn>
                  <a:cxn ang="0">
                    <a:pos x="156" y="175"/>
                  </a:cxn>
                  <a:cxn ang="0">
                    <a:pos x="136" y="166"/>
                  </a:cxn>
                  <a:cxn ang="0">
                    <a:pos x="107" y="185"/>
                  </a:cxn>
                  <a:cxn ang="0">
                    <a:pos x="97" y="234"/>
                  </a:cxn>
                  <a:cxn ang="0">
                    <a:pos x="87" y="253"/>
                  </a:cxn>
                  <a:cxn ang="0">
                    <a:pos x="58" y="263"/>
                  </a:cxn>
                  <a:cxn ang="0">
                    <a:pos x="29" y="244"/>
                  </a:cxn>
                  <a:cxn ang="0">
                    <a:pos x="29" y="283"/>
                  </a:cxn>
                  <a:cxn ang="0">
                    <a:pos x="19" y="312"/>
                  </a:cxn>
                  <a:cxn ang="0">
                    <a:pos x="0" y="341"/>
                  </a:cxn>
                  <a:cxn ang="0">
                    <a:pos x="19" y="370"/>
                  </a:cxn>
                </a:cxnLst>
                <a:rect l="0" t="0" r="r" b="b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72" name="Freeform 147"/>
            <p:cNvSpPr>
              <a:spLocks/>
            </p:cNvSpPr>
            <p:nvPr/>
          </p:nvSpPr>
          <p:spPr bwMode="auto">
            <a:xfrm>
              <a:off x="1483" y="1150"/>
              <a:ext cx="293" cy="383"/>
            </a:xfrm>
            <a:custGeom>
              <a:avLst/>
              <a:gdLst/>
              <a:ahLst/>
              <a:cxnLst>
                <a:cxn ang="0">
                  <a:pos x="107" y="352"/>
                </a:cxn>
                <a:cxn ang="0">
                  <a:pos x="78" y="371"/>
                </a:cxn>
                <a:cxn ang="0">
                  <a:pos x="48" y="361"/>
                </a:cxn>
                <a:cxn ang="0">
                  <a:pos x="29" y="352"/>
                </a:cxn>
                <a:cxn ang="0">
                  <a:pos x="39" y="322"/>
                </a:cxn>
                <a:cxn ang="0">
                  <a:pos x="19" y="293"/>
                </a:cxn>
                <a:cxn ang="0">
                  <a:pos x="0" y="273"/>
                </a:cxn>
                <a:cxn ang="0">
                  <a:pos x="19" y="254"/>
                </a:cxn>
                <a:cxn ang="0">
                  <a:pos x="9" y="234"/>
                </a:cxn>
                <a:cxn ang="0">
                  <a:pos x="0" y="215"/>
                </a:cxn>
                <a:cxn ang="0">
                  <a:pos x="0" y="195"/>
                </a:cxn>
                <a:cxn ang="0">
                  <a:pos x="0" y="176"/>
                </a:cxn>
                <a:cxn ang="0">
                  <a:pos x="29" y="166"/>
                </a:cxn>
                <a:cxn ang="0">
                  <a:pos x="39" y="147"/>
                </a:cxn>
                <a:cxn ang="0">
                  <a:pos x="58" y="127"/>
                </a:cxn>
                <a:cxn ang="0">
                  <a:pos x="58" y="108"/>
                </a:cxn>
                <a:cxn ang="0">
                  <a:pos x="78" y="98"/>
                </a:cxn>
                <a:cxn ang="0">
                  <a:pos x="107" y="88"/>
                </a:cxn>
                <a:cxn ang="0">
                  <a:pos x="126" y="59"/>
                </a:cxn>
                <a:cxn ang="0">
                  <a:pos x="146" y="49"/>
                </a:cxn>
                <a:cxn ang="0">
                  <a:pos x="185" y="49"/>
                </a:cxn>
                <a:cxn ang="0">
                  <a:pos x="195" y="39"/>
                </a:cxn>
                <a:cxn ang="0">
                  <a:pos x="224" y="30"/>
                </a:cxn>
                <a:cxn ang="0">
                  <a:pos x="253" y="10"/>
                </a:cxn>
                <a:cxn ang="0">
                  <a:pos x="283" y="0"/>
                </a:cxn>
                <a:cxn ang="0">
                  <a:pos x="292" y="10"/>
                </a:cxn>
                <a:cxn ang="0">
                  <a:pos x="292" y="30"/>
                </a:cxn>
                <a:cxn ang="0">
                  <a:pos x="292" y="69"/>
                </a:cxn>
                <a:cxn ang="0">
                  <a:pos x="283" y="98"/>
                </a:cxn>
                <a:cxn ang="0">
                  <a:pos x="283" y="117"/>
                </a:cxn>
                <a:cxn ang="0">
                  <a:pos x="263" y="127"/>
                </a:cxn>
                <a:cxn ang="0">
                  <a:pos x="243" y="127"/>
                </a:cxn>
                <a:cxn ang="0">
                  <a:pos x="253" y="176"/>
                </a:cxn>
                <a:cxn ang="0">
                  <a:pos x="224" y="215"/>
                </a:cxn>
                <a:cxn ang="0">
                  <a:pos x="195" y="215"/>
                </a:cxn>
                <a:cxn ang="0">
                  <a:pos x="185" y="244"/>
                </a:cxn>
                <a:cxn ang="0">
                  <a:pos x="165" y="264"/>
                </a:cxn>
                <a:cxn ang="0">
                  <a:pos x="156" y="283"/>
                </a:cxn>
                <a:cxn ang="0">
                  <a:pos x="136" y="293"/>
                </a:cxn>
                <a:cxn ang="0">
                  <a:pos x="136" y="313"/>
                </a:cxn>
                <a:cxn ang="0">
                  <a:pos x="117" y="332"/>
                </a:cxn>
              </a:cxnLst>
              <a:rect l="0" t="0" r="r" b="b"/>
              <a:pathLst>
                <a:path w="292" h="381">
                  <a:moveTo>
                    <a:pt x="117" y="332"/>
                  </a:moveTo>
                  <a:lnTo>
                    <a:pt x="107" y="352"/>
                  </a:lnTo>
                  <a:lnTo>
                    <a:pt x="97" y="361"/>
                  </a:lnTo>
                  <a:lnTo>
                    <a:pt x="78" y="371"/>
                  </a:lnTo>
                  <a:lnTo>
                    <a:pt x="48" y="381"/>
                  </a:lnTo>
                  <a:lnTo>
                    <a:pt x="48" y="361"/>
                  </a:lnTo>
                  <a:lnTo>
                    <a:pt x="39" y="352"/>
                  </a:lnTo>
                  <a:lnTo>
                    <a:pt x="29" y="352"/>
                  </a:lnTo>
                  <a:lnTo>
                    <a:pt x="29" y="342"/>
                  </a:lnTo>
                  <a:lnTo>
                    <a:pt x="39" y="322"/>
                  </a:lnTo>
                  <a:lnTo>
                    <a:pt x="39" y="303"/>
                  </a:lnTo>
                  <a:lnTo>
                    <a:pt x="19" y="293"/>
                  </a:lnTo>
                  <a:lnTo>
                    <a:pt x="9" y="283"/>
                  </a:lnTo>
                  <a:lnTo>
                    <a:pt x="0" y="273"/>
                  </a:lnTo>
                  <a:lnTo>
                    <a:pt x="9" y="264"/>
                  </a:lnTo>
                  <a:lnTo>
                    <a:pt x="19" y="254"/>
                  </a:lnTo>
                  <a:lnTo>
                    <a:pt x="19" y="244"/>
                  </a:lnTo>
                  <a:lnTo>
                    <a:pt x="9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9" y="19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0" y="176"/>
                  </a:lnTo>
                  <a:lnTo>
                    <a:pt x="9" y="166"/>
                  </a:lnTo>
                  <a:lnTo>
                    <a:pt x="29" y="166"/>
                  </a:lnTo>
                  <a:lnTo>
                    <a:pt x="39" y="156"/>
                  </a:lnTo>
                  <a:lnTo>
                    <a:pt x="39" y="14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58" y="117"/>
                  </a:lnTo>
                  <a:lnTo>
                    <a:pt x="58" y="108"/>
                  </a:lnTo>
                  <a:lnTo>
                    <a:pt x="68" y="98"/>
                  </a:lnTo>
                  <a:lnTo>
                    <a:pt x="78" y="98"/>
                  </a:lnTo>
                  <a:lnTo>
                    <a:pt x="97" y="98"/>
                  </a:lnTo>
                  <a:lnTo>
                    <a:pt x="107" y="88"/>
                  </a:lnTo>
                  <a:lnTo>
                    <a:pt x="117" y="69"/>
                  </a:lnTo>
                  <a:lnTo>
                    <a:pt x="126" y="59"/>
                  </a:lnTo>
                  <a:lnTo>
                    <a:pt x="136" y="49"/>
                  </a:lnTo>
                  <a:lnTo>
                    <a:pt x="146" y="49"/>
                  </a:lnTo>
                  <a:lnTo>
                    <a:pt x="165" y="59"/>
                  </a:lnTo>
                  <a:lnTo>
                    <a:pt x="185" y="49"/>
                  </a:lnTo>
                  <a:lnTo>
                    <a:pt x="195" y="39"/>
                  </a:lnTo>
                  <a:lnTo>
                    <a:pt x="204" y="30"/>
                  </a:lnTo>
                  <a:lnTo>
                    <a:pt x="224" y="30"/>
                  </a:lnTo>
                  <a:lnTo>
                    <a:pt x="234" y="20"/>
                  </a:lnTo>
                  <a:lnTo>
                    <a:pt x="253" y="10"/>
                  </a:lnTo>
                  <a:lnTo>
                    <a:pt x="273" y="10"/>
                  </a:lnTo>
                  <a:lnTo>
                    <a:pt x="283" y="0"/>
                  </a:lnTo>
                  <a:lnTo>
                    <a:pt x="292" y="10"/>
                  </a:lnTo>
                  <a:lnTo>
                    <a:pt x="283" y="30"/>
                  </a:lnTo>
                  <a:lnTo>
                    <a:pt x="292" y="30"/>
                  </a:lnTo>
                  <a:lnTo>
                    <a:pt x="292" y="49"/>
                  </a:lnTo>
                  <a:lnTo>
                    <a:pt x="292" y="69"/>
                  </a:lnTo>
                  <a:lnTo>
                    <a:pt x="283" y="78"/>
                  </a:lnTo>
                  <a:lnTo>
                    <a:pt x="283" y="98"/>
                  </a:lnTo>
                  <a:lnTo>
                    <a:pt x="283" y="108"/>
                  </a:lnTo>
                  <a:lnTo>
                    <a:pt x="283" y="117"/>
                  </a:lnTo>
                  <a:lnTo>
                    <a:pt x="283" y="127"/>
                  </a:lnTo>
                  <a:lnTo>
                    <a:pt x="263" y="127"/>
                  </a:lnTo>
                  <a:lnTo>
                    <a:pt x="263" y="117"/>
                  </a:lnTo>
                  <a:lnTo>
                    <a:pt x="243" y="127"/>
                  </a:lnTo>
                  <a:lnTo>
                    <a:pt x="243" y="166"/>
                  </a:lnTo>
                  <a:lnTo>
                    <a:pt x="253" y="176"/>
                  </a:lnTo>
                  <a:lnTo>
                    <a:pt x="224" y="195"/>
                  </a:lnTo>
                  <a:lnTo>
                    <a:pt x="224" y="215"/>
                  </a:lnTo>
                  <a:lnTo>
                    <a:pt x="195" y="215"/>
                  </a:lnTo>
                  <a:lnTo>
                    <a:pt x="204" y="234"/>
                  </a:lnTo>
                  <a:lnTo>
                    <a:pt x="185" y="244"/>
                  </a:lnTo>
                  <a:lnTo>
                    <a:pt x="165" y="254"/>
                  </a:lnTo>
                  <a:lnTo>
                    <a:pt x="165" y="264"/>
                  </a:lnTo>
                  <a:lnTo>
                    <a:pt x="175" y="283"/>
                  </a:lnTo>
                  <a:lnTo>
                    <a:pt x="156" y="283"/>
                  </a:lnTo>
                  <a:lnTo>
                    <a:pt x="146" y="283"/>
                  </a:lnTo>
                  <a:lnTo>
                    <a:pt x="136" y="293"/>
                  </a:lnTo>
                  <a:lnTo>
                    <a:pt x="136" y="303"/>
                  </a:lnTo>
                  <a:lnTo>
                    <a:pt x="136" y="313"/>
                  </a:lnTo>
                  <a:lnTo>
                    <a:pt x="126" y="322"/>
                  </a:lnTo>
                  <a:lnTo>
                    <a:pt x="117" y="33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3" name="Freeform 146"/>
            <p:cNvSpPr>
              <a:spLocks/>
            </p:cNvSpPr>
            <p:nvPr/>
          </p:nvSpPr>
          <p:spPr bwMode="auto">
            <a:xfrm>
              <a:off x="840" y="2995"/>
              <a:ext cx="174" cy="127"/>
            </a:xfrm>
            <a:custGeom>
              <a:avLst/>
              <a:gdLst/>
              <a:ahLst/>
              <a:cxnLst>
                <a:cxn ang="0">
                  <a:pos x="39" y="98"/>
                </a:cxn>
                <a:cxn ang="0">
                  <a:pos x="39" y="69"/>
                </a:cxn>
                <a:cxn ang="0">
                  <a:pos x="29" y="49"/>
                </a:cxn>
                <a:cxn ang="0">
                  <a:pos x="10" y="39"/>
                </a:cxn>
                <a:cxn ang="0">
                  <a:pos x="10" y="20"/>
                </a:cxn>
                <a:cxn ang="0">
                  <a:pos x="0" y="10"/>
                </a:cxn>
                <a:cxn ang="0">
                  <a:pos x="29" y="0"/>
                </a:cxn>
                <a:cxn ang="0">
                  <a:pos x="49" y="0"/>
                </a:cxn>
                <a:cxn ang="0">
                  <a:pos x="78" y="0"/>
                </a:cxn>
                <a:cxn ang="0">
                  <a:pos x="97" y="10"/>
                </a:cxn>
                <a:cxn ang="0">
                  <a:pos x="107" y="20"/>
                </a:cxn>
                <a:cxn ang="0">
                  <a:pos x="97" y="30"/>
                </a:cxn>
                <a:cxn ang="0">
                  <a:pos x="127" y="39"/>
                </a:cxn>
                <a:cxn ang="0">
                  <a:pos x="127" y="49"/>
                </a:cxn>
                <a:cxn ang="0">
                  <a:pos x="127" y="59"/>
                </a:cxn>
                <a:cxn ang="0">
                  <a:pos x="156" y="49"/>
                </a:cxn>
                <a:cxn ang="0">
                  <a:pos x="156" y="69"/>
                </a:cxn>
                <a:cxn ang="0">
                  <a:pos x="175" y="69"/>
                </a:cxn>
                <a:cxn ang="0">
                  <a:pos x="175" y="88"/>
                </a:cxn>
                <a:cxn ang="0">
                  <a:pos x="175" y="98"/>
                </a:cxn>
                <a:cxn ang="0">
                  <a:pos x="156" y="117"/>
                </a:cxn>
                <a:cxn ang="0">
                  <a:pos x="146" y="117"/>
                </a:cxn>
                <a:cxn ang="0">
                  <a:pos x="127" y="127"/>
                </a:cxn>
                <a:cxn ang="0">
                  <a:pos x="107" y="117"/>
                </a:cxn>
                <a:cxn ang="0">
                  <a:pos x="97" y="117"/>
                </a:cxn>
                <a:cxn ang="0">
                  <a:pos x="78" y="117"/>
                </a:cxn>
                <a:cxn ang="0">
                  <a:pos x="49" y="117"/>
                </a:cxn>
                <a:cxn ang="0">
                  <a:pos x="39" y="117"/>
                </a:cxn>
                <a:cxn ang="0">
                  <a:pos x="39" y="98"/>
                </a:cxn>
              </a:cxnLst>
              <a:rect l="0" t="0" r="r" b="b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4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1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49"/>
                  </a:lnTo>
                  <a:lnTo>
                    <a:pt x="156" y="69"/>
                  </a:lnTo>
                  <a:lnTo>
                    <a:pt x="175" y="69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17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17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70AD47">
                <a:lumMod val="20000"/>
                <a:lumOff val="80000"/>
              </a:srgb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74" name="Group 143"/>
            <p:cNvGrpSpPr>
              <a:grpSpLocks/>
            </p:cNvGrpSpPr>
            <p:nvPr/>
          </p:nvGrpSpPr>
          <p:grpSpPr bwMode="auto">
            <a:xfrm>
              <a:off x="839" y="2995"/>
              <a:ext cx="175" cy="127"/>
              <a:chOff x="839" y="2995"/>
              <a:chExt cx="175" cy="127"/>
            </a:xfrm>
          </p:grpSpPr>
          <p:sp>
            <p:nvSpPr>
              <p:cNvPr id="702" name="Freeform 145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3" name="Freeform 144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/>
                <a:ahLst/>
                <a:cxnLst>
                  <a:cxn ang="0">
                    <a:pos x="39" y="98"/>
                  </a:cxn>
                  <a:cxn ang="0">
                    <a:pos x="39" y="69"/>
                  </a:cxn>
                  <a:cxn ang="0">
                    <a:pos x="29" y="59"/>
                  </a:cxn>
                  <a:cxn ang="0">
                    <a:pos x="10" y="39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29" y="0"/>
                  </a:cxn>
                  <a:cxn ang="0">
                    <a:pos x="49" y="0"/>
                  </a:cxn>
                  <a:cxn ang="0">
                    <a:pos x="78" y="0"/>
                  </a:cxn>
                  <a:cxn ang="0">
                    <a:pos x="97" y="10"/>
                  </a:cxn>
                  <a:cxn ang="0">
                    <a:pos x="107" y="20"/>
                  </a:cxn>
                  <a:cxn ang="0">
                    <a:pos x="97" y="30"/>
                  </a:cxn>
                  <a:cxn ang="0">
                    <a:pos x="127" y="39"/>
                  </a:cxn>
                  <a:cxn ang="0">
                    <a:pos x="127" y="49"/>
                  </a:cxn>
                  <a:cxn ang="0">
                    <a:pos x="127" y="59"/>
                  </a:cxn>
                  <a:cxn ang="0">
                    <a:pos x="156" y="59"/>
                  </a:cxn>
                  <a:cxn ang="0">
                    <a:pos x="156" y="69"/>
                  </a:cxn>
                  <a:cxn ang="0">
                    <a:pos x="175" y="78"/>
                  </a:cxn>
                  <a:cxn ang="0">
                    <a:pos x="175" y="88"/>
                  </a:cxn>
                  <a:cxn ang="0">
                    <a:pos x="175" y="98"/>
                  </a:cxn>
                  <a:cxn ang="0">
                    <a:pos x="156" y="108"/>
                  </a:cxn>
                  <a:cxn ang="0">
                    <a:pos x="146" y="117"/>
                  </a:cxn>
                  <a:cxn ang="0">
                    <a:pos x="127" y="127"/>
                  </a:cxn>
                  <a:cxn ang="0">
                    <a:pos x="107" y="117"/>
                  </a:cxn>
                  <a:cxn ang="0">
                    <a:pos x="97" y="108"/>
                  </a:cxn>
                  <a:cxn ang="0">
                    <a:pos x="78" y="117"/>
                  </a:cxn>
                  <a:cxn ang="0">
                    <a:pos x="49" y="117"/>
                  </a:cxn>
                  <a:cxn ang="0">
                    <a:pos x="39" y="117"/>
                  </a:cxn>
                  <a:cxn ang="0">
                    <a:pos x="39" y="98"/>
                  </a:cxn>
                </a:cxnLst>
                <a:rect l="0" t="0" r="r" b="b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75" name="Freeform 142"/>
            <p:cNvSpPr>
              <a:spLocks/>
            </p:cNvSpPr>
            <p:nvPr/>
          </p:nvSpPr>
          <p:spPr bwMode="auto">
            <a:xfrm>
              <a:off x="879" y="3093"/>
              <a:ext cx="155" cy="106"/>
            </a:xfrm>
            <a:custGeom>
              <a:avLst/>
              <a:gdLst>
                <a:gd name="T0" fmla="*/ 146 w 156"/>
                <a:gd name="T1" fmla="*/ 29 h 107"/>
                <a:gd name="T2" fmla="*/ 14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2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2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29"/>
                  </a:moveTo>
                  <a:lnTo>
                    <a:pt x="146" y="39"/>
                  </a:ln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2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76" name="Group 139"/>
            <p:cNvGrpSpPr>
              <a:grpSpLocks/>
            </p:cNvGrpSpPr>
            <p:nvPr/>
          </p:nvGrpSpPr>
          <p:grpSpPr bwMode="auto">
            <a:xfrm>
              <a:off x="878" y="3093"/>
              <a:ext cx="156" cy="107"/>
              <a:chOff x="878" y="3093"/>
              <a:chExt cx="156" cy="107"/>
            </a:xfrm>
          </p:grpSpPr>
          <p:sp>
            <p:nvSpPr>
              <p:cNvPr id="700" name="Freeform 141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146 w 156"/>
                  <a:gd name="T65" fmla="*/ 39 h 1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6"/>
                  <a:gd name="T100" fmla="*/ 0 h 107"/>
                  <a:gd name="T101" fmla="*/ 156 w 156"/>
                  <a:gd name="T102" fmla="*/ 107 h 10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  <a:lnTo>
                      <a:pt x="146" y="39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1" name="Freeform 140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/>
                <a:ahLst/>
                <a:cxnLst>
                  <a:cxn ang="0">
                    <a:pos x="146" y="39"/>
                  </a:cxn>
                  <a:cxn ang="0">
                    <a:pos x="136" y="39"/>
                  </a:cxn>
                  <a:cxn ang="0">
                    <a:pos x="136" y="39"/>
                  </a:cxn>
                  <a:cxn ang="0">
                    <a:pos x="136" y="29"/>
                  </a:cxn>
                  <a:cxn ang="0">
                    <a:pos x="127" y="29"/>
                  </a:cxn>
                  <a:cxn ang="0">
                    <a:pos x="117" y="39"/>
                  </a:cxn>
                  <a:cxn ang="0">
                    <a:pos x="107" y="39"/>
                  </a:cxn>
                  <a:cxn ang="0">
                    <a:pos x="117" y="58"/>
                  </a:cxn>
                  <a:cxn ang="0">
                    <a:pos x="107" y="58"/>
                  </a:cxn>
                  <a:cxn ang="0">
                    <a:pos x="107" y="78"/>
                  </a:cxn>
                  <a:cxn ang="0">
                    <a:pos x="97" y="97"/>
                  </a:cxn>
                  <a:cxn ang="0">
                    <a:pos x="88" y="107"/>
                  </a:cxn>
                  <a:cxn ang="0">
                    <a:pos x="68" y="97"/>
                  </a:cxn>
                  <a:cxn ang="0">
                    <a:pos x="49" y="97"/>
                  </a:cxn>
                  <a:cxn ang="0">
                    <a:pos x="39" y="88"/>
                  </a:cxn>
                  <a:cxn ang="0">
                    <a:pos x="29" y="78"/>
                  </a:cxn>
                  <a:cxn ang="0">
                    <a:pos x="19" y="88"/>
                  </a:cxn>
                  <a:cxn ang="0">
                    <a:pos x="0" y="78"/>
                  </a:cxn>
                  <a:cxn ang="0">
                    <a:pos x="0" y="58"/>
                  </a:cxn>
                  <a:cxn ang="0">
                    <a:pos x="10" y="49"/>
                  </a:cxn>
                  <a:cxn ang="0">
                    <a:pos x="10" y="29"/>
                  </a:cxn>
                  <a:cxn ang="0">
                    <a:pos x="0" y="19"/>
                  </a:cxn>
                  <a:cxn ang="0">
                    <a:pos x="19" y="19"/>
                  </a:cxn>
                  <a:cxn ang="0">
                    <a:pos x="39" y="19"/>
                  </a:cxn>
                  <a:cxn ang="0">
                    <a:pos x="58" y="19"/>
                  </a:cxn>
                  <a:cxn ang="0">
                    <a:pos x="68" y="19"/>
                  </a:cxn>
                  <a:cxn ang="0">
                    <a:pos x="88" y="29"/>
                  </a:cxn>
                  <a:cxn ang="0">
                    <a:pos x="107" y="19"/>
                  </a:cxn>
                  <a:cxn ang="0">
                    <a:pos x="117" y="19"/>
                  </a:cxn>
                  <a:cxn ang="0">
                    <a:pos x="136" y="0"/>
                  </a:cxn>
                  <a:cxn ang="0">
                    <a:pos x="156" y="10"/>
                  </a:cxn>
                  <a:cxn ang="0">
                    <a:pos x="146" y="19"/>
                  </a:cxn>
                </a:cxnLst>
                <a:rect l="0" t="0" r="r" b="b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77" name="Freeform 138"/>
            <p:cNvSpPr>
              <a:spLocks/>
            </p:cNvSpPr>
            <p:nvPr/>
          </p:nvSpPr>
          <p:spPr bwMode="auto">
            <a:xfrm>
              <a:off x="937" y="3122"/>
              <a:ext cx="97" cy="118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3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107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3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107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78" name="Group 135"/>
            <p:cNvGrpSpPr>
              <a:grpSpLocks/>
            </p:cNvGrpSpPr>
            <p:nvPr/>
          </p:nvGrpSpPr>
          <p:grpSpPr bwMode="auto">
            <a:xfrm>
              <a:off x="936" y="3122"/>
              <a:ext cx="98" cy="117"/>
              <a:chOff x="936" y="3122"/>
              <a:chExt cx="98" cy="117"/>
            </a:xfrm>
          </p:grpSpPr>
          <p:sp>
            <p:nvSpPr>
              <p:cNvPr id="698" name="Freeform 137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  <a:close/>
                  </a:path>
                </a:pathLst>
              </a:custGeom>
              <a:solidFill>
                <a:srgbClr val="E4481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9" name="Freeform 136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/>
                <a:ahLst/>
                <a:cxnLst>
                  <a:cxn ang="0">
                    <a:pos x="30" y="117"/>
                  </a:cxn>
                  <a:cxn ang="0">
                    <a:pos x="59" y="107"/>
                  </a:cxn>
                  <a:cxn ang="0">
                    <a:pos x="78" y="78"/>
                  </a:cxn>
                  <a:cxn ang="0">
                    <a:pos x="98" y="49"/>
                  </a:cxn>
                  <a:cxn ang="0">
                    <a:pos x="98" y="20"/>
                  </a:cxn>
                  <a:cxn ang="0">
                    <a:pos x="88" y="0"/>
                  </a:cxn>
                  <a:cxn ang="0">
                    <a:pos x="88" y="10"/>
                  </a:cxn>
                  <a:cxn ang="0">
                    <a:pos x="78" y="10"/>
                  </a:cxn>
                  <a:cxn ang="0">
                    <a:pos x="78" y="0"/>
                  </a:cxn>
                  <a:cxn ang="0">
                    <a:pos x="69" y="0"/>
                  </a:cxn>
                  <a:cxn ang="0">
                    <a:pos x="59" y="0"/>
                  </a:cxn>
                  <a:cxn ang="0">
                    <a:pos x="49" y="10"/>
                  </a:cxn>
                  <a:cxn ang="0">
                    <a:pos x="59" y="20"/>
                  </a:cxn>
                  <a:cxn ang="0">
                    <a:pos x="49" y="29"/>
                  </a:cxn>
                  <a:cxn ang="0">
                    <a:pos x="49" y="49"/>
                  </a:cxn>
                  <a:cxn ang="0">
                    <a:pos x="49" y="68"/>
                  </a:cxn>
                  <a:cxn ang="0">
                    <a:pos x="30" y="78"/>
                  </a:cxn>
                  <a:cxn ang="0">
                    <a:pos x="10" y="68"/>
                  </a:cxn>
                  <a:cxn ang="0">
                    <a:pos x="0" y="78"/>
                  </a:cxn>
                  <a:cxn ang="0">
                    <a:pos x="10" y="88"/>
                  </a:cxn>
                  <a:cxn ang="0">
                    <a:pos x="30" y="98"/>
                  </a:cxn>
                  <a:cxn ang="0">
                    <a:pos x="30" y="117"/>
                  </a:cxn>
                </a:cxnLst>
                <a:rect l="0" t="0" r="r" b="b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79" name="Freeform 134"/>
            <p:cNvSpPr>
              <a:spLocks/>
            </p:cNvSpPr>
            <p:nvPr/>
          </p:nvSpPr>
          <p:spPr bwMode="auto">
            <a:xfrm>
              <a:off x="966" y="3122"/>
              <a:ext cx="174" cy="179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6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6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2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88 h 176"/>
                <a:gd name="T48" fmla="*/ 146 w 175"/>
                <a:gd name="T49" fmla="*/ 88 h 176"/>
                <a:gd name="T50" fmla="*/ 136 w 175"/>
                <a:gd name="T51" fmla="*/ 78 h 176"/>
                <a:gd name="T52" fmla="*/ 146 w 175"/>
                <a:gd name="T53" fmla="*/ 59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97 w 175"/>
                <a:gd name="T65" fmla="*/ 29 h 176"/>
                <a:gd name="T66" fmla="*/ 97 w 175"/>
                <a:gd name="T67" fmla="*/ 10 h 176"/>
                <a:gd name="T68" fmla="*/ 9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6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6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2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88"/>
                  </a:lnTo>
                  <a:lnTo>
                    <a:pt x="146" y="88"/>
                  </a:lnTo>
                  <a:lnTo>
                    <a:pt x="136" y="78"/>
                  </a:lnTo>
                  <a:lnTo>
                    <a:pt x="146" y="59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97" y="29"/>
                  </a:lnTo>
                  <a:lnTo>
                    <a:pt x="97" y="10"/>
                  </a:lnTo>
                  <a:lnTo>
                    <a:pt x="9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80" name="Group 131"/>
            <p:cNvGrpSpPr>
              <a:grpSpLocks/>
            </p:cNvGrpSpPr>
            <p:nvPr/>
          </p:nvGrpSpPr>
          <p:grpSpPr bwMode="auto">
            <a:xfrm>
              <a:off x="966" y="3122"/>
              <a:ext cx="175" cy="176"/>
              <a:chOff x="966" y="3122"/>
              <a:chExt cx="175" cy="176"/>
            </a:xfrm>
          </p:grpSpPr>
          <p:sp>
            <p:nvSpPr>
              <p:cNvPr id="696" name="Freeform 133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68 w 175"/>
                  <a:gd name="T71" fmla="*/ 20 h 17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75"/>
                  <a:gd name="T109" fmla="*/ 0 h 176"/>
                  <a:gd name="T110" fmla="*/ 175 w 175"/>
                  <a:gd name="T111" fmla="*/ 176 h 17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  <a:lnTo>
                      <a:pt x="68" y="20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7" name="Freeform 132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/>
                <a:ahLst/>
                <a:cxnLst>
                  <a:cxn ang="0">
                    <a:pos x="68" y="20"/>
                  </a:cxn>
                  <a:cxn ang="0">
                    <a:pos x="68" y="49"/>
                  </a:cxn>
                  <a:cxn ang="0">
                    <a:pos x="48" y="78"/>
                  </a:cxn>
                  <a:cxn ang="0">
                    <a:pos x="29" y="107"/>
                  </a:cxn>
                  <a:cxn ang="0">
                    <a:pos x="0" y="117"/>
                  </a:cxn>
                  <a:cxn ang="0">
                    <a:pos x="0" y="137"/>
                  </a:cxn>
                  <a:cxn ang="0">
                    <a:pos x="19" y="156"/>
                  </a:cxn>
                  <a:cxn ang="0">
                    <a:pos x="39" y="156"/>
                  </a:cxn>
                  <a:cxn ang="0">
                    <a:pos x="58" y="156"/>
                  </a:cxn>
                  <a:cxn ang="0">
                    <a:pos x="68" y="147"/>
                  </a:cxn>
                  <a:cxn ang="0">
                    <a:pos x="68" y="156"/>
                  </a:cxn>
                  <a:cxn ang="0">
                    <a:pos x="78" y="176"/>
                  </a:cxn>
                  <a:cxn ang="0">
                    <a:pos x="87" y="176"/>
                  </a:cxn>
                  <a:cxn ang="0">
                    <a:pos x="97" y="156"/>
                  </a:cxn>
                  <a:cxn ang="0">
                    <a:pos x="117" y="156"/>
                  </a:cxn>
                  <a:cxn ang="0">
                    <a:pos x="107" y="137"/>
                  </a:cxn>
                  <a:cxn ang="0">
                    <a:pos x="117" y="127"/>
                  </a:cxn>
                  <a:cxn ang="0">
                    <a:pos x="117" y="117"/>
                  </a:cxn>
                  <a:cxn ang="0">
                    <a:pos x="126" y="117"/>
                  </a:cxn>
                  <a:cxn ang="0">
                    <a:pos x="156" y="117"/>
                  </a:cxn>
                  <a:cxn ang="0">
                    <a:pos x="165" y="117"/>
                  </a:cxn>
                  <a:cxn ang="0">
                    <a:pos x="175" y="107"/>
                  </a:cxn>
                  <a:cxn ang="0">
                    <a:pos x="175" y="88"/>
                  </a:cxn>
                  <a:cxn ang="0">
                    <a:pos x="165" y="78"/>
                  </a:cxn>
                  <a:cxn ang="0">
                    <a:pos x="146" y="78"/>
                  </a:cxn>
                  <a:cxn ang="0">
                    <a:pos x="136" y="78"/>
                  </a:cxn>
                  <a:cxn ang="0">
                    <a:pos x="146" y="68"/>
                  </a:cxn>
                  <a:cxn ang="0">
                    <a:pos x="146" y="49"/>
                  </a:cxn>
                  <a:cxn ang="0">
                    <a:pos x="126" y="49"/>
                  </a:cxn>
                  <a:cxn ang="0">
                    <a:pos x="126" y="39"/>
                  </a:cxn>
                  <a:cxn ang="0">
                    <a:pos x="126" y="29"/>
                  </a:cxn>
                  <a:cxn ang="0">
                    <a:pos x="107" y="39"/>
                  </a:cxn>
                  <a:cxn ang="0">
                    <a:pos x="87" y="29"/>
                  </a:cxn>
                  <a:cxn ang="0">
                    <a:pos x="97" y="10"/>
                  </a:cxn>
                  <a:cxn ang="0">
                    <a:pos x="87" y="0"/>
                  </a:cxn>
                </a:cxnLst>
                <a:rect l="0" t="0" r="r" b="b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81" name="Freeform 130"/>
            <p:cNvSpPr>
              <a:spLocks/>
            </p:cNvSpPr>
            <p:nvPr/>
          </p:nvSpPr>
          <p:spPr bwMode="auto">
            <a:xfrm>
              <a:off x="959" y="3072"/>
              <a:ext cx="300" cy="440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1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82" name="Group 127"/>
            <p:cNvGrpSpPr>
              <a:grpSpLocks/>
            </p:cNvGrpSpPr>
            <p:nvPr/>
          </p:nvGrpSpPr>
          <p:grpSpPr bwMode="auto">
            <a:xfrm>
              <a:off x="956" y="3073"/>
              <a:ext cx="302" cy="439"/>
              <a:chOff x="956" y="3073"/>
              <a:chExt cx="302" cy="439"/>
            </a:xfrm>
          </p:grpSpPr>
          <p:sp>
            <p:nvSpPr>
              <p:cNvPr id="694" name="Freeform 129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88 w 302"/>
                  <a:gd name="T101" fmla="*/ 225 h 43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2"/>
                  <a:gd name="T154" fmla="*/ 0 h 439"/>
                  <a:gd name="T155" fmla="*/ 302 w 302"/>
                  <a:gd name="T156" fmla="*/ 439 h 43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  <a:lnTo>
                      <a:pt x="88" y="225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5" name="Freeform 128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/>
                <a:ahLst/>
                <a:cxnLst>
                  <a:cxn ang="0">
                    <a:pos x="97" y="225"/>
                  </a:cxn>
                  <a:cxn ang="0">
                    <a:pos x="127" y="205"/>
                  </a:cxn>
                  <a:cxn ang="0">
                    <a:pos x="127" y="176"/>
                  </a:cxn>
                  <a:cxn ang="0">
                    <a:pos x="146" y="176"/>
                  </a:cxn>
                  <a:cxn ang="0">
                    <a:pos x="175" y="166"/>
                  </a:cxn>
                  <a:cxn ang="0">
                    <a:pos x="185" y="137"/>
                  </a:cxn>
                  <a:cxn ang="0">
                    <a:pos x="156" y="137"/>
                  </a:cxn>
                  <a:cxn ang="0">
                    <a:pos x="156" y="117"/>
                  </a:cxn>
                  <a:cxn ang="0">
                    <a:pos x="146" y="98"/>
                  </a:cxn>
                  <a:cxn ang="0">
                    <a:pos x="156" y="59"/>
                  </a:cxn>
                  <a:cxn ang="0">
                    <a:pos x="127" y="39"/>
                  </a:cxn>
                  <a:cxn ang="0">
                    <a:pos x="156" y="49"/>
                  </a:cxn>
                  <a:cxn ang="0">
                    <a:pos x="166" y="20"/>
                  </a:cxn>
                  <a:cxn ang="0">
                    <a:pos x="175" y="10"/>
                  </a:cxn>
                  <a:cxn ang="0">
                    <a:pos x="214" y="20"/>
                  </a:cxn>
                  <a:cxn ang="0">
                    <a:pos x="234" y="0"/>
                  </a:cxn>
                  <a:cxn ang="0">
                    <a:pos x="283" y="78"/>
                  </a:cxn>
                  <a:cxn ang="0">
                    <a:pos x="302" y="78"/>
                  </a:cxn>
                  <a:cxn ang="0">
                    <a:pos x="293" y="98"/>
                  </a:cxn>
                  <a:cxn ang="0">
                    <a:pos x="273" y="108"/>
                  </a:cxn>
                  <a:cxn ang="0">
                    <a:pos x="254" y="117"/>
                  </a:cxn>
                  <a:cxn ang="0">
                    <a:pos x="263" y="137"/>
                  </a:cxn>
                  <a:cxn ang="0">
                    <a:pos x="254" y="156"/>
                  </a:cxn>
                  <a:cxn ang="0">
                    <a:pos x="254" y="176"/>
                  </a:cxn>
                  <a:cxn ang="0">
                    <a:pos x="244" y="215"/>
                  </a:cxn>
                  <a:cxn ang="0">
                    <a:pos x="224" y="225"/>
                  </a:cxn>
                  <a:cxn ang="0">
                    <a:pos x="224" y="235"/>
                  </a:cxn>
                  <a:cxn ang="0">
                    <a:pos x="254" y="215"/>
                  </a:cxn>
                  <a:cxn ang="0">
                    <a:pos x="244" y="235"/>
                  </a:cxn>
                  <a:cxn ang="0">
                    <a:pos x="214" y="244"/>
                  </a:cxn>
                  <a:cxn ang="0">
                    <a:pos x="205" y="254"/>
                  </a:cxn>
                  <a:cxn ang="0">
                    <a:pos x="205" y="274"/>
                  </a:cxn>
                  <a:cxn ang="0">
                    <a:pos x="185" y="274"/>
                  </a:cxn>
                  <a:cxn ang="0">
                    <a:pos x="175" y="303"/>
                  </a:cxn>
                  <a:cxn ang="0">
                    <a:pos x="166" y="322"/>
                  </a:cxn>
                  <a:cxn ang="0">
                    <a:pos x="166" y="361"/>
                  </a:cxn>
                  <a:cxn ang="0">
                    <a:pos x="156" y="410"/>
                  </a:cxn>
                  <a:cxn ang="0">
                    <a:pos x="136" y="439"/>
                  </a:cxn>
                  <a:cxn ang="0">
                    <a:pos x="88" y="439"/>
                  </a:cxn>
                  <a:cxn ang="0">
                    <a:pos x="58" y="439"/>
                  </a:cxn>
                  <a:cxn ang="0">
                    <a:pos x="29" y="420"/>
                  </a:cxn>
                  <a:cxn ang="0">
                    <a:pos x="29" y="391"/>
                  </a:cxn>
                  <a:cxn ang="0">
                    <a:pos x="29" y="371"/>
                  </a:cxn>
                  <a:cxn ang="0">
                    <a:pos x="29" y="332"/>
                  </a:cxn>
                  <a:cxn ang="0">
                    <a:pos x="19" y="313"/>
                  </a:cxn>
                  <a:cxn ang="0">
                    <a:pos x="10" y="274"/>
                  </a:cxn>
                  <a:cxn ang="0">
                    <a:pos x="0" y="235"/>
                  </a:cxn>
                  <a:cxn ang="0">
                    <a:pos x="19" y="215"/>
                  </a:cxn>
                  <a:cxn ang="0">
                    <a:pos x="49" y="215"/>
                  </a:cxn>
                  <a:cxn ang="0">
                    <a:pos x="78" y="196"/>
                  </a:cxn>
                </a:cxnLst>
                <a:rect l="0" t="0" r="r" b="b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83" name="Freeform 126"/>
            <p:cNvSpPr>
              <a:spLocks/>
            </p:cNvSpPr>
            <p:nvPr/>
          </p:nvSpPr>
          <p:spPr bwMode="auto">
            <a:xfrm>
              <a:off x="3171" y="2691"/>
              <a:ext cx="692" cy="529"/>
            </a:xfrm>
            <a:custGeom>
              <a:avLst/>
              <a:gdLst/>
              <a:ahLst/>
              <a:cxnLst>
                <a:cxn ang="0">
                  <a:pos x="263" y="517"/>
                </a:cxn>
                <a:cxn ang="0">
                  <a:pos x="283" y="497"/>
                </a:cxn>
                <a:cxn ang="0">
                  <a:pos x="293" y="468"/>
                </a:cxn>
                <a:cxn ang="0">
                  <a:pos x="312" y="449"/>
                </a:cxn>
                <a:cxn ang="0">
                  <a:pos x="322" y="449"/>
                </a:cxn>
                <a:cxn ang="0">
                  <a:pos x="332" y="429"/>
                </a:cxn>
                <a:cxn ang="0">
                  <a:pos x="342" y="429"/>
                </a:cxn>
                <a:cxn ang="0">
                  <a:pos x="342" y="410"/>
                </a:cxn>
                <a:cxn ang="0">
                  <a:pos x="361" y="400"/>
                </a:cxn>
                <a:cxn ang="0">
                  <a:pos x="361" y="390"/>
                </a:cxn>
                <a:cxn ang="0">
                  <a:pos x="400" y="390"/>
                </a:cxn>
                <a:cxn ang="0">
                  <a:pos x="410" y="371"/>
                </a:cxn>
                <a:cxn ang="0">
                  <a:pos x="390" y="312"/>
                </a:cxn>
                <a:cxn ang="0">
                  <a:pos x="351" y="293"/>
                </a:cxn>
                <a:cxn ang="0">
                  <a:pos x="381" y="293"/>
                </a:cxn>
                <a:cxn ang="0">
                  <a:pos x="390" y="283"/>
                </a:cxn>
                <a:cxn ang="0">
                  <a:pos x="390" y="234"/>
                </a:cxn>
                <a:cxn ang="0">
                  <a:pos x="439" y="185"/>
                </a:cxn>
                <a:cxn ang="0">
                  <a:pos x="449" y="215"/>
                </a:cxn>
                <a:cxn ang="0">
                  <a:pos x="449" y="244"/>
                </a:cxn>
                <a:cxn ang="0">
                  <a:pos x="468" y="254"/>
                </a:cxn>
                <a:cxn ang="0">
                  <a:pos x="507" y="293"/>
                </a:cxn>
                <a:cxn ang="0">
                  <a:pos x="546" y="293"/>
                </a:cxn>
                <a:cxn ang="0">
                  <a:pos x="595" y="302"/>
                </a:cxn>
                <a:cxn ang="0">
                  <a:pos x="624" y="312"/>
                </a:cxn>
                <a:cxn ang="0">
                  <a:pos x="654" y="293"/>
                </a:cxn>
                <a:cxn ang="0">
                  <a:pos x="683" y="283"/>
                </a:cxn>
                <a:cxn ang="0">
                  <a:pos x="663" y="263"/>
                </a:cxn>
                <a:cxn ang="0">
                  <a:pos x="624" y="234"/>
                </a:cxn>
                <a:cxn ang="0">
                  <a:pos x="585" y="205"/>
                </a:cxn>
                <a:cxn ang="0">
                  <a:pos x="585" y="175"/>
                </a:cxn>
                <a:cxn ang="0">
                  <a:pos x="566" y="166"/>
                </a:cxn>
                <a:cxn ang="0">
                  <a:pos x="566" y="136"/>
                </a:cxn>
                <a:cxn ang="0">
                  <a:pos x="537" y="68"/>
                </a:cxn>
                <a:cxn ang="0">
                  <a:pos x="498" y="39"/>
                </a:cxn>
                <a:cxn ang="0">
                  <a:pos x="468" y="19"/>
                </a:cxn>
                <a:cxn ang="0">
                  <a:pos x="449" y="0"/>
                </a:cxn>
                <a:cxn ang="0">
                  <a:pos x="420" y="0"/>
                </a:cxn>
                <a:cxn ang="0">
                  <a:pos x="410" y="19"/>
                </a:cxn>
                <a:cxn ang="0">
                  <a:pos x="361" y="29"/>
                </a:cxn>
                <a:cxn ang="0">
                  <a:pos x="332" y="49"/>
                </a:cxn>
                <a:cxn ang="0">
                  <a:pos x="303" y="49"/>
                </a:cxn>
                <a:cxn ang="0">
                  <a:pos x="263" y="39"/>
                </a:cxn>
                <a:cxn ang="0">
                  <a:pos x="234" y="39"/>
                </a:cxn>
                <a:cxn ang="0">
                  <a:pos x="215" y="68"/>
                </a:cxn>
                <a:cxn ang="0">
                  <a:pos x="176" y="58"/>
                </a:cxn>
                <a:cxn ang="0">
                  <a:pos x="166" y="117"/>
                </a:cxn>
                <a:cxn ang="0">
                  <a:pos x="107" y="117"/>
                </a:cxn>
                <a:cxn ang="0">
                  <a:pos x="49" y="146"/>
                </a:cxn>
                <a:cxn ang="0">
                  <a:pos x="49" y="185"/>
                </a:cxn>
                <a:cxn ang="0">
                  <a:pos x="0" y="224"/>
                </a:cxn>
                <a:cxn ang="0">
                  <a:pos x="10" y="263"/>
                </a:cxn>
                <a:cxn ang="0">
                  <a:pos x="29" y="312"/>
                </a:cxn>
                <a:cxn ang="0">
                  <a:pos x="78" y="341"/>
                </a:cxn>
                <a:cxn ang="0">
                  <a:pos x="88" y="380"/>
                </a:cxn>
                <a:cxn ang="0">
                  <a:pos x="127" y="410"/>
                </a:cxn>
                <a:cxn ang="0">
                  <a:pos x="146" y="419"/>
                </a:cxn>
                <a:cxn ang="0">
                  <a:pos x="166" y="468"/>
                </a:cxn>
                <a:cxn ang="0">
                  <a:pos x="195" y="468"/>
                </a:cxn>
                <a:cxn ang="0">
                  <a:pos x="205" y="478"/>
                </a:cxn>
                <a:cxn ang="0">
                  <a:pos x="234" y="517"/>
                </a:cxn>
                <a:cxn ang="0">
                  <a:pos x="254" y="517"/>
                </a:cxn>
              </a:cxnLst>
              <a:rect l="0" t="0" r="r" b="b"/>
              <a:pathLst>
                <a:path w="693" h="527">
                  <a:moveTo>
                    <a:pt x="263" y="517"/>
                  </a:moveTo>
                  <a:lnTo>
                    <a:pt x="263" y="517"/>
                  </a:lnTo>
                  <a:lnTo>
                    <a:pt x="263" y="497"/>
                  </a:lnTo>
                  <a:lnTo>
                    <a:pt x="283" y="497"/>
                  </a:lnTo>
                  <a:lnTo>
                    <a:pt x="293" y="488"/>
                  </a:lnTo>
                  <a:lnTo>
                    <a:pt x="293" y="468"/>
                  </a:lnTo>
                  <a:lnTo>
                    <a:pt x="293" y="458"/>
                  </a:lnTo>
                  <a:lnTo>
                    <a:pt x="312" y="449"/>
                  </a:lnTo>
                  <a:lnTo>
                    <a:pt x="322" y="449"/>
                  </a:lnTo>
                  <a:lnTo>
                    <a:pt x="322" y="429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32" y="419"/>
                  </a:lnTo>
                  <a:lnTo>
                    <a:pt x="342" y="410"/>
                  </a:lnTo>
                  <a:lnTo>
                    <a:pt x="361" y="410"/>
                  </a:lnTo>
                  <a:lnTo>
                    <a:pt x="361" y="400"/>
                  </a:lnTo>
                  <a:lnTo>
                    <a:pt x="361" y="390"/>
                  </a:lnTo>
                  <a:lnTo>
                    <a:pt x="381" y="410"/>
                  </a:lnTo>
                  <a:lnTo>
                    <a:pt x="400" y="390"/>
                  </a:lnTo>
                  <a:lnTo>
                    <a:pt x="410" y="380"/>
                  </a:lnTo>
                  <a:lnTo>
                    <a:pt x="410" y="371"/>
                  </a:lnTo>
                  <a:lnTo>
                    <a:pt x="400" y="332"/>
                  </a:lnTo>
                  <a:lnTo>
                    <a:pt x="390" y="312"/>
                  </a:lnTo>
                  <a:lnTo>
                    <a:pt x="361" y="312"/>
                  </a:lnTo>
                  <a:lnTo>
                    <a:pt x="351" y="293"/>
                  </a:lnTo>
                  <a:lnTo>
                    <a:pt x="361" y="293"/>
                  </a:lnTo>
                  <a:lnTo>
                    <a:pt x="381" y="293"/>
                  </a:lnTo>
                  <a:lnTo>
                    <a:pt x="390" y="293"/>
                  </a:lnTo>
                  <a:lnTo>
                    <a:pt x="390" y="283"/>
                  </a:lnTo>
                  <a:lnTo>
                    <a:pt x="390" y="254"/>
                  </a:lnTo>
                  <a:lnTo>
                    <a:pt x="390" y="234"/>
                  </a:lnTo>
                  <a:lnTo>
                    <a:pt x="420" y="205"/>
                  </a:lnTo>
                  <a:lnTo>
                    <a:pt x="439" y="185"/>
                  </a:lnTo>
                  <a:lnTo>
                    <a:pt x="449" y="195"/>
                  </a:lnTo>
                  <a:lnTo>
                    <a:pt x="449" y="215"/>
                  </a:lnTo>
                  <a:lnTo>
                    <a:pt x="449" y="234"/>
                  </a:lnTo>
                  <a:lnTo>
                    <a:pt x="449" y="244"/>
                  </a:lnTo>
                  <a:lnTo>
                    <a:pt x="449" y="254"/>
                  </a:lnTo>
                  <a:lnTo>
                    <a:pt x="468" y="254"/>
                  </a:lnTo>
                  <a:lnTo>
                    <a:pt x="488" y="263"/>
                  </a:lnTo>
                  <a:lnTo>
                    <a:pt x="507" y="293"/>
                  </a:lnTo>
                  <a:lnTo>
                    <a:pt x="527" y="293"/>
                  </a:lnTo>
                  <a:lnTo>
                    <a:pt x="546" y="293"/>
                  </a:lnTo>
                  <a:lnTo>
                    <a:pt x="566" y="283"/>
                  </a:lnTo>
                  <a:lnTo>
                    <a:pt x="595" y="302"/>
                  </a:lnTo>
                  <a:lnTo>
                    <a:pt x="605" y="312"/>
                  </a:lnTo>
                  <a:lnTo>
                    <a:pt x="624" y="312"/>
                  </a:lnTo>
                  <a:lnTo>
                    <a:pt x="644" y="302"/>
                  </a:lnTo>
                  <a:lnTo>
                    <a:pt x="654" y="293"/>
                  </a:lnTo>
                  <a:lnTo>
                    <a:pt x="663" y="283"/>
                  </a:lnTo>
                  <a:lnTo>
                    <a:pt x="683" y="283"/>
                  </a:lnTo>
                  <a:lnTo>
                    <a:pt x="693" y="273"/>
                  </a:lnTo>
                  <a:lnTo>
                    <a:pt x="663" y="263"/>
                  </a:lnTo>
                  <a:lnTo>
                    <a:pt x="654" y="254"/>
                  </a:lnTo>
                  <a:lnTo>
                    <a:pt x="624" y="234"/>
                  </a:lnTo>
                  <a:lnTo>
                    <a:pt x="605" y="224"/>
                  </a:lnTo>
                  <a:lnTo>
                    <a:pt x="585" y="205"/>
                  </a:lnTo>
                  <a:lnTo>
                    <a:pt x="576" y="185"/>
                  </a:lnTo>
                  <a:lnTo>
                    <a:pt x="585" y="175"/>
                  </a:lnTo>
                  <a:lnTo>
                    <a:pt x="585" y="166"/>
                  </a:lnTo>
                  <a:lnTo>
                    <a:pt x="566" y="166"/>
                  </a:lnTo>
                  <a:lnTo>
                    <a:pt x="566" y="156"/>
                  </a:lnTo>
                  <a:lnTo>
                    <a:pt x="566" y="136"/>
                  </a:lnTo>
                  <a:lnTo>
                    <a:pt x="566" y="107"/>
                  </a:lnTo>
                  <a:lnTo>
                    <a:pt x="537" y="68"/>
                  </a:lnTo>
                  <a:lnTo>
                    <a:pt x="517" y="49"/>
                  </a:lnTo>
                  <a:lnTo>
                    <a:pt x="498" y="39"/>
                  </a:lnTo>
                  <a:lnTo>
                    <a:pt x="478" y="29"/>
                  </a:lnTo>
                  <a:lnTo>
                    <a:pt x="468" y="19"/>
                  </a:lnTo>
                  <a:lnTo>
                    <a:pt x="449" y="19"/>
                  </a:lnTo>
                  <a:lnTo>
                    <a:pt x="449" y="0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20" y="10"/>
                  </a:lnTo>
                  <a:lnTo>
                    <a:pt x="410" y="19"/>
                  </a:lnTo>
                  <a:lnTo>
                    <a:pt x="381" y="29"/>
                  </a:lnTo>
                  <a:lnTo>
                    <a:pt x="361" y="29"/>
                  </a:lnTo>
                  <a:lnTo>
                    <a:pt x="361" y="49"/>
                  </a:lnTo>
                  <a:lnTo>
                    <a:pt x="332" y="49"/>
                  </a:lnTo>
                  <a:lnTo>
                    <a:pt x="322" y="39"/>
                  </a:lnTo>
                  <a:lnTo>
                    <a:pt x="303" y="49"/>
                  </a:lnTo>
                  <a:lnTo>
                    <a:pt x="283" y="49"/>
                  </a:lnTo>
                  <a:lnTo>
                    <a:pt x="263" y="39"/>
                  </a:lnTo>
                  <a:lnTo>
                    <a:pt x="254" y="39"/>
                  </a:lnTo>
                  <a:lnTo>
                    <a:pt x="234" y="39"/>
                  </a:lnTo>
                  <a:lnTo>
                    <a:pt x="234" y="68"/>
                  </a:lnTo>
                  <a:lnTo>
                    <a:pt x="215" y="68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66" y="88"/>
                  </a:lnTo>
                  <a:lnTo>
                    <a:pt x="166" y="117"/>
                  </a:lnTo>
                  <a:lnTo>
                    <a:pt x="127" y="117"/>
                  </a:lnTo>
                  <a:lnTo>
                    <a:pt x="107" y="117"/>
                  </a:lnTo>
                  <a:lnTo>
                    <a:pt x="59" y="117"/>
                  </a:lnTo>
                  <a:lnTo>
                    <a:pt x="49" y="146"/>
                  </a:lnTo>
                  <a:lnTo>
                    <a:pt x="49" y="166"/>
                  </a:lnTo>
                  <a:lnTo>
                    <a:pt x="49" y="185"/>
                  </a:lnTo>
                  <a:lnTo>
                    <a:pt x="20" y="205"/>
                  </a:lnTo>
                  <a:lnTo>
                    <a:pt x="0" y="224"/>
                  </a:lnTo>
                  <a:lnTo>
                    <a:pt x="0" y="244"/>
                  </a:lnTo>
                  <a:lnTo>
                    <a:pt x="10" y="263"/>
                  </a:lnTo>
                  <a:lnTo>
                    <a:pt x="20" y="283"/>
                  </a:lnTo>
                  <a:lnTo>
                    <a:pt x="29" y="312"/>
                  </a:lnTo>
                  <a:lnTo>
                    <a:pt x="49" y="332"/>
                  </a:lnTo>
                  <a:lnTo>
                    <a:pt x="78" y="341"/>
                  </a:lnTo>
                  <a:lnTo>
                    <a:pt x="88" y="361"/>
                  </a:lnTo>
                  <a:lnTo>
                    <a:pt x="88" y="380"/>
                  </a:lnTo>
                  <a:lnTo>
                    <a:pt x="107" y="390"/>
                  </a:lnTo>
                  <a:lnTo>
                    <a:pt x="127" y="410"/>
                  </a:lnTo>
                  <a:lnTo>
                    <a:pt x="146" y="400"/>
                  </a:lnTo>
                  <a:lnTo>
                    <a:pt x="146" y="419"/>
                  </a:lnTo>
                  <a:lnTo>
                    <a:pt x="156" y="429"/>
                  </a:lnTo>
                  <a:lnTo>
                    <a:pt x="166" y="468"/>
                  </a:lnTo>
                  <a:lnTo>
                    <a:pt x="185" y="468"/>
                  </a:lnTo>
                  <a:lnTo>
                    <a:pt x="195" y="468"/>
                  </a:lnTo>
                  <a:lnTo>
                    <a:pt x="195" y="478"/>
                  </a:lnTo>
                  <a:lnTo>
                    <a:pt x="205" y="478"/>
                  </a:lnTo>
                  <a:lnTo>
                    <a:pt x="215" y="497"/>
                  </a:lnTo>
                  <a:lnTo>
                    <a:pt x="234" y="517"/>
                  </a:lnTo>
                  <a:lnTo>
                    <a:pt x="244" y="527"/>
                  </a:lnTo>
                  <a:lnTo>
                    <a:pt x="254" y="517"/>
                  </a:lnTo>
                  <a:lnTo>
                    <a:pt x="263" y="51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4" name="Freeform 125"/>
            <p:cNvSpPr>
              <a:spLocks/>
            </p:cNvSpPr>
            <p:nvPr/>
          </p:nvSpPr>
          <p:spPr bwMode="auto">
            <a:xfrm>
              <a:off x="3413" y="2877"/>
              <a:ext cx="447" cy="618"/>
            </a:xfrm>
            <a:custGeom>
              <a:avLst/>
              <a:gdLst>
                <a:gd name="T0" fmla="*/ 166 w 449"/>
                <a:gd name="T1" fmla="*/ 195 h 615"/>
                <a:gd name="T2" fmla="*/ 146 w 449"/>
                <a:gd name="T3" fmla="*/ 127 h 615"/>
                <a:gd name="T4" fmla="*/ 117 w 449"/>
                <a:gd name="T5" fmla="*/ 108 h 615"/>
                <a:gd name="T6" fmla="*/ 146 w 449"/>
                <a:gd name="T7" fmla="*/ 98 h 615"/>
                <a:gd name="T8" fmla="*/ 176 w 449"/>
                <a:gd name="T9" fmla="*/ 20 h 615"/>
                <a:gd name="T10" fmla="*/ 205 w 449"/>
                <a:gd name="T11" fmla="*/ 30 h 615"/>
                <a:gd name="T12" fmla="*/ 205 w 449"/>
                <a:gd name="T13" fmla="*/ 69 h 615"/>
                <a:gd name="T14" fmla="*/ 262 w 449"/>
                <a:gd name="T15" fmla="*/ 108 h 615"/>
                <a:gd name="T16" fmla="*/ 311 w 449"/>
                <a:gd name="T17" fmla="*/ 98 h 615"/>
                <a:gd name="T18" fmla="*/ 369 w 449"/>
                <a:gd name="T19" fmla="*/ 127 h 615"/>
                <a:gd name="T20" fmla="*/ 408 w 449"/>
                <a:gd name="T21" fmla="*/ 98 h 615"/>
                <a:gd name="T22" fmla="*/ 438 w 449"/>
                <a:gd name="T23" fmla="*/ 108 h 615"/>
                <a:gd name="T24" fmla="*/ 408 w 449"/>
                <a:gd name="T25" fmla="*/ 127 h 615"/>
                <a:gd name="T26" fmla="*/ 408 w 449"/>
                <a:gd name="T27" fmla="*/ 147 h 615"/>
                <a:gd name="T28" fmla="*/ 438 w 449"/>
                <a:gd name="T29" fmla="*/ 186 h 615"/>
                <a:gd name="T30" fmla="*/ 408 w 449"/>
                <a:gd name="T31" fmla="*/ 225 h 615"/>
                <a:gd name="T32" fmla="*/ 418 w 449"/>
                <a:gd name="T33" fmla="*/ 293 h 615"/>
                <a:gd name="T34" fmla="*/ 399 w 449"/>
                <a:gd name="T35" fmla="*/ 332 h 615"/>
                <a:gd name="T36" fmla="*/ 399 w 449"/>
                <a:gd name="T37" fmla="*/ 371 h 615"/>
                <a:gd name="T38" fmla="*/ 379 w 449"/>
                <a:gd name="T39" fmla="*/ 381 h 615"/>
                <a:gd name="T40" fmla="*/ 330 w 449"/>
                <a:gd name="T41" fmla="*/ 381 h 615"/>
                <a:gd name="T42" fmla="*/ 311 w 449"/>
                <a:gd name="T43" fmla="*/ 410 h 615"/>
                <a:gd name="T44" fmla="*/ 291 w 449"/>
                <a:gd name="T45" fmla="*/ 430 h 615"/>
                <a:gd name="T46" fmla="*/ 291 w 449"/>
                <a:gd name="T47" fmla="*/ 488 h 615"/>
                <a:gd name="T48" fmla="*/ 311 w 449"/>
                <a:gd name="T49" fmla="*/ 527 h 615"/>
                <a:gd name="T50" fmla="*/ 282 w 449"/>
                <a:gd name="T51" fmla="*/ 547 h 615"/>
                <a:gd name="T52" fmla="*/ 272 w 449"/>
                <a:gd name="T53" fmla="*/ 586 h 615"/>
                <a:gd name="T54" fmla="*/ 243 w 449"/>
                <a:gd name="T55" fmla="*/ 605 h 615"/>
                <a:gd name="T56" fmla="*/ 195 w 449"/>
                <a:gd name="T57" fmla="*/ 605 h 615"/>
                <a:gd name="T58" fmla="*/ 166 w 449"/>
                <a:gd name="T59" fmla="*/ 615 h 615"/>
                <a:gd name="T60" fmla="*/ 137 w 449"/>
                <a:gd name="T61" fmla="*/ 595 h 615"/>
                <a:gd name="T62" fmla="*/ 107 w 449"/>
                <a:gd name="T63" fmla="*/ 595 h 615"/>
                <a:gd name="T64" fmla="*/ 127 w 449"/>
                <a:gd name="T65" fmla="*/ 556 h 615"/>
                <a:gd name="T66" fmla="*/ 156 w 449"/>
                <a:gd name="T67" fmla="*/ 547 h 615"/>
                <a:gd name="T68" fmla="*/ 127 w 449"/>
                <a:gd name="T69" fmla="*/ 547 h 615"/>
                <a:gd name="T70" fmla="*/ 107 w 449"/>
                <a:gd name="T71" fmla="*/ 517 h 615"/>
                <a:gd name="T72" fmla="*/ 88 w 449"/>
                <a:gd name="T73" fmla="*/ 527 h 615"/>
                <a:gd name="T74" fmla="*/ 78 w 449"/>
                <a:gd name="T75" fmla="*/ 508 h 615"/>
                <a:gd name="T76" fmla="*/ 78 w 449"/>
                <a:gd name="T77" fmla="*/ 478 h 615"/>
                <a:gd name="T78" fmla="*/ 68 w 449"/>
                <a:gd name="T79" fmla="*/ 488 h 615"/>
                <a:gd name="T80" fmla="*/ 49 w 449"/>
                <a:gd name="T81" fmla="*/ 478 h 615"/>
                <a:gd name="T82" fmla="*/ 19 w 449"/>
                <a:gd name="T83" fmla="*/ 478 h 615"/>
                <a:gd name="T84" fmla="*/ 0 w 449"/>
                <a:gd name="T85" fmla="*/ 469 h 615"/>
                <a:gd name="T86" fmla="*/ 19 w 449"/>
                <a:gd name="T87" fmla="*/ 430 h 615"/>
                <a:gd name="T88" fmla="*/ 29 w 449"/>
                <a:gd name="T89" fmla="*/ 400 h 615"/>
                <a:gd name="T90" fmla="*/ 39 w 449"/>
                <a:gd name="T91" fmla="*/ 351 h 615"/>
                <a:gd name="T92" fmla="*/ 29 w 449"/>
                <a:gd name="T93" fmla="*/ 312 h 615"/>
                <a:gd name="T94" fmla="*/ 49 w 449"/>
                <a:gd name="T95" fmla="*/ 293 h 615"/>
                <a:gd name="T96" fmla="*/ 78 w 449"/>
                <a:gd name="T97" fmla="*/ 273 h 615"/>
                <a:gd name="T98" fmla="*/ 88 w 449"/>
                <a:gd name="T99" fmla="*/ 254 h 615"/>
                <a:gd name="T100" fmla="*/ 98 w 449"/>
                <a:gd name="T101" fmla="*/ 234 h 615"/>
                <a:gd name="T102" fmla="*/ 117 w 449"/>
                <a:gd name="T103" fmla="*/ 215 h 615"/>
                <a:gd name="T104" fmla="*/ 137 w 449"/>
                <a:gd name="T105" fmla="*/ 225 h 6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49"/>
                <a:gd name="T160" fmla="*/ 0 h 615"/>
                <a:gd name="T161" fmla="*/ 449 w 449"/>
                <a:gd name="T162" fmla="*/ 615 h 6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49" h="615">
                  <a:moveTo>
                    <a:pt x="137" y="225"/>
                  </a:moveTo>
                  <a:lnTo>
                    <a:pt x="156" y="215"/>
                  </a:lnTo>
                  <a:lnTo>
                    <a:pt x="166" y="195"/>
                  </a:lnTo>
                  <a:lnTo>
                    <a:pt x="166" y="186"/>
                  </a:lnTo>
                  <a:lnTo>
                    <a:pt x="156" y="156"/>
                  </a:lnTo>
                  <a:lnTo>
                    <a:pt x="146" y="12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117" y="108"/>
                  </a:lnTo>
                  <a:lnTo>
                    <a:pt x="137" y="108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46" y="69"/>
                  </a:lnTo>
                  <a:lnTo>
                    <a:pt x="146" y="59"/>
                  </a:lnTo>
                  <a:lnTo>
                    <a:pt x="176" y="20"/>
                  </a:lnTo>
                  <a:lnTo>
                    <a:pt x="195" y="0"/>
                  </a:lnTo>
                  <a:lnTo>
                    <a:pt x="205" y="20"/>
                  </a:lnTo>
                  <a:lnTo>
                    <a:pt x="205" y="30"/>
                  </a:lnTo>
                  <a:lnTo>
                    <a:pt x="205" y="49"/>
                  </a:lnTo>
                  <a:lnTo>
                    <a:pt x="205" y="59"/>
                  </a:lnTo>
                  <a:lnTo>
                    <a:pt x="205" y="69"/>
                  </a:lnTo>
                  <a:lnTo>
                    <a:pt x="224" y="69"/>
                  </a:lnTo>
                  <a:lnTo>
                    <a:pt x="244" y="78"/>
                  </a:lnTo>
                  <a:lnTo>
                    <a:pt x="273" y="108"/>
                  </a:lnTo>
                  <a:lnTo>
                    <a:pt x="283" y="117"/>
                  </a:lnTo>
                  <a:lnTo>
                    <a:pt x="302" y="108"/>
                  </a:lnTo>
                  <a:lnTo>
                    <a:pt x="322" y="98"/>
                  </a:lnTo>
                  <a:lnTo>
                    <a:pt x="351" y="117"/>
                  </a:lnTo>
                  <a:lnTo>
                    <a:pt x="361" y="127"/>
                  </a:lnTo>
                  <a:lnTo>
                    <a:pt x="380" y="127"/>
                  </a:lnTo>
                  <a:lnTo>
                    <a:pt x="400" y="117"/>
                  </a:lnTo>
                  <a:lnTo>
                    <a:pt x="410" y="117"/>
                  </a:lnTo>
                  <a:lnTo>
                    <a:pt x="419" y="98"/>
                  </a:lnTo>
                  <a:lnTo>
                    <a:pt x="439" y="98"/>
                  </a:lnTo>
                  <a:lnTo>
                    <a:pt x="449" y="88"/>
                  </a:lnTo>
                  <a:lnTo>
                    <a:pt x="449" y="108"/>
                  </a:lnTo>
                  <a:lnTo>
                    <a:pt x="439" y="117"/>
                  </a:lnTo>
                  <a:lnTo>
                    <a:pt x="429" y="117"/>
                  </a:lnTo>
                  <a:lnTo>
                    <a:pt x="419" y="127"/>
                  </a:lnTo>
                  <a:lnTo>
                    <a:pt x="429" y="137"/>
                  </a:lnTo>
                  <a:lnTo>
                    <a:pt x="429" y="147"/>
                  </a:lnTo>
                  <a:lnTo>
                    <a:pt x="419" y="147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49" y="186"/>
                  </a:lnTo>
                  <a:lnTo>
                    <a:pt x="429" y="195"/>
                  </a:lnTo>
                  <a:lnTo>
                    <a:pt x="429" y="215"/>
                  </a:lnTo>
                  <a:lnTo>
                    <a:pt x="419" y="225"/>
                  </a:lnTo>
                  <a:lnTo>
                    <a:pt x="429" y="244"/>
                  </a:lnTo>
                  <a:lnTo>
                    <a:pt x="429" y="254"/>
                  </a:lnTo>
                  <a:lnTo>
                    <a:pt x="429" y="293"/>
                  </a:lnTo>
                  <a:lnTo>
                    <a:pt x="429" y="312"/>
                  </a:lnTo>
                  <a:lnTo>
                    <a:pt x="429" y="332"/>
                  </a:lnTo>
                  <a:lnTo>
                    <a:pt x="410" y="332"/>
                  </a:lnTo>
                  <a:lnTo>
                    <a:pt x="400" y="332"/>
                  </a:lnTo>
                  <a:lnTo>
                    <a:pt x="390" y="351"/>
                  </a:lnTo>
                  <a:lnTo>
                    <a:pt x="410" y="371"/>
                  </a:lnTo>
                  <a:lnTo>
                    <a:pt x="410" y="381"/>
                  </a:lnTo>
                  <a:lnTo>
                    <a:pt x="400" y="381"/>
                  </a:lnTo>
                  <a:lnTo>
                    <a:pt x="390" y="381"/>
                  </a:lnTo>
                  <a:lnTo>
                    <a:pt x="380" y="371"/>
                  </a:lnTo>
                  <a:lnTo>
                    <a:pt x="371" y="381"/>
                  </a:lnTo>
                  <a:lnTo>
                    <a:pt x="341" y="381"/>
                  </a:lnTo>
                  <a:lnTo>
                    <a:pt x="332" y="391"/>
                  </a:lnTo>
                  <a:lnTo>
                    <a:pt x="332" y="410"/>
                  </a:lnTo>
                  <a:lnTo>
                    <a:pt x="322" y="410"/>
                  </a:lnTo>
                  <a:lnTo>
                    <a:pt x="312" y="410"/>
                  </a:lnTo>
                  <a:lnTo>
                    <a:pt x="312" y="430"/>
                  </a:lnTo>
                  <a:lnTo>
                    <a:pt x="302" y="430"/>
                  </a:lnTo>
                  <a:lnTo>
                    <a:pt x="293" y="449"/>
                  </a:lnTo>
                  <a:lnTo>
                    <a:pt x="293" y="469"/>
                  </a:lnTo>
                  <a:lnTo>
                    <a:pt x="302" y="488"/>
                  </a:lnTo>
                  <a:lnTo>
                    <a:pt x="312" y="498"/>
                  </a:lnTo>
                  <a:lnTo>
                    <a:pt x="322" y="517"/>
                  </a:lnTo>
                  <a:lnTo>
                    <a:pt x="322" y="527"/>
                  </a:lnTo>
                  <a:lnTo>
                    <a:pt x="312" y="527"/>
                  </a:lnTo>
                  <a:lnTo>
                    <a:pt x="302" y="527"/>
                  </a:lnTo>
                  <a:lnTo>
                    <a:pt x="293" y="547"/>
                  </a:lnTo>
                  <a:lnTo>
                    <a:pt x="293" y="566"/>
                  </a:lnTo>
                  <a:lnTo>
                    <a:pt x="283" y="576"/>
                  </a:lnTo>
                  <a:lnTo>
                    <a:pt x="283" y="586"/>
                  </a:lnTo>
                  <a:lnTo>
                    <a:pt x="273" y="586"/>
                  </a:lnTo>
                  <a:lnTo>
                    <a:pt x="273" y="595"/>
                  </a:lnTo>
                  <a:lnTo>
                    <a:pt x="254" y="605"/>
                  </a:lnTo>
                  <a:lnTo>
                    <a:pt x="244" y="605"/>
                  </a:lnTo>
                  <a:lnTo>
                    <a:pt x="215" y="605"/>
                  </a:lnTo>
                  <a:lnTo>
                    <a:pt x="195" y="605"/>
                  </a:lnTo>
                  <a:lnTo>
                    <a:pt x="185" y="605"/>
                  </a:lnTo>
                  <a:lnTo>
                    <a:pt x="185" y="615"/>
                  </a:lnTo>
                  <a:lnTo>
                    <a:pt x="166" y="615"/>
                  </a:lnTo>
                  <a:lnTo>
                    <a:pt x="166" y="605"/>
                  </a:lnTo>
                  <a:lnTo>
                    <a:pt x="156" y="605"/>
                  </a:lnTo>
                  <a:lnTo>
                    <a:pt x="137" y="595"/>
                  </a:lnTo>
                  <a:lnTo>
                    <a:pt x="127" y="595"/>
                  </a:lnTo>
                  <a:lnTo>
                    <a:pt x="117" y="595"/>
                  </a:lnTo>
                  <a:lnTo>
                    <a:pt x="107" y="595"/>
                  </a:lnTo>
                  <a:lnTo>
                    <a:pt x="107" y="576"/>
                  </a:lnTo>
                  <a:lnTo>
                    <a:pt x="107" y="566"/>
                  </a:lnTo>
                  <a:lnTo>
                    <a:pt x="127" y="556"/>
                  </a:lnTo>
                  <a:lnTo>
                    <a:pt x="137" y="556"/>
                  </a:lnTo>
                  <a:lnTo>
                    <a:pt x="156" y="556"/>
                  </a:lnTo>
                  <a:lnTo>
                    <a:pt x="156" y="547"/>
                  </a:lnTo>
                  <a:lnTo>
                    <a:pt x="146" y="547"/>
                  </a:lnTo>
                  <a:lnTo>
                    <a:pt x="137" y="547"/>
                  </a:lnTo>
                  <a:lnTo>
                    <a:pt x="127" y="547"/>
                  </a:lnTo>
                  <a:lnTo>
                    <a:pt x="117" y="537"/>
                  </a:lnTo>
                  <a:lnTo>
                    <a:pt x="107" y="527"/>
                  </a:lnTo>
                  <a:lnTo>
                    <a:pt x="107" y="517"/>
                  </a:lnTo>
                  <a:lnTo>
                    <a:pt x="98" y="508"/>
                  </a:lnTo>
                  <a:lnTo>
                    <a:pt x="88" y="517"/>
                  </a:lnTo>
                  <a:lnTo>
                    <a:pt x="88" y="527"/>
                  </a:lnTo>
                  <a:lnTo>
                    <a:pt x="78" y="517"/>
                  </a:lnTo>
                  <a:lnTo>
                    <a:pt x="68" y="517"/>
                  </a:lnTo>
                  <a:lnTo>
                    <a:pt x="78" y="508"/>
                  </a:lnTo>
                  <a:lnTo>
                    <a:pt x="78" y="498"/>
                  </a:lnTo>
                  <a:lnTo>
                    <a:pt x="78" y="488"/>
                  </a:lnTo>
                  <a:lnTo>
                    <a:pt x="78" y="478"/>
                  </a:lnTo>
                  <a:lnTo>
                    <a:pt x="68" y="478"/>
                  </a:lnTo>
                  <a:lnTo>
                    <a:pt x="68" y="488"/>
                  </a:lnTo>
                  <a:lnTo>
                    <a:pt x="59" y="488"/>
                  </a:lnTo>
                  <a:lnTo>
                    <a:pt x="49" y="478"/>
                  </a:lnTo>
                  <a:lnTo>
                    <a:pt x="39" y="478"/>
                  </a:lnTo>
                  <a:lnTo>
                    <a:pt x="29" y="488"/>
                  </a:lnTo>
                  <a:lnTo>
                    <a:pt x="19" y="478"/>
                  </a:lnTo>
                  <a:lnTo>
                    <a:pt x="19" y="469"/>
                  </a:lnTo>
                  <a:lnTo>
                    <a:pt x="10" y="469"/>
                  </a:lnTo>
                  <a:lnTo>
                    <a:pt x="0" y="469"/>
                  </a:lnTo>
                  <a:lnTo>
                    <a:pt x="0" y="459"/>
                  </a:lnTo>
                  <a:lnTo>
                    <a:pt x="10" y="439"/>
                  </a:lnTo>
                  <a:lnTo>
                    <a:pt x="19" y="430"/>
                  </a:lnTo>
                  <a:lnTo>
                    <a:pt x="19" y="420"/>
                  </a:lnTo>
                  <a:lnTo>
                    <a:pt x="39" y="410"/>
                  </a:lnTo>
                  <a:lnTo>
                    <a:pt x="29" y="400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39" y="351"/>
                  </a:lnTo>
                  <a:lnTo>
                    <a:pt x="39" y="332"/>
                  </a:lnTo>
                  <a:lnTo>
                    <a:pt x="19" y="332"/>
                  </a:lnTo>
                  <a:lnTo>
                    <a:pt x="29" y="312"/>
                  </a:lnTo>
                  <a:lnTo>
                    <a:pt x="39" y="312"/>
                  </a:lnTo>
                  <a:lnTo>
                    <a:pt x="49" y="303"/>
                  </a:lnTo>
                  <a:lnTo>
                    <a:pt x="49" y="293"/>
                  </a:lnTo>
                  <a:lnTo>
                    <a:pt x="49" y="273"/>
                  </a:lnTo>
                  <a:lnTo>
                    <a:pt x="68" y="273"/>
                  </a:lnTo>
                  <a:lnTo>
                    <a:pt x="78" y="273"/>
                  </a:lnTo>
                  <a:lnTo>
                    <a:pt x="78" y="264"/>
                  </a:lnTo>
                  <a:lnTo>
                    <a:pt x="78" y="254"/>
                  </a:lnTo>
                  <a:lnTo>
                    <a:pt x="88" y="254"/>
                  </a:lnTo>
                  <a:lnTo>
                    <a:pt x="98" y="254"/>
                  </a:lnTo>
                  <a:lnTo>
                    <a:pt x="98" y="244"/>
                  </a:lnTo>
                  <a:lnTo>
                    <a:pt x="98" y="234"/>
                  </a:lnTo>
                  <a:lnTo>
                    <a:pt x="117" y="225"/>
                  </a:lnTo>
                  <a:lnTo>
                    <a:pt x="117" y="215"/>
                  </a:lnTo>
                  <a:lnTo>
                    <a:pt x="127" y="205"/>
                  </a:lnTo>
                  <a:lnTo>
                    <a:pt x="137" y="225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5" name="Freeform 124"/>
            <p:cNvSpPr>
              <a:spLocks/>
            </p:cNvSpPr>
            <p:nvPr/>
          </p:nvSpPr>
          <p:spPr bwMode="auto">
            <a:xfrm>
              <a:off x="3834" y="2771"/>
              <a:ext cx="849" cy="675"/>
            </a:xfrm>
            <a:custGeom>
              <a:avLst/>
              <a:gdLst>
                <a:gd name="T0" fmla="*/ 565 w 849"/>
                <a:gd name="T1" fmla="*/ 666 h 673"/>
                <a:gd name="T2" fmla="*/ 604 w 849"/>
                <a:gd name="T3" fmla="*/ 646 h 673"/>
                <a:gd name="T4" fmla="*/ 653 w 849"/>
                <a:gd name="T5" fmla="*/ 656 h 673"/>
                <a:gd name="T6" fmla="*/ 701 w 849"/>
                <a:gd name="T7" fmla="*/ 656 h 673"/>
                <a:gd name="T8" fmla="*/ 750 w 849"/>
                <a:gd name="T9" fmla="*/ 637 h 673"/>
                <a:gd name="T10" fmla="*/ 770 w 849"/>
                <a:gd name="T11" fmla="*/ 627 h 673"/>
                <a:gd name="T12" fmla="*/ 770 w 849"/>
                <a:gd name="T13" fmla="*/ 598 h 673"/>
                <a:gd name="T14" fmla="*/ 789 w 849"/>
                <a:gd name="T15" fmla="*/ 588 h 673"/>
                <a:gd name="T16" fmla="*/ 809 w 849"/>
                <a:gd name="T17" fmla="*/ 568 h 673"/>
                <a:gd name="T18" fmla="*/ 828 w 849"/>
                <a:gd name="T19" fmla="*/ 513 h 673"/>
                <a:gd name="T20" fmla="*/ 780 w 849"/>
                <a:gd name="T21" fmla="*/ 469 h 673"/>
                <a:gd name="T22" fmla="*/ 760 w 849"/>
                <a:gd name="T23" fmla="*/ 421 h 673"/>
                <a:gd name="T24" fmla="*/ 819 w 849"/>
                <a:gd name="T25" fmla="*/ 391 h 673"/>
                <a:gd name="T26" fmla="*/ 809 w 849"/>
                <a:gd name="T27" fmla="*/ 352 h 673"/>
                <a:gd name="T28" fmla="*/ 780 w 849"/>
                <a:gd name="T29" fmla="*/ 352 h 673"/>
                <a:gd name="T30" fmla="*/ 740 w 849"/>
                <a:gd name="T31" fmla="*/ 284 h 673"/>
                <a:gd name="T32" fmla="*/ 721 w 849"/>
                <a:gd name="T33" fmla="*/ 255 h 673"/>
                <a:gd name="T34" fmla="*/ 643 w 849"/>
                <a:gd name="T35" fmla="*/ 255 h 673"/>
                <a:gd name="T36" fmla="*/ 604 w 849"/>
                <a:gd name="T37" fmla="*/ 216 h 673"/>
                <a:gd name="T38" fmla="*/ 623 w 849"/>
                <a:gd name="T39" fmla="*/ 166 h 673"/>
                <a:gd name="T40" fmla="*/ 623 w 849"/>
                <a:gd name="T41" fmla="*/ 127 h 673"/>
                <a:gd name="T42" fmla="*/ 584 w 849"/>
                <a:gd name="T43" fmla="*/ 107 h 673"/>
                <a:gd name="T44" fmla="*/ 536 w 849"/>
                <a:gd name="T45" fmla="*/ 97 h 673"/>
                <a:gd name="T46" fmla="*/ 506 w 849"/>
                <a:gd name="T47" fmla="*/ 117 h 673"/>
                <a:gd name="T48" fmla="*/ 458 w 849"/>
                <a:gd name="T49" fmla="*/ 107 h 673"/>
                <a:gd name="T50" fmla="*/ 424 w 849"/>
                <a:gd name="T51" fmla="*/ 88 h 673"/>
                <a:gd name="T52" fmla="*/ 410 w 849"/>
                <a:gd name="T53" fmla="*/ 68 h 673"/>
                <a:gd name="T54" fmla="*/ 371 w 849"/>
                <a:gd name="T55" fmla="*/ 68 h 673"/>
                <a:gd name="T56" fmla="*/ 293 w 849"/>
                <a:gd name="T57" fmla="*/ 29 h 673"/>
                <a:gd name="T58" fmla="*/ 264 w 849"/>
                <a:gd name="T59" fmla="*/ 10 h 673"/>
                <a:gd name="T60" fmla="*/ 235 w 849"/>
                <a:gd name="T61" fmla="*/ 0 h 673"/>
                <a:gd name="T62" fmla="*/ 205 w 849"/>
                <a:gd name="T63" fmla="*/ 29 h 673"/>
                <a:gd name="T64" fmla="*/ 176 w 849"/>
                <a:gd name="T65" fmla="*/ 68 h 673"/>
                <a:gd name="T66" fmla="*/ 156 w 849"/>
                <a:gd name="T67" fmla="*/ 117 h 673"/>
                <a:gd name="T68" fmla="*/ 108 w 849"/>
                <a:gd name="T69" fmla="*/ 137 h 673"/>
                <a:gd name="T70" fmla="*/ 78 w 849"/>
                <a:gd name="T71" fmla="*/ 187 h 673"/>
                <a:gd name="T72" fmla="*/ 30 w 849"/>
                <a:gd name="T73" fmla="*/ 226 h 673"/>
                <a:gd name="T74" fmla="*/ 10 w 849"/>
                <a:gd name="T75" fmla="*/ 245 h 673"/>
                <a:gd name="T76" fmla="*/ 0 w 849"/>
                <a:gd name="T77" fmla="*/ 265 h 673"/>
                <a:gd name="T78" fmla="*/ 30 w 849"/>
                <a:gd name="T79" fmla="*/ 304 h 673"/>
                <a:gd name="T80" fmla="*/ 10 w 849"/>
                <a:gd name="T81" fmla="*/ 343 h 673"/>
                <a:gd name="T82" fmla="*/ 30 w 849"/>
                <a:gd name="T83" fmla="*/ 382 h 673"/>
                <a:gd name="T84" fmla="*/ 88 w 849"/>
                <a:gd name="T85" fmla="*/ 411 h 673"/>
                <a:gd name="T86" fmla="*/ 156 w 849"/>
                <a:gd name="T87" fmla="*/ 440 h 673"/>
                <a:gd name="T88" fmla="*/ 215 w 849"/>
                <a:gd name="T89" fmla="*/ 489 h 673"/>
                <a:gd name="T90" fmla="*/ 254 w 849"/>
                <a:gd name="T91" fmla="*/ 549 h 673"/>
                <a:gd name="T92" fmla="*/ 313 w 849"/>
                <a:gd name="T93" fmla="*/ 549 h 673"/>
                <a:gd name="T94" fmla="*/ 332 w 849"/>
                <a:gd name="T95" fmla="*/ 598 h 673"/>
                <a:gd name="T96" fmla="*/ 381 w 849"/>
                <a:gd name="T97" fmla="*/ 607 h 673"/>
                <a:gd name="T98" fmla="*/ 410 w 849"/>
                <a:gd name="T99" fmla="*/ 598 h 673"/>
                <a:gd name="T100" fmla="*/ 420 w 849"/>
                <a:gd name="T101" fmla="*/ 627 h 673"/>
                <a:gd name="T102" fmla="*/ 420 w 849"/>
                <a:gd name="T103" fmla="*/ 676 h 673"/>
                <a:gd name="T104" fmla="*/ 424 w 849"/>
                <a:gd name="T105" fmla="*/ 695 h 673"/>
                <a:gd name="T106" fmla="*/ 448 w 849"/>
                <a:gd name="T107" fmla="*/ 676 h 673"/>
                <a:gd name="T108" fmla="*/ 497 w 849"/>
                <a:gd name="T109" fmla="*/ 676 h 67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9"/>
                <a:gd name="T166" fmla="*/ 0 h 673"/>
                <a:gd name="T167" fmla="*/ 849 w 849"/>
                <a:gd name="T168" fmla="*/ 673 h 67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9" h="673">
                  <a:moveTo>
                    <a:pt x="537" y="644"/>
                  </a:moveTo>
                  <a:lnTo>
                    <a:pt x="566" y="654"/>
                  </a:lnTo>
                  <a:lnTo>
                    <a:pt x="576" y="644"/>
                  </a:lnTo>
                  <a:lnTo>
                    <a:pt x="576" y="634"/>
                  </a:lnTo>
                  <a:lnTo>
                    <a:pt x="595" y="624"/>
                  </a:lnTo>
                  <a:lnTo>
                    <a:pt x="615" y="624"/>
                  </a:lnTo>
                  <a:lnTo>
                    <a:pt x="634" y="624"/>
                  </a:lnTo>
                  <a:lnTo>
                    <a:pt x="664" y="634"/>
                  </a:lnTo>
                  <a:lnTo>
                    <a:pt x="683" y="634"/>
                  </a:lnTo>
                  <a:lnTo>
                    <a:pt x="703" y="624"/>
                  </a:lnTo>
                  <a:lnTo>
                    <a:pt x="712" y="634"/>
                  </a:lnTo>
                  <a:lnTo>
                    <a:pt x="732" y="624"/>
                  </a:lnTo>
                  <a:lnTo>
                    <a:pt x="751" y="624"/>
                  </a:lnTo>
                  <a:lnTo>
                    <a:pt x="761" y="615"/>
                  </a:lnTo>
                  <a:lnTo>
                    <a:pt x="771" y="624"/>
                  </a:lnTo>
                  <a:lnTo>
                    <a:pt x="781" y="634"/>
                  </a:lnTo>
                  <a:lnTo>
                    <a:pt x="781" y="605"/>
                  </a:lnTo>
                  <a:lnTo>
                    <a:pt x="791" y="585"/>
                  </a:lnTo>
                  <a:lnTo>
                    <a:pt x="781" y="576"/>
                  </a:lnTo>
                  <a:lnTo>
                    <a:pt x="791" y="566"/>
                  </a:lnTo>
                  <a:lnTo>
                    <a:pt x="800" y="576"/>
                  </a:lnTo>
                  <a:lnTo>
                    <a:pt x="800" y="566"/>
                  </a:lnTo>
                  <a:lnTo>
                    <a:pt x="810" y="546"/>
                  </a:lnTo>
                  <a:lnTo>
                    <a:pt x="820" y="546"/>
                  </a:lnTo>
                  <a:lnTo>
                    <a:pt x="830" y="537"/>
                  </a:lnTo>
                  <a:lnTo>
                    <a:pt x="849" y="517"/>
                  </a:lnTo>
                  <a:lnTo>
                    <a:pt x="839" y="498"/>
                  </a:lnTo>
                  <a:lnTo>
                    <a:pt x="820" y="478"/>
                  </a:lnTo>
                  <a:lnTo>
                    <a:pt x="810" y="468"/>
                  </a:lnTo>
                  <a:lnTo>
                    <a:pt x="791" y="458"/>
                  </a:lnTo>
                  <a:lnTo>
                    <a:pt x="781" y="458"/>
                  </a:lnTo>
                  <a:lnTo>
                    <a:pt x="771" y="449"/>
                  </a:lnTo>
                  <a:lnTo>
                    <a:pt x="771" y="410"/>
                  </a:lnTo>
                  <a:lnTo>
                    <a:pt x="791" y="400"/>
                  </a:lnTo>
                  <a:lnTo>
                    <a:pt x="810" y="390"/>
                  </a:lnTo>
                  <a:lnTo>
                    <a:pt x="830" y="380"/>
                  </a:lnTo>
                  <a:lnTo>
                    <a:pt x="830" y="371"/>
                  </a:lnTo>
                  <a:lnTo>
                    <a:pt x="820" y="351"/>
                  </a:lnTo>
                  <a:lnTo>
                    <a:pt x="820" y="341"/>
                  </a:lnTo>
                  <a:lnTo>
                    <a:pt x="810" y="332"/>
                  </a:lnTo>
                  <a:lnTo>
                    <a:pt x="800" y="341"/>
                  </a:lnTo>
                  <a:lnTo>
                    <a:pt x="791" y="341"/>
                  </a:lnTo>
                  <a:lnTo>
                    <a:pt x="781" y="293"/>
                  </a:lnTo>
                  <a:lnTo>
                    <a:pt x="761" y="273"/>
                  </a:lnTo>
                  <a:lnTo>
                    <a:pt x="751" y="273"/>
                  </a:lnTo>
                  <a:lnTo>
                    <a:pt x="751" y="263"/>
                  </a:lnTo>
                  <a:lnTo>
                    <a:pt x="751" y="254"/>
                  </a:lnTo>
                  <a:lnTo>
                    <a:pt x="732" y="244"/>
                  </a:lnTo>
                  <a:lnTo>
                    <a:pt x="703" y="244"/>
                  </a:lnTo>
                  <a:lnTo>
                    <a:pt x="673" y="234"/>
                  </a:lnTo>
                  <a:lnTo>
                    <a:pt x="654" y="244"/>
                  </a:lnTo>
                  <a:lnTo>
                    <a:pt x="644" y="244"/>
                  </a:lnTo>
                  <a:lnTo>
                    <a:pt x="615" y="224"/>
                  </a:lnTo>
                  <a:lnTo>
                    <a:pt x="615" y="205"/>
                  </a:lnTo>
                  <a:lnTo>
                    <a:pt x="634" y="195"/>
                  </a:lnTo>
                  <a:lnTo>
                    <a:pt x="634" y="185"/>
                  </a:lnTo>
                  <a:lnTo>
                    <a:pt x="634" y="166"/>
                  </a:lnTo>
                  <a:lnTo>
                    <a:pt x="634" y="146"/>
                  </a:lnTo>
                  <a:lnTo>
                    <a:pt x="625" y="137"/>
                  </a:lnTo>
                  <a:lnTo>
                    <a:pt x="634" y="127"/>
                  </a:lnTo>
                  <a:lnTo>
                    <a:pt x="615" y="117"/>
                  </a:lnTo>
                  <a:lnTo>
                    <a:pt x="595" y="107"/>
                  </a:lnTo>
                  <a:lnTo>
                    <a:pt x="586" y="97"/>
                  </a:lnTo>
                  <a:lnTo>
                    <a:pt x="566" y="88"/>
                  </a:lnTo>
                  <a:lnTo>
                    <a:pt x="547" y="97"/>
                  </a:lnTo>
                  <a:lnTo>
                    <a:pt x="527" y="97"/>
                  </a:lnTo>
                  <a:lnTo>
                    <a:pt x="517" y="107"/>
                  </a:lnTo>
                  <a:lnTo>
                    <a:pt x="517" y="117"/>
                  </a:lnTo>
                  <a:lnTo>
                    <a:pt x="498" y="117"/>
                  </a:lnTo>
                  <a:lnTo>
                    <a:pt x="478" y="117"/>
                  </a:lnTo>
                  <a:lnTo>
                    <a:pt x="469" y="107"/>
                  </a:lnTo>
                  <a:lnTo>
                    <a:pt x="459" y="97"/>
                  </a:lnTo>
                  <a:lnTo>
                    <a:pt x="439" y="97"/>
                  </a:lnTo>
                  <a:lnTo>
                    <a:pt x="430" y="88"/>
                  </a:lnTo>
                  <a:lnTo>
                    <a:pt x="430" y="68"/>
                  </a:lnTo>
                  <a:lnTo>
                    <a:pt x="420" y="68"/>
                  </a:lnTo>
                  <a:lnTo>
                    <a:pt x="410" y="68"/>
                  </a:lnTo>
                  <a:lnTo>
                    <a:pt x="391" y="78"/>
                  </a:lnTo>
                  <a:lnTo>
                    <a:pt x="381" y="68"/>
                  </a:lnTo>
                  <a:lnTo>
                    <a:pt x="371" y="68"/>
                  </a:lnTo>
                  <a:lnTo>
                    <a:pt x="332" y="58"/>
                  </a:lnTo>
                  <a:lnTo>
                    <a:pt x="322" y="29"/>
                  </a:lnTo>
                  <a:lnTo>
                    <a:pt x="293" y="29"/>
                  </a:lnTo>
                  <a:lnTo>
                    <a:pt x="274" y="19"/>
                  </a:lnTo>
                  <a:lnTo>
                    <a:pt x="274" y="29"/>
                  </a:lnTo>
                  <a:lnTo>
                    <a:pt x="264" y="10"/>
                  </a:lnTo>
                  <a:lnTo>
                    <a:pt x="254" y="10"/>
                  </a:lnTo>
                  <a:lnTo>
                    <a:pt x="235" y="10"/>
                  </a:lnTo>
                  <a:lnTo>
                    <a:pt x="235" y="0"/>
                  </a:lnTo>
                  <a:lnTo>
                    <a:pt x="215" y="10"/>
                  </a:lnTo>
                  <a:lnTo>
                    <a:pt x="215" y="29"/>
                  </a:lnTo>
                  <a:lnTo>
                    <a:pt x="205" y="29"/>
                  </a:lnTo>
                  <a:lnTo>
                    <a:pt x="195" y="29"/>
                  </a:lnTo>
                  <a:lnTo>
                    <a:pt x="195" y="58"/>
                  </a:lnTo>
                  <a:lnTo>
                    <a:pt x="176" y="68"/>
                  </a:lnTo>
                  <a:lnTo>
                    <a:pt x="176" y="107"/>
                  </a:lnTo>
                  <a:lnTo>
                    <a:pt x="166" y="117"/>
                  </a:lnTo>
                  <a:lnTo>
                    <a:pt x="156" y="117"/>
                  </a:lnTo>
                  <a:lnTo>
                    <a:pt x="137" y="117"/>
                  </a:lnTo>
                  <a:lnTo>
                    <a:pt x="117" y="127"/>
                  </a:lnTo>
                  <a:lnTo>
                    <a:pt x="108" y="137"/>
                  </a:lnTo>
                  <a:lnTo>
                    <a:pt x="88" y="146"/>
                  </a:lnTo>
                  <a:lnTo>
                    <a:pt x="78" y="156"/>
                  </a:lnTo>
                  <a:lnTo>
                    <a:pt x="78" y="176"/>
                  </a:lnTo>
                  <a:lnTo>
                    <a:pt x="59" y="185"/>
                  </a:lnTo>
                  <a:lnTo>
                    <a:pt x="30" y="195"/>
                  </a:lnTo>
                  <a:lnTo>
                    <a:pt x="30" y="215"/>
                  </a:lnTo>
                  <a:lnTo>
                    <a:pt x="20" y="215"/>
                  </a:lnTo>
                  <a:lnTo>
                    <a:pt x="10" y="224"/>
                  </a:lnTo>
                  <a:lnTo>
                    <a:pt x="10" y="234"/>
                  </a:lnTo>
                  <a:lnTo>
                    <a:pt x="10" y="244"/>
                  </a:lnTo>
                  <a:lnTo>
                    <a:pt x="10" y="254"/>
                  </a:lnTo>
                  <a:lnTo>
                    <a:pt x="0" y="254"/>
                  </a:lnTo>
                  <a:lnTo>
                    <a:pt x="10" y="263"/>
                  </a:lnTo>
                  <a:lnTo>
                    <a:pt x="20" y="273"/>
                  </a:lnTo>
                  <a:lnTo>
                    <a:pt x="30" y="293"/>
                  </a:lnTo>
                  <a:lnTo>
                    <a:pt x="10" y="302"/>
                  </a:lnTo>
                  <a:lnTo>
                    <a:pt x="10" y="322"/>
                  </a:lnTo>
                  <a:lnTo>
                    <a:pt x="10" y="33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30" y="371"/>
                  </a:lnTo>
                  <a:lnTo>
                    <a:pt x="59" y="380"/>
                  </a:lnTo>
                  <a:lnTo>
                    <a:pt x="69" y="390"/>
                  </a:lnTo>
                  <a:lnTo>
                    <a:pt x="88" y="400"/>
                  </a:lnTo>
                  <a:lnTo>
                    <a:pt x="117" y="410"/>
                  </a:lnTo>
                  <a:lnTo>
                    <a:pt x="147" y="419"/>
                  </a:lnTo>
                  <a:lnTo>
                    <a:pt x="156" y="429"/>
                  </a:lnTo>
                  <a:lnTo>
                    <a:pt x="166" y="439"/>
                  </a:lnTo>
                  <a:lnTo>
                    <a:pt x="186" y="449"/>
                  </a:lnTo>
                  <a:lnTo>
                    <a:pt x="215" y="478"/>
                  </a:lnTo>
                  <a:lnTo>
                    <a:pt x="235" y="507"/>
                  </a:lnTo>
                  <a:lnTo>
                    <a:pt x="244" y="527"/>
                  </a:lnTo>
                  <a:lnTo>
                    <a:pt x="254" y="527"/>
                  </a:lnTo>
                  <a:lnTo>
                    <a:pt x="274" y="527"/>
                  </a:lnTo>
                  <a:lnTo>
                    <a:pt x="293" y="527"/>
                  </a:lnTo>
                  <a:lnTo>
                    <a:pt x="313" y="527"/>
                  </a:lnTo>
                  <a:lnTo>
                    <a:pt x="313" y="546"/>
                  </a:lnTo>
                  <a:lnTo>
                    <a:pt x="322" y="576"/>
                  </a:lnTo>
                  <a:lnTo>
                    <a:pt x="332" y="576"/>
                  </a:lnTo>
                  <a:lnTo>
                    <a:pt x="342" y="585"/>
                  </a:lnTo>
                  <a:lnTo>
                    <a:pt x="371" y="585"/>
                  </a:lnTo>
                  <a:lnTo>
                    <a:pt x="381" y="585"/>
                  </a:lnTo>
                  <a:lnTo>
                    <a:pt x="400" y="595"/>
                  </a:lnTo>
                  <a:lnTo>
                    <a:pt x="400" y="585"/>
                  </a:lnTo>
                  <a:lnTo>
                    <a:pt x="410" y="576"/>
                  </a:lnTo>
                  <a:lnTo>
                    <a:pt x="420" y="585"/>
                  </a:lnTo>
                  <a:lnTo>
                    <a:pt x="430" y="585"/>
                  </a:lnTo>
                  <a:lnTo>
                    <a:pt x="420" y="605"/>
                  </a:lnTo>
                  <a:lnTo>
                    <a:pt x="420" y="624"/>
                  </a:lnTo>
                  <a:lnTo>
                    <a:pt x="420" y="654"/>
                  </a:lnTo>
                  <a:lnTo>
                    <a:pt x="420" y="663"/>
                  </a:lnTo>
                  <a:lnTo>
                    <a:pt x="430" y="67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59" y="654"/>
                  </a:lnTo>
                  <a:lnTo>
                    <a:pt x="478" y="654"/>
                  </a:lnTo>
                  <a:lnTo>
                    <a:pt x="488" y="654"/>
                  </a:lnTo>
                  <a:lnTo>
                    <a:pt x="508" y="654"/>
                  </a:lnTo>
                  <a:lnTo>
                    <a:pt x="517" y="654"/>
                  </a:lnTo>
                  <a:lnTo>
                    <a:pt x="537" y="644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6" name="Freeform 123"/>
            <p:cNvSpPr>
              <a:spLocks/>
            </p:cNvSpPr>
            <p:nvPr/>
          </p:nvSpPr>
          <p:spPr bwMode="auto">
            <a:xfrm>
              <a:off x="1650" y="1267"/>
              <a:ext cx="351" cy="334"/>
            </a:xfrm>
            <a:custGeom>
              <a:avLst/>
              <a:gdLst/>
              <a:ahLst/>
              <a:cxnLst>
                <a:cxn ang="0">
                  <a:pos x="342" y="225"/>
                </a:cxn>
                <a:cxn ang="0">
                  <a:pos x="332" y="244"/>
                </a:cxn>
                <a:cxn ang="0">
                  <a:pos x="342" y="264"/>
                </a:cxn>
                <a:cxn ang="0">
                  <a:pos x="352" y="303"/>
                </a:cxn>
                <a:cxn ang="0">
                  <a:pos x="313" y="322"/>
                </a:cxn>
                <a:cxn ang="0">
                  <a:pos x="274" y="283"/>
                </a:cxn>
                <a:cxn ang="0">
                  <a:pos x="244" y="274"/>
                </a:cxn>
                <a:cxn ang="0">
                  <a:pos x="225" y="225"/>
                </a:cxn>
                <a:cxn ang="0">
                  <a:pos x="205" y="225"/>
                </a:cxn>
                <a:cxn ang="0">
                  <a:pos x="186" y="235"/>
                </a:cxn>
                <a:cxn ang="0">
                  <a:pos x="147" y="235"/>
                </a:cxn>
                <a:cxn ang="0">
                  <a:pos x="127" y="225"/>
                </a:cxn>
                <a:cxn ang="0">
                  <a:pos x="88" y="215"/>
                </a:cxn>
                <a:cxn ang="0">
                  <a:pos x="88" y="205"/>
                </a:cxn>
                <a:cxn ang="0">
                  <a:pos x="49" y="186"/>
                </a:cxn>
                <a:cxn ang="0">
                  <a:pos x="30" y="186"/>
                </a:cxn>
                <a:cxn ang="0">
                  <a:pos x="20" y="166"/>
                </a:cxn>
                <a:cxn ang="0">
                  <a:pos x="0" y="147"/>
                </a:cxn>
                <a:cxn ang="0">
                  <a:pos x="20" y="127"/>
                </a:cxn>
                <a:cxn ang="0">
                  <a:pos x="30" y="108"/>
                </a:cxn>
                <a:cxn ang="0">
                  <a:pos x="59" y="98"/>
                </a:cxn>
                <a:cxn ang="0">
                  <a:pos x="88" y="59"/>
                </a:cxn>
                <a:cxn ang="0">
                  <a:pos x="78" y="10"/>
                </a:cxn>
                <a:cxn ang="0">
                  <a:pos x="98" y="10"/>
                </a:cxn>
                <a:cxn ang="0">
                  <a:pos x="118" y="0"/>
                </a:cxn>
                <a:cxn ang="0">
                  <a:pos x="147" y="10"/>
                </a:cxn>
                <a:cxn ang="0">
                  <a:pos x="166" y="10"/>
                </a:cxn>
                <a:cxn ang="0">
                  <a:pos x="176" y="30"/>
                </a:cxn>
                <a:cxn ang="0">
                  <a:pos x="205" y="20"/>
                </a:cxn>
                <a:cxn ang="0">
                  <a:pos x="225" y="49"/>
                </a:cxn>
                <a:cxn ang="0">
                  <a:pos x="274" y="49"/>
                </a:cxn>
                <a:cxn ang="0">
                  <a:pos x="293" y="69"/>
                </a:cxn>
                <a:cxn ang="0">
                  <a:pos x="274" y="98"/>
                </a:cxn>
                <a:cxn ang="0">
                  <a:pos x="303" y="108"/>
                </a:cxn>
                <a:cxn ang="0">
                  <a:pos x="332" y="127"/>
                </a:cxn>
                <a:cxn ang="0">
                  <a:pos x="322" y="156"/>
                </a:cxn>
                <a:cxn ang="0">
                  <a:pos x="342" y="156"/>
                </a:cxn>
                <a:cxn ang="0">
                  <a:pos x="332" y="186"/>
                </a:cxn>
                <a:cxn ang="0">
                  <a:pos x="342" y="215"/>
                </a:cxn>
              </a:cxnLst>
              <a:rect l="0" t="0" r="r" b="b"/>
              <a:pathLst>
                <a:path w="352" h="332">
                  <a:moveTo>
                    <a:pt x="342" y="215"/>
                  </a:moveTo>
                  <a:lnTo>
                    <a:pt x="342" y="225"/>
                  </a:lnTo>
                  <a:lnTo>
                    <a:pt x="342" y="244"/>
                  </a:lnTo>
                  <a:lnTo>
                    <a:pt x="332" y="244"/>
                  </a:lnTo>
                  <a:lnTo>
                    <a:pt x="332" y="254"/>
                  </a:lnTo>
                  <a:lnTo>
                    <a:pt x="342" y="264"/>
                  </a:lnTo>
                  <a:lnTo>
                    <a:pt x="352" y="274"/>
                  </a:lnTo>
                  <a:lnTo>
                    <a:pt x="352" y="303"/>
                  </a:lnTo>
                  <a:lnTo>
                    <a:pt x="342" y="332"/>
                  </a:lnTo>
                  <a:lnTo>
                    <a:pt x="313" y="322"/>
                  </a:lnTo>
                  <a:lnTo>
                    <a:pt x="283" y="283"/>
                  </a:lnTo>
                  <a:lnTo>
                    <a:pt x="274" y="283"/>
                  </a:lnTo>
                  <a:lnTo>
                    <a:pt x="254" y="274"/>
                  </a:lnTo>
                  <a:lnTo>
                    <a:pt x="244" y="274"/>
                  </a:lnTo>
                  <a:lnTo>
                    <a:pt x="235" y="264"/>
                  </a:lnTo>
                  <a:lnTo>
                    <a:pt x="225" y="225"/>
                  </a:lnTo>
                  <a:lnTo>
                    <a:pt x="225" y="215"/>
                  </a:lnTo>
                  <a:lnTo>
                    <a:pt x="205" y="225"/>
                  </a:lnTo>
                  <a:lnTo>
                    <a:pt x="196" y="235"/>
                  </a:lnTo>
                  <a:lnTo>
                    <a:pt x="186" y="235"/>
                  </a:lnTo>
                  <a:lnTo>
                    <a:pt x="176" y="244"/>
                  </a:lnTo>
                  <a:lnTo>
                    <a:pt x="147" y="235"/>
                  </a:lnTo>
                  <a:lnTo>
                    <a:pt x="127" y="244"/>
                  </a:lnTo>
                  <a:lnTo>
                    <a:pt x="127" y="225"/>
                  </a:lnTo>
                  <a:lnTo>
                    <a:pt x="118" y="215"/>
                  </a:lnTo>
                  <a:lnTo>
                    <a:pt x="88" y="215"/>
                  </a:lnTo>
                  <a:lnTo>
                    <a:pt x="88" y="205"/>
                  </a:lnTo>
                  <a:lnTo>
                    <a:pt x="69" y="205"/>
                  </a:lnTo>
                  <a:lnTo>
                    <a:pt x="49" y="186"/>
                  </a:lnTo>
                  <a:lnTo>
                    <a:pt x="39" y="186"/>
                  </a:lnTo>
                  <a:lnTo>
                    <a:pt x="30" y="186"/>
                  </a:lnTo>
                  <a:lnTo>
                    <a:pt x="30" y="176"/>
                  </a:lnTo>
                  <a:lnTo>
                    <a:pt x="20" y="166"/>
                  </a:lnTo>
                  <a:lnTo>
                    <a:pt x="10" y="166"/>
                  </a:lnTo>
                  <a:lnTo>
                    <a:pt x="0" y="147"/>
                  </a:lnTo>
                  <a:lnTo>
                    <a:pt x="0" y="137"/>
                  </a:lnTo>
                  <a:lnTo>
                    <a:pt x="20" y="127"/>
                  </a:lnTo>
                  <a:lnTo>
                    <a:pt x="39" y="127"/>
                  </a:lnTo>
                  <a:lnTo>
                    <a:pt x="30" y="108"/>
                  </a:lnTo>
                  <a:lnTo>
                    <a:pt x="30" y="98"/>
                  </a:lnTo>
                  <a:lnTo>
                    <a:pt x="59" y="98"/>
                  </a:lnTo>
                  <a:lnTo>
                    <a:pt x="59" y="78"/>
                  </a:lnTo>
                  <a:lnTo>
                    <a:pt x="88" y="59"/>
                  </a:lnTo>
                  <a:lnTo>
                    <a:pt x="78" y="49"/>
                  </a:lnTo>
                  <a:lnTo>
                    <a:pt x="78" y="10"/>
                  </a:lnTo>
                  <a:lnTo>
                    <a:pt x="98" y="0"/>
                  </a:lnTo>
                  <a:lnTo>
                    <a:pt x="98" y="10"/>
                  </a:lnTo>
                  <a:lnTo>
                    <a:pt x="118" y="10"/>
                  </a:lnTo>
                  <a:lnTo>
                    <a:pt x="118" y="0"/>
                  </a:lnTo>
                  <a:lnTo>
                    <a:pt x="127" y="10"/>
                  </a:lnTo>
                  <a:lnTo>
                    <a:pt x="147" y="10"/>
                  </a:lnTo>
                  <a:lnTo>
                    <a:pt x="157" y="0"/>
                  </a:lnTo>
                  <a:lnTo>
                    <a:pt x="166" y="10"/>
                  </a:lnTo>
                  <a:lnTo>
                    <a:pt x="166" y="20"/>
                  </a:lnTo>
                  <a:lnTo>
                    <a:pt x="176" y="30"/>
                  </a:lnTo>
                  <a:lnTo>
                    <a:pt x="186" y="30"/>
                  </a:lnTo>
                  <a:lnTo>
                    <a:pt x="205" y="20"/>
                  </a:lnTo>
                  <a:lnTo>
                    <a:pt x="215" y="30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74" y="49"/>
                  </a:lnTo>
                  <a:lnTo>
                    <a:pt x="283" y="49"/>
                  </a:lnTo>
                  <a:lnTo>
                    <a:pt x="293" y="69"/>
                  </a:lnTo>
                  <a:lnTo>
                    <a:pt x="283" y="78"/>
                  </a:lnTo>
                  <a:lnTo>
                    <a:pt x="274" y="98"/>
                  </a:lnTo>
                  <a:lnTo>
                    <a:pt x="283" y="108"/>
                  </a:lnTo>
                  <a:lnTo>
                    <a:pt x="303" y="108"/>
                  </a:lnTo>
                  <a:lnTo>
                    <a:pt x="322" y="108"/>
                  </a:lnTo>
                  <a:lnTo>
                    <a:pt x="332" y="127"/>
                  </a:lnTo>
                  <a:lnTo>
                    <a:pt x="332" y="137"/>
                  </a:lnTo>
                  <a:lnTo>
                    <a:pt x="322" y="156"/>
                  </a:lnTo>
                  <a:lnTo>
                    <a:pt x="342" y="156"/>
                  </a:lnTo>
                  <a:lnTo>
                    <a:pt x="332" y="176"/>
                  </a:lnTo>
                  <a:lnTo>
                    <a:pt x="332" y="186"/>
                  </a:lnTo>
                  <a:lnTo>
                    <a:pt x="342" y="186"/>
                  </a:lnTo>
                  <a:lnTo>
                    <a:pt x="342" y="21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7" name="Freeform 122"/>
            <p:cNvSpPr>
              <a:spLocks/>
            </p:cNvSpPr>
            <p:nvPr/>
          </p:nvSpPr>
          <p:spPr bwMode="auto">
            <a:xfrm>
              <a:off x="4310" y="3387"/>
              <a:ext cx="343" cy="503"/>
            </a:xfrm>
            <a:custGeom>
              <a:avLst/>
              <a:gdLst>
                <a:gd name="T0" fmla="*/ 20 w 342"/>
                <a:gd name="T1" fmla="*/ 253 h 507"/>
                <a:gd name="T2" fmla="*/ 49 w 342"/>
                <a:gd name="T3" fmla="*/ 274 h 507"/>
                <a:gd name="T4" fmla="*/ 69 w 342"/>
                <a:gd name="T5" fmla="*/ 294 h 507"/>
                <a:gd name="T6" fmla="*/ 88 w 342"/>
                <a:gd name="T7" fmla="*/ 333 h 507"/>
                <a:gd name="T8" fmla="*/ 117 w 342"/>
                <a:gd name="T9" fmla="*/ 352 h 507"/>
                <a:gd name="T10" fmla="*/ 117 w 342"/>
                <a:gd name="T11" fmla="*/ 372 h 507"/>
                <a:gd name="T12" fmla="*/ 98 w 342"/>
                <a:gd name="T13" fmla="*/ 381 h 507"/>
                <a:gd name="T14" fmla="*/ 98 w 342"/>
                <a:gd name="T15" fmla="*/ 401 h 507"/>
                <a:gd name="T16" fmla="*/ 98 w 342"/>
                <a:gd name="T17" fmla="*/ 430 h 507"/>
                <a:gd name="T18" fmla="*/ 108 w 342"/>
                <a:gd name="T19" fmla="*/ 459 h 507"/>
                <a:gd name="T20" fmla="*/ 137 w 342"/>
                <a:gd name="T21" fmla="*/ 498 h 507"/>
                <a:gd name="T22" fmla="*/ 166 w 342"/>
                <a:gd name="T23" fmla="*/ 489 h 507"/>
                <a:gd name="T24" fmla="*/ 206 w 342"/>
                <a:gd name="T25" fmla="*/ 518 h 507"/>
                <a:gd name="T26" fmla="*/ 226 w 342"/>
                <a:gd name="T27" fmla="*/ 518 h 507"/>
                <a:gd name="T28" fmla="*/ 245 w 342"/>
                <a:gd name="T29" fmla="*/ 489 h 507"/>
                <a:gd name="T30" fmla="*/ 275 w 342"/>
                <a:gd name="T31" fmla="*/ 469 h 507"/>
                <a:gd name="T32" fmla="*/ 255 w 342"/>
                <a:gd name="T33" fmla="*/ 450 h 507"/>
                <a:gd name="T34" fmla="*/ 245 w 342"/>
                <a:gd name="T35" fmla="*/ 430 h 507"/>
                <a:gd name="T36" fmla="*/ 265 w 342"/>
                <a:gd name="T37" fmla="*/ 430 h 507"/>
                <a:gd name="T38" fmla="*/ 265 w 342"/>
                <a:gd name="T39" fmla="*/ 401 h 507"/>
                <a:gd name="T40" fmla="*/ 255 w 342"/>
                <a:gd name="T41" fmla="*/ 391 h 507"/>
                <a:gd name="T42" fmla="*/ 275 w 342"/>
                <a:gd name="T43" fmla="*/ 362 h 507"/>
                <a:gd name="T44" fmla="*/ 294 w 342"/>
                <a:gd name="T45" fmla="*/ 333 h 507"/>
                <a:gd name="T46" fmla="*/ 294 w 342"/>
                <a:gd name="T47" fmla="*/ 323 h 507"/>
                <a:gd name="T48" fmla="*/ 294 w 342"/>
                <a:gd name="T49" fmla="*/ 303 h 507"/>
                <a:gd name="T50" fmla="*/ 284 w 342"/>
                <a:gd name="T51" fmla="*/ 294 h 507"/>
                <a:gd name="T52" fmla="*/ 265 w 342"/>
                <a:gd name="T53" fmla="*/ 294 h 507"/>
                <a:gd name="T54" fmla="*/ 255 w 342"/>
                <a:gd name="T55" fmla="*/ 294 h 507"/>
                <a:gd name="T56" fmla="*/ 275 w 342"/>
                <a:gd name="T57" fmla="*/ 253 h 507"/>
                <a:gd name="T58" fmla="*/ 284 w 342"/>
                <a:gd name="T59" fmla="*/ 224 h 507"/>
                <a:gd name="T60" fmla="*/ 275 w 342"/>
                <a:gd name="T61" fmla="*/ 175 h 507"/>
                <a:gd name="T62" fmla="*/ 294 w 342"/>
                <a:gd name="T63" fmla="*/ 165 h 507"/>
                <a:gd name="T64" fmla="*/ 324 w 342"/>
                <a:gd name="T65" fmla="*/ 136 h 507"/>
                <a:gd name="T66" fmla="*/ 353 w 342"/>
                <a:gd name="T67" fmla="*/ 126 h 507"/>
                <a:gd name="T68" fmla="*/ 353 w 342"/>
                <a:gd name="T69" fmla="*/ 107 h 507"/>
                <a:gd name="T70" fmla="*/ 353 w 342"/>
                <a:gd name="T71" fmla="*/ 87 h 507"/>
                <a:gd name="T72" fmla="*/ 324 w 342"/>
                <a:gd name="T73" fmla="*/ 68 h 507"/>
                <a:gd name="T74" fmla="*/ 314 w 342"/>
                <a:gd name="T75" fmla="*/ 39 h 507"/>
                <a:gd name="T76" fmla="*/ 314 w 342"/>
                <a:gd name="T77" fmla="*/ 19 h 507"/>
                <a:gd name="T78" fmla="*/ 294 w 342"/>
                <a:gd name="T79" fmla="*/ 0 h 507"/>
                <a:gd name="T80" fmla="*/ 265 w 342"/>
                <a:gd name="T81" fmla="*/ 19 h 507"/>
                <a:gd name="T82" fmla="*/ 236 w 342"/>
                <a:gd name="T83" fmla="*/ 9 h 507"/>
                <a:gd name="T84" fmla="*/ 187 w 342"/>
                <a:gd name="T85" fmla="*/ 19 h 507"/>
                <a:gd name="T86" fmla="*/ 137 w 342"/>
                <a:gd name="T87" fmla="*/ 9 h 507"/>
                <a:gd name="T88" fmla="*/ 117 w 342"/>
                <a:gd name="T89" fmla="*/ 19 h 507"/>
                <a:gd name="T90" fmla="*/ 98 w 342"/>
                <a:gd name="T91" fmla="*/ 29 h 507"/>
                <a:gd name="T92" fmla="*/ 59 w 342"/>
                <a:gd name="T93" fmla="*/ 39 h 507"/>
                <a:gd name="T94" fmla="*/ 30 w 342"/>
                <a:gd name="T95" fmla="*/ 39 h 507"/>
                <a:gd name="T96" fmla="*/ 10 w 342"/>
                <a:gd name="T97" fmla="*/ 58 h 507"/>
                <a:gd name="T98" fmla="*/ 20 w 342"/>
                <a:gd name="T99" fmla="*/ 78 h 507"/>
                <a:gd name="T100" fmla="*/ 20 w 342"/>
                <a:gd name="T101" fmla="*/ 97 h 507"/>
                <a:gd name="T102" fmla="*/ 10 w 342"/>
                <a:gd name="T103" fmla="*/ 107 h 507"/>
                <a:gd name="T104" fmla="*/ 20 w 342"/>
                <a:gd name="T105" fmla="*/ 136 h 507"/>
                <a:gd name="T106" fmla="*/ 10 w 342"/>
                <a:gd name="T107" fmla="*/ 156 h 507"/>
                <a:gd name="T108" fmla="*/ 20 w 342"/>
                <a:gd name="T109" fmla="*/ 175 h 507"/>
                <a:gd name="T110" fmla="*/ 10 w 342"/>
                <a:gd name="T111" fmla="*/ 185 h 507"/>
                <a:gd name="T112" fmla="*/ 0 w 342"/>
                <a:gd name="T113" fmla="*/ 204 h 507"/>
                <a:gd name="T114" fmla="*/ 20 w 342"/>
                <a:gd name="T115" fmla="*/ 234 h 5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507"/>
                <a:gd name="T176" fmla="*/ 342 w 342"/>
                <a:gd name="T177" fmla="*/ 507 h 5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507">
                  <a:moveTo>
                    <a:pt x="20" y="234"/>
                  </a:moveTo>
                  <a:lnTo>
                    <a:pt x="20" y="253"/>
                  </a:lnTo>
                  <a:lnTo>
                    <a:pt x="39" y="253"/>
                  </a:lnTo>
                  <a:lnTo>
                    <a:pt x="49" y="263"/>
                  </a:lnTo>
                  <a:lnTo>
                    <a:pt x="59" y="283"/>
                  </a:lnTo>
                  <a:lnTo>
                    <a:pt x="69" y="283"/>
                  </a:lnTo>
                  <a:lnTo>
                    <a:pt x="69" y="302"/>
                  </a:lnTo>
                  <a:lnTo>
                    <a:pt x="88" y="322"/>
                  </a:lnTo>
                  <a:lnTo>
                    <a:pt x="98" y="341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08" y="370"/>
                  </a:lnTo>
                  <a:lnTo>
                    <a:pt x="98" y="370"/>
                  </a:lnTo>
                  <a:lnTo>
                    <a:pt x="88" y="380"/>
                  </a:lnTo>
                  <a:lnTo>
                    <a:pt x="98" y="390"/>
                  </a:lnTo>
                  <a:lnTo>
                    <a:pt x="108" y="400"/>
                  </a:lnTo>
                  <a:lnTo>
                    <a:pt x="98" y="419"/>
                  </a:lnTo>
                  <a:lnTo>
                    <a:pt x="98" y="439"/>
                  </a:lnTo>
                  <a:lnTo>
                    <a:pt x="108" y="448"/>
                  </a:lnTo>
                  <a:lnTo>
                    <a:pt x="117" y="468"/>
                  </a:lnTo>
                  <a:lnTo>
                    <a:pt x="137" y="487"/>
                  </a:lnTo>
                  <a:lnTo>
                    <a:pt x="147" y="478"/>
                  </a:lnTo>
                  <a:lnTo>
                    <a:pt x="166" y="478"/>
                  </a:lnTo>
                  <a:lnTo>
                    <a:pt x="186" y="487"/>
                  </a:lnTo>
                  <a:lnTo>
                    <a:pt x="195" y="507"/>
                  </a:lnTo>
                  <a:lnTo>
                    <a:pt x="205" y="507"/>
                  </a:lnTo>
                  <a:lnTo>
                    <a:pt x="215" y="507"/>
                  </a:lnTo>
                  <a:lnTo>
                    <a:pt x="225" y="487"/>
                  </a:lnTo>
                  <a:lnTo>
                    <a:pt x="234" y="478"/>
                  </a:lnTo>
                  <a:lnTo>
                    <a:pt x="244" y="468"/>
                  </a:lnTo>
                  <a:lnTo>
                    <a:pt x="264" y="458"/>
                  </a:lnTo>
                  <a:lnTo>
                    <a:pt x="264" y="448"/>
                  </a:lnTo>
                  <a:lnTo>
                    <a:pt x="244" y="439"/>
                  </a:lnTo>
                  <a:lnTo>
                    <a:pt x="244" y="429"/>
                  </a:lnTo>
                  <a:lnTo>
                    <a:pt x="234" y="419"/>
                  </a:lnTo>
                  <a:lnTo>
                    <a:pt x="244" y="419"/>
                  </a:lnTo>
                  <a:lnTo>
                    <a:pt x="254" y="419"/>
                  </a:lnTo>
                  <a:lnTo>
                    <a:pt x="254" y="409"/>
                  </a:lnTo>
                  <a:lnTo>
                    <a:pt x="254" y="390"/>
                  </a:lnTo>
                  <a:lnTo>
                    <a:pt x="254" y="380"/>
                  </a:lnTo>
                  <a:lnTo>
                    <a:pt x="244" y="380"/>
                  </a:lnTo>
                  <a:lnTo>
                    <a:pt x="244" y="361"/>
                  </a:lnTo>
                  <a:lnTo>
                    <a:pt x="264" y="351"/>
                  </a:lnTo>
                  <a:lnTo>
                    <a:pt x="273" y="351"/>
                  </a:lnTo>
                  <a:lnTo>
                    <a:pt x="283" y="322"/>
                  </a:lnTo>
                  <a:lnTo>
                    <a:pt x="273" y="322"/>
                  </a:lnTo>
                  <a:lnTo>
                    <a:pt x="283" y="312"/>
                  </a:lnTo>
                  <a:lnTo>
                    <a:pt x="283" y="302"/>
                  </a:lnTo>
                  <a:lnTo>
                    <a:pt x="283" y="292"/>
                  </a:lnTo>
                  <a:lnTo>
                    <a:pt x="273" y="292"/>
                  </a:lnTo>
                  <a:lnTo>
                    <a:pt x="273" y="283"/>
                  </a:lnTo>
                  <a:lnTo>
                    <a:pt x="264" y="263"/>
                  </a:lnTo>
                  <a:lnTo>
                    <a:pt x="254" y="283"/>
                  </a:lnTo>
                  <a:lnTo>
                    <a:pt x="244" y="283"/>
                  </a:lnTo>
                  <a:lnTo>
                    <a:pt x="244" y="273"/>
                  </a:lnTo>
                  <a:lnTo>
                    <a:pt x="264" y="253"/>
                  </a:lnTo>
                  <a:lnTo>
                    <a:pt x="264" y="244"/>
                  </a:lnTo>
                  <a:lnTo>
                    <a:pt x="273" y="224"/>
                  </a:lnTo>
                  <a:lnTo>
                    <a:pt x="264" y="185"/>
                  </a:lnTo>
                  <a:lnTo>
                    <a:pt x="264" y="175"/>
                  </a:lnTo>
                  <a:lnTo>
                    <a:pt x="273" y="175"/>
                  </a:lnTo>
                  <a:lnTo>
                    <a:pt x="283" y="165"/>
                  </a:lnTo>
                  <a:lnTo>
                    <a:pt x="293" y="156"/>
                  </a:lnTo>
                  <a:lnTo>
                    <a:pt x="313" y="136"/>
                  </a:lnTo>
                  <a:lnTo>
                    <a:pt x="322" y="126"/>
                  </a:lnTo>
                  <a:lnTo>
                    <a:pt x="342" y="126"/>
                  </a:lnTo>
                  <a:lnTo>
                    <a:pt x="342" y="117"/>
                  </a:lnTo>
                  <a:lnTo>
                    <a:pt x="342" y="107"/>
                  </a:lnTo>
                  <a:lnTo>
                    <a:pt x="342" y="97"/>
                  </a:lnTo>
                  <a:lnTo>
                    <a:pt x="342" y="87"/>
                  </a:lnTo>
                  <a:lnTo>
                    <a:pt x="332" y="78"/>
                  </a:lnTo>
                  <a:lnTo>
                    <a:pt x="313" y="68"/>
                  </a:lnTo>
                  <a:lnTo>
                    <a:pt x="303" y="58"/>
                  </a:lnTo>
                  <a:lnTo>
                    <a:pt x="303" y="39"/>
                  </a:lnTo>
                  <a:lnTo>
                    <a:pt x="303" y="29"/>
                  </a:lnTo>
                  <a:lnTo>
                    <a:pt x="303" y="19"/>
                  </a:lnTo>
                  <a:lnTo>
                    <a:pt x="293" y="9"/>
                  </a:lnTo>
                  <a:lnTo>
                    <a:pt x="283" y="0"/>
                  </a:lnTo>
                  <a:lnTo>
                    <a:pt x="273" y="9"/>
                  </a:lnTo>
                  <a:lnTo>
                    <a:pt x="254" y="19"/>
                  </a:lnTo>
                  <a:lnTo>
                    <a:pt x="234" y="19"/>
                  </a:lnTo>
                  <a:lnTo>
                    <a:pt x="225" y="9"/>
                  </a:lnTo>
                  <a:lnTo>
                    <a:pt x="205" y="19"/>
                  </a:lnTo>
                  <a:lnTo>
                    <a:pt x="176" y="1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19"/>
                  </a:lnTo>
                  <a:lnTo>
                    <a:pt x="117" y="19"/>
                  </a:lnTo>
                  <a:lnTo>
                    <a:pt x="98" y="19"/>
                  </a:lnTo>
                  <a:lnTo>
                    <a:pt x="98" y="29"/>
                  </a:lnTo>
                  <a:lnTo>
                    <a:pt x="88" y="39"/>
                  </a:lnTo>
                  <a:lnTo>
                    <a:pt x="59" y="39"/>
                  </a:lnTo>
                  <a:lnTo>
                    <a:pt x="39" y="39"/>
                  </a:lnTo>
                  <a:lnTo>
                    <a:pt x="30" y="39"/>
                  </a:lnTo>
                  <a:lnTo>
                    <a:pt x="10" y="39"/>
                  </a:lnTo>
                  <a:lnTo>
                    <a:pt x="10" y="58"/>
                  </a:lnTo>
                  <a:lnTo>
                    <a:pt x="10" y="68"/>
                  </a:lnTo>
                  <a:lnTo>
                    <a:pt x="20" y="78"/>
                  </a:lnTo>
                  <a:lnTo>
                    <a:pt x="30" y="87"/>
                  </a:lnTo>
                  <a:lnTo>
                    <a:pt x="20" y="97"/>
                  </a:lnTo>
                  <a:lnTo>
                    <a:pt x="10" y="97"/>
                  </a:lnTo>
                  <a:lnTo>
                    <a:pt x="10" y="107"/>
                  </a:lnTo>
                  <a:lnTo>
                    <a:pt x="30" y="117"/>
                  </a:lnTo>
                  <a:lnTo>
                    <a:pt x="20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10" y="165"/>
                  </a:lnTo>
                  <a:lnTo>
                    <a:pt x="20" y="175"/>
                  </a:lnTo>
                  <a:lnTo>
                    <a:pt x="20" y="185"/>
                  </a:lnTo>
                  <a:lnTo>
                    <a:pt x="10" y="185"/>
                  </a:lnTo>
                  <a:lnTo>
                    <a:pt x="10" y="195"/>
                  </a:lnTo>
                  <a:lnTo>
                    <a:pt x="0" y="204"/>
                  </a:lnTo>
                  <a:lnTo>
                    <a:pt x="10" y="224"/>
                  </a:lnTo>
                  <a:lnTo>
                    <a:pt x="20" y="234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8" name="Freeform 121"/>
            <p:cNvSpPr>
              <a:spLocks/>
            </p:cNvSpPr>
            <p:nvPr/>
          </p:nvSpPr>
          <p:spPr bwMode="auto">
            <a:xfrm>
              <a:off x="4506" y="3796"/>
              <a:ext cx="798" cy="458"/>
            </a:xfrm>
            <a:custGeom>
              <a:avLst/>
              <a:gdLst>
                <a:gd name="T0" fmla="*/ 20 w 800"/>
                <a:gd name="T1" fmla="*/ 215 h 459"/>
                <a:gd name="T2" fmla="*/ 30 w 800"/>
                <a:gd name="T3" fmla="*/ 275 h 459"/>
                <a:gd name="T4" fmla="*/ 69 w 800"/>
                <a:gd name="T5" fmla="*/ 343 h 459"/>
                <a:gd name="T6" fmla="*/ 39 w 800"/>
                <a:gd name="T7" fmla="*/ 333 h 459"/>
                <a:gd name="T8" fmla="*/ 20 w 800"/>
                <a:gd name="T9" fmla="*/ 353 h 459"/>
                <a:gd name="T10" fmla="*/ 39 w 800"/>
                <a:gd name="T11" fmla="*/ 372 h 459"/>
                <a:gd name="T12" fmla="*/ 49 w 800"/>
                <a:gd name="T13" fmla="*/ 392 h 459"/>
                <a:gd name="T14" fmla="*/ 98 w 800"/>
                <a:gd name="T15" fmla="*/ 382 h 459"/>
                <a:gd name="T16" fmla="*/ 147 w 800"/>
                <a:gd name="T17" fmla="*/ 363 h 459"/>
                <a:gd name="T18" fmla="*/ 176 w 800"/>
                <a:gd name="T19" fmla="*/ 363 h 459"/>
                <a:gd name="T20" fmla="*/ 215 w 800"/>
                <a:gd name="T21" fmla="*/ 333 h 459"/>
                <a:gd name="T22" fmla="*/ 264 w 800"/>
                <a:gd name="T23" fmla="*/ 333 h 459"/>
                <a:gd name="T24" fmla="*/ 293 w 800"/>
                <a:gd name="T25" fmla="*/ 333 h 459"/>
                <a:gd name="T26" fmla="*/ 313 w 800"/>
                <a:gd name="T27" fmla="*/ 343 h 459"/>
                <a:gd name="T28" fmla="*/ 322 w 800"/>
                <a:gd name="T29" fmla="*/ 353 h 459"/>
                <a:gd name="T30" fmla="*/ 381 w 800"/>
                <a:gd name="T31" fmla="*/ 363 h 459"/>
                <a:gd name="T32" fmla="*/ 430 w 800"/>
                <a:gd name="T33" fmla="*/ 372 h 459"/>
                <a:gd name="T34" fmla="*/ 469 w 800"/>
                <a:gd name="T35" fmla="*/ 431 h 459"/>
                <a:gd name="T36" fmla="*/ 517 w 800"/>
                <a:gd name="T37" fmla="*/ 450 h 459"/>
                <a:gd name="T38" fmla="*/ 556 w 800"/>
                <a:gd name="T39" fmla="*/ 441 h 459"/>
                <a:gd name="T40" fmla="*/ 586 w 800"/>
                <a:gd name="T41" fmla="*/ 460 h 459"/>
                <a:gd name="T42" fmla="*/ 625 w 800"/>
                <a:gd name="T43" fmla="*/ 450 h 459"/>
                <a:gd name="T44" fmla="*/ 664 w 800"/>
                <a:gd name="T45" fmla="*/ 470 h 459"/>
                <a:gd name="T46" fmla="*/ 713 w 800"/>
                <a:gd name="T47" fmla="*/ 450 h 459"/>
                <a:gd name="T48" fmla="*/ 742 w 800"/>
                <a:gd name="T49" fmla="*/ 411 h 459"/>
                <a:gd name="T50" fmla="*/ 732 w 800"/>
                <a:gd name="T51" fmla="*/ 372 h 459"/>
                <a:gd name="T52" fmla="*/ 713 w 800"/>
                <a:gd name="T53" fmla="*/ 324 h 459"/>
                <a:gd name="T54" fmla="*/ 713 w 800"/>
                <a:gd name="T55" fmla="*/ 275 h 459"/>
                <a:gd name="T56" fmla="*/ 752 w 800"/>
                <a:gd name="T57" fmla="*/ 246 h 459"/>
                <a:gd name="T58" fmla="*/ 791 w 800"/>
                <a:gd name="T59" fmla="*/ 186 h 459"/>
                <a:gd name="T60" fmla="*/ 791 w 800"/>
                <a:gd name="T61" fmla="*/ 137 h 459"/>
                <a:gd name="T62" fmla="*/ 771 w 800"/>
                <a:gd name="T63" fmla="*/ 98 h 459"/>
                <a:gd name="T64" fmla="*/ 791 w 800"/>
                <a:gd name="T65" fmla="*/ 78 h 459"/>
                <a:gd name="T66" fmla="*/ 752 w 800"/>
                <a:gd name="T67" fmla="*/ 78 h 459"/>
                <a:gd name="T68" fmla="*/ 722 w 800"/>
                <a:gd name="T69" fmla="*/ 69 h 459"/>
                <a:gd name="T70" fmla="*/ 674 w 800"/>
                <a:gd name="T71" fmla="*/ 30 h 459"/>
                <a:gd name="T72" fmla="*/ 634 w 800"/>
                <a:gd name="T73" fmla="*/ 10 h 459"/>
                <a:gd name="T74" fmla="*/ 605 w 800"/>
                <a:gd name="T75" fmla="*/ 30 h 459"/>
                <a:gd name="T76" fmla="*/ 566 w 800"/>
                <a:gd name="T77" fmla="*/ 39 h 459"/>
                <a:gd name="T78" fmla="*/ 517 w 800"/>
                <a:gd name="T79" fmla="*/ 39 h 459"/>
                <a:gd name="T80" fmla="*/ 478 w 800"/>
                <a:gd name="T81" fmla="*/ 39 h 459"/>
                <a:gd name="T82" fmla="*/ 459 w 800"/>
                <a:gd name="T83" fmla="*/ 88 h 459"/>
                <a:gd name="T84" fmla="*/ 400 w 800"/>
                <a:gd name="T85" fmla="*/ 127 h 459"/>
                <a:gd name="T86" fmla="*/ 361 w 800"/>
                <a:gd name="T87" fmla="*/ 166 h 459"/>
                <a:gd name="T88" fmla="*/ 303 w 800"/>
                <a:gd name="T89" fmla="*/ 196 h 459"/>
                <a:gd name="T90" fmla="*/ 235 w 800"/>
                <a:gd name="T91" fmla="*/ 186 h 459"/>
                <a:gd name="T92" fmla="*/ 166 w 800"/>
                <a:gd name="T93" fmla="*/ 166 h 459"/>
                <a:gd name="T94" fmla="*/ 127 w 800"/>
                <a:gd name="T95" fmla="*/ 137 h 459"/>
                <a:gd name="T96" fmla="*/ 108 w 800"/>
                <a:gd name="T97" fmla="*/ 166 h 459"/>
                <a:gd name="T98" fmla="*/ 49 w 800"/>
                <a:gd name="T99" fmla="*/ 176 h 459"/>
                <a:gd name="T100" fmla="*/ 10 w 800"/>
                <a:gd name="T101" fmla="*/ 166 h 459"/>
                <a:gd name="T102" fmla="*/ 10 w 800"/>
                <a:gd name="T103" fmla="*/ 196 h 45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00"/>
                <a:gd name="T157" fmla="*/ 0 h 459"/>
                <a:gd name="T158" fmla="*/ 800 w 800"/>
                <a:gd name="T159" fmla="*/ 459 h 45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00" h="459">
                  <a:moveTo>
                    <a:pt x="10" y="196"/>
                  </a:moveTo>
                  <a:lnTo>
                    <a:pt x="10" y="205"/>
                  </a:lnTo>
                  <a:lnTo>
                    <a:pt x="20" y="215"/>
                  </a:lnTo>
                  <a:lnTo>
                    <a:pt x="10" y="235"/>
                  </a:lnTo>
                  <a:lnTo>
                    <a:pt x="10" y="254"/>
                  </a:lnTo>
                  <a:lnTo>
                    <a:pt x="30" y="264"/>
                  </a:lnTo>
                  <a:lnTo>
                    <a:pt x="49" y="283"/>
                  </a:lnTo>
                  <a:lnTo>
                    <a:pt x="69" y="313"/>
                  </a:lnTo>
                  <a:lnTo>
                    <a:pt x="69" y="332"/>
                  </a:lnTo>
                  <a:lnTo>
                    <a:pt x="59" y="332"/>
                  </a:lnTo>
                  <a:lnTo>
                    <a:pt x="49" y="322"/>
                  </a:lnTo>
                  <a:lnTo>
                    <a:pt x="39" y="322"/>
                  </a:lnTo>
                  <a:lnTo>
                    <a:pt x="39" y="332"/>
                  </a:lnTo>
                  <a:lnTo>
                    <a:pt x="20" y="342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39" y="371"/>
                  </a:lnTo>
                  <a:lnTo>
                    <a:pt x="39" y="381"/>
                  </a:lnTo>
                  <a:lnTo>
                    <a:pt x="49" y="381"/>
                  </a:lnTo>
                  <a:lnTo>
                    <a:pt x="69" y="381"/>
                  </a:lnTo>
                  <a:lnTo>
                    <a:pt x="88" y="381"/>
                  </a:lnTo>
                  <a:lnTo>
                    <a:pt x="98" y="371"/>
                  </a:lnTo>
                  <a:lnTo>
                    <a:pt x="118" y="361"/>
                  </a:lnTo>
                  <a:lnTo>
                    <a:pt x="127" y="361"/>
                  </a:lnTo>
                  <a:lnTo>
                    <a:pt x="147" y="352"/>
                  </a:lnTo>
                  <a:lnTo>
                    <a:pt x="157" y="342"/>
                  </a:lnTo>
                  <a:lnTo>
                    <a:pt x="166" y="342"/>
                  </a:lnTo>
                  <a:lnTo>
                    <a:pt x="176" y="352"/>
                  </a:lnTo>
                  <a:lnTo>
                    <a:pt x="196" y="342"/>
                  </a:lnTo>
                  <a:lnTo>
                    <a:pt x="205" y="332"/>
                  </a:lnTo>
                  <a:lnTo>
                    <a:pt x="215" y="322"/>
                  </a:lnTo>
                  <a:lnTo>
                    <a:pt x="235" y="322"/>
                  </a:lnTo>
                  <a:lnTo>
                    <a:pt x="254" y="322"/>
                  </a:lnTo>
                  <a:lnTo>
                    <a:pt x="264" y="322"/>
                  </a:lnTo>
                  <a:lnTo>
                    <a:pt x="274" y="313"/>
                  </a:lnTo>
                  <a:lnTo>
                    <a:pt x="283" y="313"/>
                  </a:lnTo>
                  <a:lnTo>
                    <a:pt x="293" y="322"/>
                  </a:lnTo>
                  <a:lnTo>
                    <a:pt x="313" y="313"/>
                  </a:lnTo>
                  <a:lnTo>
                    <a:pt x="313" y="322"/>
                  </a:lnTo>
                  <a:lnTo>
                    <a:pt x="313" y="332"/>
                  </a:lnTo>
                  <a:lnTo>
                    <a:pt x="303" y="342"/>
                  </a:lnTo>
                  <a:lnTo>
                    <a:pt x="313" y="342"/>
                  </a:lnTo>
                  <a:lnTo>
                    <a:pt x="322" y="342"/>
                  </a:lnTo>
                  <a:lnTo>
                    <a:pt x="332" y="352"/>
                  </a:lnTo>
                  <a:lnTo>
                    <a:pt x="361" y="352"/>
                  </a:lnTo>
                  <a:lnTo>
                    <a:pt x="381" y="352"/>
                  </a:lnTo>
                  <a:lnTo>
                    <a:pt x="400" y="361"/>
                  </a:lnTo>
                  <a:lnTo>
                    <a:pt x="420" y="361"/>
                  </a:lnTo>
                  <a:lnTo>
                    <a:pt x="430" y="361"/>
                  </a:lnTo>
                  <a:lnTo>
                    <a:pt x="430" y="381"/>
                  </a:lnTo>
                  <a:lnTo>
                    <a:pt x="449" y="410"/>
                  </a:lnTo>
                  <a:lnTo>
                    <a:pt x="469" y="420"/>
                  </a:lnTo>
                  <a:lnTo>
                    <a:pt x="478" y="420"/>
                  </a:lnTo>
                  <a:lnTo>
                    <a:pt x="498" y="430"/>
                  </a:lnTo>
                  <a:lnTo>
                    <a:pt x="517" y="439"/>
                  </a:lnTo>
                  <a:lnTo>
                    <a:pt x="537" y="430"/>
                  </a:lnTo>
                  <a:lnTo>
                    <a:pt x="537" y="420"/>
                  </a:lnTo>
                  <a:lnTo>
                    <a:pt x="556" y="430"/>
                  </a:lnTo>
                  <a:lnTo>
                    <a:pt x="566" y="430"/>
                  </a:lnTo>
                  <a:lnTo>
                    <a:pt x="576" y="439"/>
                  </a:lnTo>
                  <a:lnTo>
                    <a:pt x="586" y="449"/>
                  </a:lnTo>
                  <a:lnTo>
                    <a:pt x="595" y="439"/>
                  </a:lnTo>
                  <a:lnTo>
                    <a:pt x="605" y="439"/>
                  </a:lnTo>
                  <a:lnTo>
                    <a:pt x="625" y="439"/>
                  </a:lnTo>
                  <a:lnTo>
                    <a:pt x="644" y="449"/>
                  </a:lnTo>
                  <a:lnTo>
                    <a:pt x="644" y="459"/>
                  </a:lnTo>
                  <a:lnTo>
                    <a:pt x="664" y="459"/>
                  </a:lnTo>
                  <a:lnTo>
                    <a:pt x="674" y="459"/>
                  </a:lnTo>
                  <a:lnTo>
                    <a:pt x="693" y="439"/>
                  </a:lnTo>
                  <a:lnTo>
                    <a:pt x="713" y="439"/>
                  </a:lnTo>
                  <a:lnTo>
                    <a:pt x="732" y="420"/>
                  </a:lnTo>
                  <a:lnTo>
                    <a:pt x="752" y="410"/>
                  </a:lnTo>
                  <a:lnTo>
                    <a:pt x="742" y="400"/>
                  </a:lnTo>
                  <a:lnTo>
                    <a:pt x="732" y="391"/>
                  </a:lnTo>
                  <a:lnTo>
                    <a:pt x="732" y="381"/>
                  </a:lnTo>
                  <a:lnTo>
                    <a:pt x="732" y="361"/>
                  </a:lnTo>
                  <a:lnTo>
                    <a:pt x="722" y="352"/>
                  </a:lnTo>
                  <a:lnTo>
                    <a:pt x="722" y="332"/>
                  </a:lnTo>
                  <a:lnTo>
                    <a:pt x="713" y="313"/>
                  </a:lnTo>
                  <a:lnTo>
                    <a:pt x="713" y="303"/>
                  </a:lnTo>
                  <a:lnTo>
                    <a:pt x="713" y="293"/>
                  </a:lnTo>
                  <a:lnTo>
                    <a:pt x="713" y="264"/>
                  </a:lnTo>
                  <a:lnTo>
                    <a:pt x="732" y="264"/>
                  </a:lnTo>
                  <a:lnTo>
                    <a:pt x="742" y="244"/>
                  </a:lnTo>
                  <a:lnTo>
                    <a:pt x="752" y="235"/>
                  </a:lnTo>
                  <a:lnTo>
                    <a:pt x="781" y="225"/>
                  </a:lnTo>
                  <a:lnTo>
                    <a:pt x="781" y="205"/>
                  </a:lnTo>
                  <a:lnTo>
                    <a:pt x="791" y="186"/>
                  </a:lnTo>
                  <a:lnTo>
                    <a:pt x="771" y="166"/>
                  </a:lnTo>
                  <a:lnTo>
                    <a:pt x="781" y="156"/>
                  </a:lnTo>
                  <a:lnTo>
                    <a:pt x="791" y="137"/>
                  </a:lnTo>
                  <a:lnTo>
                    <a:pt x="781" y="117"/>
                  </a:lnTo>
                  <a:lnTo>
                    <a:pt x="771" y="108"/>
                  </a:lnTo>
                  <a:lnTo>
                    <a:pt x="771" y="98"/>
                  </a:lnTo>
                  <a:lnTo>
                    <a:pt x="791" y="108"/>
                  </a:lnTo>
                  <a:lnTo>
                    <a:pt x="800" y="98"/>
                  </a:lnTo>
                  <a:lnTo>
                    <a:pt x="791" y="78"/>
                  </a:lnTo>
                  <a:lnTo>
                    <a:pt x="771" y="78"/>
                  </a:lnTo>
                  <a:lnTo>
                    <a:pt x="761" y="78"/>
                  </a:lnTo>
                  <a:lnTo>
                    <a:pt x="752" y="78"/>
                  </a:lnTo>
                  <a:lnTo>
                    <a:pt x="732" y="88"/>
                  </a:lnTo>
                  <a:lnTo>
                    <a:pt x="732" y="69"/>
                  </a:lnTo>
                  <a:lnTo>
                    <a:pt x="722" y="69"/>
                  </a:lnTo>
                  <a:lnTo>
                    <a:pt x="693" y="49"/>
                  </a:lnTo>
                  <a:lnTo>
                    <a:pt x="674" y="39"/>
                  </a:lnTo>
                  <a:lnTo>
                    <a:pt x="674" y="30"/>
                  </a:lnTo>
                  <a:lnTo>
                    <a:pt x="664" y="10"/>
                  </a:lnTo>
                  <a:lnTo>
                    <a:pt x="644" y="0"/>
                  </a:lnTo>
                  <a:lnTo>
                    <a:pt x="634" y="10"/>
                  </a:lnTo>
                  <a:lnTo>
                    <a:pt x="625" y="10"/>
                  </a:lnTo>
                  <a:lnTo>
                    <a:pt x="625" y="20"/>
                  </a:lnTo>
                  <a:lnTo>
                    <a:pt x="605" y="30"/>
                  </a:lnTo>
                  <a:lnTo>
                    <a:pt x="586" y="30"/>
                  </a:lnTo>
                  <a:lnTo>
                    <a:pt x="576" y="39"/>
                  </a:lnTo>
                  <a:lnTo>
                    <a:pt x="566" y="39"/>
                  </a:lnTo>
                  <a:lnTo>
                    <a:pt x="556" y="30"/>
                  </a:lnTo>
                  <a:lnTo>
                    <a:pt x="537" y="30"/>
                  </a:lnTo>
                  <a:lnTo>
                    <a:pt x="517" y="39"/>
                  </a:lnTo>
                  <a:lnTo>
                    <a:pt x="508" y="30"/>
                  </a:lnTo>
                  <a:lnTo>
                    <a:pt x="488" y="39"/>
                  </a:lnTo>
                  <a:lnTo>
                    <a:pt x="478" y="39"/>
                  </a:lnTo>
                  <a:lnTo>
                    <a:pt x="478" y="69"/>
                  </a:lnTo>
                  <a:lnTo>
                    <a:pt x="469" y="78"/>
                  </a:lnTo>
                  <a:lnTo>
                    <a:pt x="459" y="88"/>
                  </a:lnTo>
                  <a:lnTo>
                    <a:pt x="439" y="88"/>
                  </a:lnTo>
                  <a:lnTo>
                    <a:pt x="420" y="108"/>
                  </a:lnTo>
                  <a:lnTo>
                    <a:pt x="400" y="127"/>
                  </a:lnTo>
                  <a:lnTo>
                    <a:pt x="400" y="137"/>
                  </a:lnTo>
                  <a:lnTo>
                    <a:pt x="391" y="156"/>
                  </a:lnTo>
                  <a:lnTo>
                    <a:pt x="361" y="166"/>
                  </a:lnTo>
                  <a:lnTo>
                    <a:pt x="332" y="166"/>
                  </a:lnTo>
                  <a:lnTo>
                    <a:pt x="313" y="186"/>
                  </a:lnTo>
                  <a:lnTo>
                    <a:pt x="303" y="196"/>
                  </a:lnTo>
                  <a:lnTo>
                    <a:pt x="274" y="196"/>
                  </a:lnTo>
                  <a:lnTo>
                    <a:pt x="254" y="186"/>
                  </a:lnTo>
                  <a:lnTo>
                    <a:pt x="235" y="186"/>
                  </a:lnTo>
                  <a:lnTo>
                    <a:pt x="215" y="176"/>
                  </a:lnTo>
                  <a:lnTo>
                    <a:pt x="196" y="166"/>
                  </a:lnTo>
                  <a:lnTo>
                    <a:pt x="166" y="166"/>
                  </a:lnTo>
                  <a:lnTo>
                    <a:pt x="157" y="156"/>
                  </a:lnTo>
                  <a:lnTo>
                    <a:pt x="147" y="137"/>
                  </a:lnTo>
                  <a:lnTo>
                    <a:pt x="127" y="137"/>
                  </a:lnTo>
                  <a:lnTo>
                    <a:pt x="108" y="137"/>
                  </a:lnTo>
                  <a:lnTo>
                    <a:pt x="108" y="16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49" y="176"/>
                  </a:lnTo>
                  <a:lnTo>
                    <a:pt x="39" y="176"/>
                  </a:lnTo>
                  <a:lnTo>
                    <a:pt x="39" y="166"/>
                  </a:lnTo>
                  <a:lnTo>
                    <a:pt x="10" y="16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10" y="196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9" name="Freeform 120"/>
            <p:cNvSpPr>
              <a:spLocks/>
            </p:cNvSpPr>
            <p:nvPr/>
          </p:nvSpPr>
          <p:spPr bwMode="auto">
            <a:xfrm>
              <a:off x="4448" y="2059"/>
              <a:ext cx="1074" cy="1934"/>
            </a:xfrm>
            <a:custGeom>
              <a:avLst/>
              <a:gdLst>
                <a:gd name="T0" fmla="*/ 429 w 1073"/>
                <a:gd name="T1" fmla="*/ 253 h 1932"/>
                <a:gd name="T2" fmla="*/ 351 w 1073"/>
                <a:gd name="T3" fmla="*/ 448 h 1932"/>
                <a:gd name="T4" fmla="*/ 429 w 1073"/>
                <a:gd name="T5" fmla="*/ 478 h 1932"/>
                <a:gd name="T6" fmla="*/ 497 w 1073"/>
                <a:gd name="T7" fmla="*/ 546 h 1932"/>
                <a:gd name="T8" fmla="*/ 468 w 1073"/>
                <a:gd name="T9" fmla="*/ 673 h 1932"/>
                <a:gd name="T10" fmla="*/ 371 w 1073"/>
                <a:gd name="T11" fmla="*/ 839 h 1932"/>
                <a:gd name="T12" fmla="*/ 458 w 1073"/>
                <a:gd name="T13" fmla="*/ 907 h 1932"/>
                <a:gd name="T14" fmla="*/ 507 w 1073"/>
                <a:gd name="T15" fmla="*/ 868 h 1932"/>
                <a:gd name="T16" fmla="*/ 595 w 1073"/>
                <a:gd name="T17" fmla="*/ 897 h 1932"/>
                <a:gd name="T18" fmla="*/ 624 w 1073"/>
                <a:gd name="T19" fmla="*/ 1064 h 1932"/>
                <a:gd name="T20" fmla="*/ 732 w 1073"/>
                <a:gd name="T21" fmla="*/ 1084 h 1932"/>
                <a:gd name="T22" fmla="*/ 878 w 1073"/>
                <a:gd name="T23" fmla="*/ 1055 h 1932"/>
                <a:gd name="T24" fmla="*/ 1034 w 1073"/>
                <a:gd name="T25" fmla="*/ 1084 h 1932"/>
                <a:gd name="T26" fmla="*/ 1034 w 1073"/>
                <a:gd name="T27" fmla="*/ 1211 h 1932"/>
                <a:gd name="T28" fmla="*/ 966 w 1073"/>
                <a:gd name="T29" fmla="*/ 1279 h 1932"/>
                <a:gd name="T30" fmla="*/ 936 w 1073"/>
                <a:gd name="T31" fmla="*/ 1289 h 1932"/>
                <a:gd name="T32" fmla="*/ 868 w 1073"/>
                <a:gd name="T33" fmla="*/ 1308 h 1932"/>
                <a:gd name="T34" fmla="*/ 761 w 1073"/>
                <a:gd name="T35" fmla="*/ 1396 h 1932"/>
                <a:gd name="T36" fmla="*/ 751 w 1073"/>
                <a:gd name="T37" fmla="*/ 1464 h 1932"/>
                <a:gd name="T38" fmla="*/ 692 w 1073"/>
                <a:gd name="T39" fmla="*/ 1562 h 1932"/>
                <a:gd name="T40" fmla="*/ 683 w 1073"/>
                <a:gd name="T41" fmla="*/ 1650 h 1932"/>
                <a:gd name="T42" fmla="*/ 614 w 1073"/>
                <a:gd name="T43" fmla="*/ 1669 h 1932"/>
                <a:gd name="T44" fmla="*/ 634 w 1073"/>
                <a:gd name="T45" fmla="*/ 1786 h 1932"/>
                <a:gd name="T46" fmla="*/ 546 w 1073"/>
                <a:gd name="T47" fmla="*/ 1786 h 1932"/>
                <a:gd name="T48" fmla="*/ 458 w 1073"/>
                <a:gd name="T49" fmla="*/ 1884 h 1932"/>
                <a:gd name="T50" fmla="*/ 312 w 1073"/>
                <a:gd name="T51" fmla="*/ 1933 h 1932"/>
                <a:gd name="T52" fmla="*/ 205 w 1073"/>
                <a:gd name="T53" fmla="*/ 1874 h 1932"/>
                <a:gd name="T54" fmla="*/ 283 w 1073"/>
                <a:gd name="T55" fmla="*/ 1816 h 1932"/>
                <a:gd name="T56" fmla="*/ 312 w 1073"/>
                <a:gd name="T57" fmla="*/ 1728 h 1932"/>
                <a:gd name="T58" fmla="*/ 312 w 1073"/>
                <a:gd name="T59" fmla="*/ 1621 h 1932"/>
                <a:gd name="T60" fmla="*/ 283 w 1073"/>
                <a:gd name="T61" fmla="*/ 1572 h 1932"/>
                <a:gd name="T62" fmla="*/ 224 w 1073"/>
                <a:gd name="T63" fmla="*/ 1533 h 1932"/>
                <a:gd name="T64" fmla="*/ 166 w 1073"/>
                <a:gd name="T65" fmla="*/ 1542 h 1932"/>
                <a:gd name="T66" fmla="*/ 205 w 1073"/>
                <a:gd name="T67" fmla="*/ 1464 h 1932"/>
                <a:gd name="T68" fmla="*/ 166 w 1073"/>
                <a:gd name="T69" fmla="*/ 1396 h 1932"/>
                <a:gd name="T70" fmla="*/ 166 w 1073"/>
                <a:gd name="T71" fmla="*/ 1299 h 1932"/>
                <a:gd name="T72" fmla="*/ 215 w 1073"/>
                <a:gd name="T73" fmla="*/ 1260 h 1932"/>
                <a:gd name="T74" fmla="*/ 156 w 1073"/>
                <a:gd name="T75" fmla="*/ 1172 h 1932"/>
                <a:gd name="T76" fmla="*/ 205 w 1073"/>
                <a:gd name="T77" fmla="*/ 1064 h 1932"/>
                <a:gd name="T78" fmla="*/ 136 w 1073"/>
                <a:gd name="T79" fmla="*/ 986 h 1932"/>
                <a:gd name="T80" fmla="*/ 0 w 1073"/>
                <a:gd name="T81" fmla="*/ 936 h 1932"/>
                <a:gd name="T82" fmla="*/ 10 w 1073"/>
                <a:gd name="T83" fmla="*/ 839 h 1932"/>
                <a:gd name="T84" fmla="*/ 97 w 1073"/>
                <a:gd name="T85" fmla="*/ 761 h 1932"/>
                <a:gd name="T86" fmla="*/ 117 w 1073"/>
                <a:gd name="T87" fmla="*/ 624 h 1932"/>
                <a:gd name="T88" fmla="*/ 136 w 1073"/>
                <a:gd name="T89" fmla="*/ 556 h 1932"/>
                <a:gd name="T90" fmla="*/ 185 w 1073"/>
                <a:gd name="T91" fmla="*/ 478 h 1932"/>
                <a:gd name="T92" fmla="*/ 156 w 1073"/>
                <a:gd name="T93" fmla="*/ 390 h 1932"/>
                <a:gd name="T94" fmla="*/ 136 w 1073"/>
                <a:gd name="T95" fmla="*/ 322 h 1932"/>
                <a:gd name="T96" fmla="*/ 107 w 1073"/>
                <a:gd name="T97" fmla="*/ 273 h 1932"/>
                <a:gd name="T98" fmla="*/ 97 w 1073"/>
                <a:gd name="T99" fmla="*/ 195 h 1932"/>
                <a:gd name="T100" fmla="*/ 88 w 1073"/>
                <a:gd name="T101" fmla="*/ 97 h 1932"/>
                <a:gd name="T102" fmla="*/ 127 w 1073"/>
                <a:gd name="T103" fmla="*/ 19 h 1932"/>
                <a:gd name="T104" fmla="*/ 215 w 1073"/>
                <a:gd name="T105" fmla="*/ 127 h 1932"/>
                <a:gd name="T106" fmla="*/ 283 w 1073"/>
                <a:gd name="T107" fmla="*/ 58 h 1932"/>
                <a:gd name="T108" fmla="*/ 439 w 1073"/>
                <a:gd name="T109" fmla="*/ 166 h 19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3"/>
                <a:gd name="T166" fmla="*/ 0 h 1932"/>
                <a:gd name="T167" fmla="*/ 1073 w 1073"/>
                <a:gd name="T168" fmla="*/ 1932 h 19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3" h="1932">
                  <a:moveTo>
                    <a:pt x="507" y="166"/>
                  </a:moveTo>
                  <a:lnTo>
                    <a:pt x="497" y="175"/>
                  </a:lnTo>
                  <a:lnTo>
                    <a:pt x="488" y="195"/>
                  </a:lnTo>
                  <a:lnTo>
                    <a:pt x="478" y="214"/>
                  </a:lnTo>
                  <a:lnTo>
                    <a:pt x="458" y="224"/>
                  </a:lnTo>
                  <a:lnTo>
                    <a:pt x="439" y="244"/>
                  </a:lnTo>
                  <a:lnTo>
                    <a:pt x="429" y="253"/>
                  </a:lnTo>
                  <a:lnTo>
                    <a:pt x="400" y="263"/>
                  </a:lnTo>
                  <a:lnTo>
                    <a:pt x="390" y="273"/>
                  </a:lnTo>
                  <a:lnTo>
                    <a:pt x="380" y="312"/>
                  </a:lnTo>
                  <a:lnTo>
                    <a:pt x="351" y="322"/>
                  </a:lnTo>
                  <a:lnTo>
                    <a:pt x="341" y="361"/>
                  </a:lnTo>
                  <a:lnTo>
                    <a:pt x="371" y="370"/>
                  </a:lnTo>
                  <a:lnTo>
                    <a:pt x="351" y="448"/>
                  </a:lnTo>
                  <a:lnTo>
                    <a:pt x="371" y="458"/>
                  </a:lnTo>
                  <a:lnTo>
                    <a:pt x="400" y="468"/>
                  </a:lnTo>
                  <a:lnTo>
                    <a:pt x="410" y="468"/>
                  </a:lnTo>
                  <a:lnTo>
                    <a:pt x="410" y="478"/>
                  </a:lnTo>
                  <a:lnTo>
                    <a:pt x="410" y="497"/>
                  </a:lnTo>
                  <a:lnTo>
                    <a:pt x="419" y="488"/>
                  </a:lnTo>
                  <a:lnTo>
                    <a:pt x="429" y="478"/>
                  </a:lnTo>
                  <a:lnTo>
                    <a:pt x="439" y="478"/>
                  </a:lnTo>
                  <a:lnTo>
                    <a:pt x="439" y="497"/>
                  </a:lnTo>
                  <a:lnTo>
                    <a:pt x="449" y="507"/>
                  </a:lnTo>
                  <a:lnTo>
                    <a:pt x="458" y="507"/>
                  </a:lnTo>
                  <a:lnTo>
                    <a:pt x="478" y="507"/>
                  </a:lnTo>
                  <a:lnTo>
                    <a:pt x="488" y="527"/>
                  </a:lnTo>
                  <a:lnTo>
                    <a:pt x="497" y="546"/>
                  </a:lnTo>
                  <a:lnTo>
                    <a:pt x="497" y="566"/>
                  </a:lnTo>
                  <a:lnTo>
                    <a:pt x="488" y="585"/>
                  </a:lnTo>
                  <a:lnTo>
                    <a:pt x="468" y="605"/>
                  </a:lnTo>
                  <a:lnTo>
                    <a:pt x="468" y="614"/>
                  </a:lnTo>
                  <a:lnTo>
                    <a:pt x="478" y="614"/>
                  </a:lnTo>
                  <a:lnTo>
                    <a:pt x="478" y="634"/>
                  </a:lnTo>
                  <a:lnTo>
                    <a:pt x="468" y="673"/>
                  </a:lnTo>
                  <a:lnTo>
                    <a:pt x="439" y="683"/>
                  </a:lnTo>
                  <a:lnTo>
                    <a:pt x="419" y="702"/>
                  </a:lnTo>
                  <a:lnTo>
                    <a:pt x="410" y="722"/>
                  </a:lnTo>
                  <a:lnTo>
                    <a:pt x="351" y="741"/>
                  </a:lnTo>
                  <a:lnTo>
                    <a:pt x="400" y="780"/>
                  </a:lnTo>
                  <a:lnTo>
                    <a:pt x="390" y="809"/>
                  </a:lnTo>
                  <a:lnTo>
                    <a:pt x="371" y="839"/>
                  </a:lnTo>
                  <a:lnTo>
                    <a:pt x="390" y="888"/>
                  </a:lnTo>
                  <a:lnTo>
                    <a:pt x="410" y="897"/>
                  </a:lnTo>
                  <a:lnTo>
                    <a:pt x="419" y="917"/>
                  </a:lnTo>
                  <a:lnTo>
                    <a:pt x="419" y="927"/>
                  </a:lnTo>
                  <a:lnTo>
                    <a:pt x="439" y="927"/>
                  </a:lnTo>
                  <a:lnTo>
                    <a:pt x="449" y="917"/>
                  </a:lnTo>
                  <a:lnTo>
                    <a:pt x="458" y="907"/>
                  </a:lnTo>
                  <a:lnTo>
                    <a:pt x="478" y="897"/>
                  </a:lnTo>
                  <a:lnTo>
                    <a:pt x="478" y="907"/>
                  </a:lnTo>
                  <a:lnTo>
                    <a:pt x="488" y="897"/>
                  </a:lnTo>
                  <a:lnTo>
                    <a:pt x="488" y="888"/>
                  </a:lnTo>
                  <a:lnTo>
                    <a:pt x="497" y="888"/>
                  </a:lnTo>
                  <a:lnTo>
                    <a:pt x="507" y="888"/>
                  </a:lnTo>
                  <a:lnTo>
                    <a:pt x="507" y="868"/>
                  </a:lnTo>
                  <a:lnTo>
                    <a:pt x="517" y="858"/>
                  </a:lnTo>
                  <a:lnTo>
                    <a:pt x="536" y="858"/>
                  </a:lnTo>
                  <a:lnTo>
                    <a:pt x="527" y="878"/>
                  </a:lnTo>
                  <a:lnTo>
                    <a:pt x="527" y="888"/>
                  </a:lnTo>
                  <a:lnTo>
                    <a:pt x="546" y="888"/>
                  </a:lnTo>
                  <a:lnTo>
                    <a:pt x="575" y="897"/>
                  </a:lnTo>
                  <a:lnTo>
                    <a:pt x="595" y="89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44" y="936"/>
                  </a:lnTo>
                  <a:lnTo>
                    <a:pt x="644" y="956"/>
                  </a:lnTo>
                  <a:lnTo>
                    <a:pt x="634" y="985"/>
                  </a:lnTo>
                  <a:lnTo>
                    <a:pt x="624" y="995"/>
                  </a:lnTo>
                  <a:lnTo>
                    <a:pt x="624" y="1053"/>
                  </a:lnTo>
                  <a:lnTo>
                    <a:pt x="624" y="1063"/>
                  </a:lnTo>
                  <a:lnTo>
                    <a:pt x="644" y="1053"/>
                  </a:lnTo>
                  <a:lnTo>
                    <a:pt x="653" y="1073"/>
                  </a:lnTo>
                  <a:lnTo>
                    <a:pt x="663" y="1063"/>
                  </a:lnTo>
                  <a:lnTo>
                    <a:pt x="683" y="1063"/>
                  </a:lnTo>
                  <a:lnTo>
                    <a:pt x="683" y="1073"/>
                  </a:lnTo>
                  <a:lnTo>
                    <a:pt x="732" y="1073"/>
                  </a:lnTo>
                  <a:lnTo>
                    <a:pt x="751" y="1063"/>
                  </a:lnTo>
                  <a:lnTo>
                    <a:pt x="761" y="1053"/>
                  </a:lnTo>
                  <a:lnTo>
                    <a:pt x="780" y="1053"/>
                  </a:lnTo>
                  <a:lnTo>
                    <a:pt x="800" y="1053"/>
                  </a:lnTo>
                  <a:lnTo>
                    <a:pt x="829" y="1053"/>
                  </a:lnTo>
                  <a:lnTo>
                    <a:pt x="858" y="1053"/>
                  </a:lnTo>
                  <a:lnTo>
                    <a:pt x="878" y="1044"/>
                  </a:lnTo>
                  <a:lnTo>
                    <a:pt x="888" y="1024"/>
                  </a:lnTo>
                  <a:lnTo>
                    <a:pt x="897" y="1024"/>
                  </a:lnTo>
                  <a:lnTo>
                    <a:pt x="936" y="1053"/>
                  </a:lnTo>
                  <a:lnTo>
                    <a:pt x="966" y="1053"/>
                  </a:lnTo>
                  <a:lnTo>
                    <a:pt x="995" y="1053"/>
                  </a:lnTo>
                  <a:lnTo>
                    <a:pt x="1024" y="1063"/>
                  </a:lnTo>
                  <a:lnTo>
                    <a:pt x="1034" y="1073"/>
                  </a:lnTo>
                  <a:lnTo>
                    <a:pt x="1053" y="1063"/>
                  </a:lnTo>
                  <a:lnTo>
                    <a:pt x="1063" y="1073"/>
                  </a:lnTo>
                  <a:lnTo>
                    <a:pt x="1063" y="1092"/>
                  </a:lnTo>
                  <a:lnTo>
                    <a:pt x="1053" y="1112"/>
                  </a:lnTo>
                  <a:lnTo>
                    <a:pt x="1073" y="1161"/>
                  </a:lnTo>
                  <a:lnTo>
                    <a:pt x="1063" y="1180"/>
                  </a:lnTo>
                  <a:lnTo>
                    <a:pt x="1034" y="1200"/>
                  </a:lnTo>
                  <a:lnTo>
                    <a:pt x="1024" y="1200"/>
                  </a:lnTo>
                  <a:lnTo>
                    <a:pt x="1005" y="1229"/>
                  </a:lnTo>
                  <a:lnTo>
                    <a:pt x="995" y="1229"/>
                  </a:lnTo>
                  <a:lnTo>
                    <a:pt x="985" y="1239"/>
                  </a:lnTo>
                  <a:lnTo>
                    <a:pt x="985" y="1249"/>
                  </a:lnTo>
                  <a:lnTo>
                    <a:pt x="985" y="1268"/>
                  </a:lnTo>
                  <a:lnTo>
                    <a:pt x="966" y="1268"/>
                  </a:lnTo>
                  <a:lnTo>
                    <a:pt x="975" y="1278"/>
                  </a:lnTo>
                  <a:lnTo>
                    <a:pt x="975" y="1297"/>
                  </a:lnTo>
                  <a:lnTo>
                    <a:pt x="985" y="1307"/>
                  </a:lnTo>
                  <a:lnTo>
                    <a:pt x="985" y="1317"/>
                  </a:lnTo>
                  <a:lnTo>
                    <a:pt x="975" y="1317"/>
                  </a:lnTo>
                  <a:lnTo>
                    <a:pt x="936" y="1307"/>
                  </a:lnTo>
                  <a:lnTo>
                    <a:pt x="936" y="1278"/>
                  </a:lnTo>
                  <a:lnTo>
                    <a:pt x="927" y="1278"/>
                  </a:lnTo>
                  <a:lnTo>
                    <a:pt x="927" y="1268"/>
                  </a:lnTo>
                  <a:lnTo>
                    <a:pt x="917" y="1249"/>
                  </a:lnTo>
                  <a:lnTo>
                    <a:pt x="897" y="1249"/>
                  </a:lnTo>
                  <a:lnTo>
                    <a:pt x="897" y="1258"/>
                  </a:lnTo>
                  <a:lnTo>
                    <a:pt x="878" y="1288"/>
                  </a:lnTo>
                  <a:lnTo>
                    <a:pt x="868" y="1297"/>
                  </a:lnTo>
                  <a:lnTo>
                    <a:pt x="839" y="1297"/>
                  </a:lnTo>
                  <a:lnTo>
                    <a:pt x="829" y="1288"/>
                  </a:lnTo>
                  <a:lnTo>
                    <a:pt x="790" y="1288"/>
                  </a:lnTo>
                  <a:lnTo>
                    <a:pt x="780" y="1297"/>
                  </a:lnTo>
                  <a:lnTo>
                    <a:pt x="771" y="1327"/>
                  </a:lnTo>
                  <a:lnTo>
                    <a:pt x="751" y="1366"/>
                  </a:lnTo>
                  <a:lnTo>
                    <a:pt x="761" y="1385"/>
                  </a:lnTo>
                  <a:lnTo>
                    <a:pt x="771" y="1395"/>
                  </a:lnTo>
                  <a:lnTo>
                    <a:pt x="771" y="1405"/>
                  </a:lnTo>
                  <a:lnTo>
                    <a:pt x="780" y="1414"/>
                  </a:lnTo>
                  <a:lnTo>
                    <a:pt x="771" y="1424"/>
                  </a:lnTo>
                  <a:lnTo>
                    <a:pt x="761" y="1424"/>
                  </a:lnTo>
                  <a:lnTo>
                    <a:pt x="751" y="1444"/>
                  </a:lnTo>
                  <a:lnTo>
                    <a:pt x="751" y="1453"/>
                  </a:lnTo>
                  <a:lnTo>
                    <a:pt x="751" y="1473"/>
                  </a:lnTo>
                  <a:lnTo>
                    <a:pt x="722" y="1473"/>
                  </a:lnTo>
                  <a:lnTo>
                    <a:pt x="712" y="1483"/>
                  </a:lnTo>
                  <a:lnTo>
                    <a:pt x="712" y="1502"/>
                  </a:lnTo>
                  <a:lnTo>
                    <a:pt x="692" y="1502"/>
                  </a:lnTo>
                  <a:lnTo>
                    <a:pt x="692" y="1531"/>
                  </a:lnTo>
                  <a:lnTo>
                    <a:pt x="692" y="1551"/>
                  </a:lnTo>
                  <a:lnTo>
                    <a:pt x="702" y="1561"/>
                  </a:lnTo>
                  <a:lnTo>
                    <a:pt x="702" y="1571"/>
                  </a:lnTo>
                  <a:lnTo>
                    <a:pt x="692" y="1571"/>
                  </a:lnTo>
                  <a:lnTo>
                    <a:pt x="692" y="1580"/>
                  </a:lnTo>
                  <a:lnTo>
                    <a:pt x="692" y="1600"/>
                  </a:lnTo>
                  <a:lnTo>
                    <a:pt x="692" y="1619"/>
                  </a:lnTo>
                  <a:lnTo>
                    <a:pt x="683" y="1639"/>
                  </a:lnTo>
                  <a:lnTo>
                    <a:pt x="673" y="1639"/>
                  </a:lnTo>
                  <a:lnTo>
                    <a:pt x="644" y="1629"/>
                  </a:lnTo>
                  <a:lnTo>
                    <a:pt x="634" y="1629"/>
                  </a:lnTo>
                  <a:lnTo>
                    <a:pt x="634" y="1639"/>
                  </a:lnTo>
                  <a:lnTo>
                    <a:pt x="634" y="1649"/>
                  </a:lnTo>
                  <a:lnTo>
                    <a:pt x="634" y="1658"/>
                  </a:lnTo>
                  <a:lnTo>
                    <a:pt x="614" y="1658"/>
                  </a:lnTo>
                  <a:lnTo>
                    <a:pt x="614" y="1678"/>
                  </a:lnTo>
                  <a:lnTo>
                    <a:pt x="653" y="1717"/>
                  </a:lnTo>
                  <a:lnTo>
                    <a:pt x="683" y="1746"/>
                  </a:lnTo>
                  <a:lnTo>
                    <a:pt x="683" y="1756"/>
                  </a:lnTo>
                  <a:lnTo>
                    <a:pt x="663" y="1766"/>
                  </a:lnTo>
                  <a:lnTo>
                    <a:pt x="644" y="1766"/>
                  </a:lnTo>
                  <a:lnTo>
                    <a:pt x="634" y="1775"/>
                  </a:lnTo>
                  <a:lnTo>
                    <a:pt x="624" y="1775"/>
                  </a:lnTo>
                  <a:lnTo>
                    <a:pt x="614" y="1766"/>
                  </a:lnTo>
                  <a:lnTo>
                    <a:pt x="595" y="1766"/>
                  </a:lnTo>
                  <a:lnTo>
                    <a:pt x="585" y="1775"/>
                  </a:lnTo>
                  <a:lnTo>
                    <a:pt x="566" y="1766"/>
                  </a:lnTo>
                  <a:lnTo>
                    <a:pt x="546" y="1775"/>
                  </a:lnTo>
                  <a:lnTo>
                    <a:pt x="536" y="1805"/>
                  </a:lnTo>
                  <a:lnTo>
                    <a:pt x="527" y="1814"/>
                  </a:lnTo>
                  <a:lnTo>
                    <a:pt x="517" y="1834"/>
                  </a:lnTo>
                  <a:lnTo>
                    <a:pt x="497" y="1834"/>
                  </a:lnTo>
                  <a:lnTo>
                    <a:pt x="488" y="1844"/>
                  </a:lnTo>
                  <a:lnTo>
                    <a:pt x="458" y="1863"/>
                  </a:lnTo>
                  <a:lnTo>
                    <a:pt x="458" y="1873"/>
                  </a:lnTo>
                  <a:lnTo>
                    <a:pt x="449" y="1892"/>
                  </a:lnTo>
                  <a:lnTo>
                    <a:pt x="419" y="1902"/>
                  </a:lnTo>
                  <a:lnTo>
                    <a:pt x="400" y="1902"/>
                  </a:lnTo>
                  <a:lnTo>
                    <a:pt x="371" y="1922"/>
                  </a:lnTo>
                  <a:lnTo>
                    <a:pt x="361" y="1932"/>
                  </a:lnTo>
                  <a:lnTo>
                    <a:pt x="341" y="1932"/>
                  </a:lnTo>
                  <a:lnTo>
                    <a:pt x="312" y="1922"/>
                  </a:lnTo>
                  <a:lnTo>
                    <a:pt x="293" y="1922"/>
                  </a:lnTo>
                  <a:lnTo>
                    <a:pt x="273" y="1912"/>
                  </a:lnTo>
                  <a:lnTo>
                    <a:pt x="254" y="1902"/>
                  </a:lnTo>
                  <a:lnTo>
                    <a:pt x="224" y="1902"/>
                  </a:lnTo>
                  <a:lnTo>
                    <a:pt x="215" y="1892"/>
                  </a:lnTo>
                  <a:lnTo>
                    <a:pt x="205" y="1873"/>
                  </a:lnTo>
                  <a:lnTo>
                    <a:pt x="205" y="1863"/>
                  </a:lnTo>
                  <a:lnTo>
                    <a:pt x="205" y="1853"/>
                  </a:lnTo>
                  <a:lnTo>
                    <a:pt x="224" y="1844"/>
                  </a:lnTo>
                  <a:lnTo>
                    <a:pt x="234" y="1834"/>
                  </a:lnTo>
                  <a:lnTo>
                    <a:pt x="254" y="1834"/>
                  </a:lnTo>
                  <a:lnTo>
                    <a:pt x="263" y="1824"/>
                  </a:lnTo>
                  <a:lnTo>
                    <a:pt x="283" y="1814"/>
                  </a:lnTo>
                  <a:lnTo>
                    <a:pt x="283" y="1805"/>
                  </a:lnTo>
                  <a:lnTo>
                    <a:pt x="293" y="1795"/>
                  </a:lnTo>
                  <a:lnTo>
                    <a:pt x="293" y="1775"/>
                  </a:lnTo>
                  <a:lnTo>
                    <a:pt x="312" y="1775"/>
                  </a:lnTo>
                  <a:lnTo>
                    <a:pt x="332" y="1766"/>
                  </a:lnTo>
                  <a:lnTo>
                    <a:pt x="332" y="1746"/>
                  </a:lnTo>
                  <a:lnTo>
                    <a:pt x="322" y="1746"/>
                  </a:lnTo>
                  <a:lnTo>
                    <a:pt x="312" y="1717"/>
                  </a:lnTo>
                  <a:lnTo>
                    <a:pt x="312" y="1707"/>
                  </a:lnTo>
                  <a:lnTo>
                    <a:pt x="322" y="1697"/>
                  </a:lnTo>
                  <a:lnTo>
                    <a:pt x="322" y="1668"/>
                  </a:lnTo>
                  <a:lnTo>
                    <a:pt x="332" y="1649"/>
                  </a:lnTo>
                  <a:lnTo>
                    <a:pt x="322" y="1639"/>
                  </a:lnTo>
                  <a:lnTo>
                    <a:pt x="322" y="1629"/>
                  </a:lnTo>
                  <a:lnTo>
                    <a:pt x="312" y="1610"/>
                  </a:lnTo>
                  <a:lnTo>
                    <a:pt x="302" y="1600"/>
                  </a:lnTo>
                  <a:lnTo>
                    <a:pt x="302" y="1590"/>
                  </a:lnTo>
                  <a:lnTo>
                    <a:pt x="312" y="1580"/>
                  </a:lnTo>
                  <a:lnTo>
                    <a:pt x="302" y="1580"/>
                  </a:lnTo>
                  <a:lnTo>
                    <a:pt x="293" y="1571"/>
                  </a:lnTo>
                  <a:lnTo>
                    <a:pt x="283" y="1561"/>
                  </a:lnTo>
                  <a:lnTo>
                    <a:pt x="283" y="1551"/>
                  </a:lnTo>
                  <a:lnTo>
                    <a:pt x="273" y="1551"/>
                  </a:lnTo>
                  <a:lnTo>
                    <a:pt x="254" y="1551"/>
                  </a:lnTo>
                  <a:lnTo>
                    <a:pt x="244" y="1551"/>
                  </a:lnTo>
                  <a:lnTo>
                    <a:pt x="234" y="1531"/>
                  </a:lnTo>
                  <a:lnTo>
                    <a:pt x="224" y="1522"/>
                  </a:lnTo>
                  <a:lnTo>
                    <a:pt x="215" y="1531"/>
                  </a:lnTo>
                  <a:lnTo>
                    <a:pt x="215" y="1541"/>
                  </a:lnTo>
                  <a:lnTo>
                    <a:pt x="215" y="1561"/>
                  </a:lnTo>
                  <a:lnTo>
                    <a:pt x="195" y="1551"/>
                  </a:lnTo>
                  <a:lnTo>
                    <a:pt x="176" y="1551"/>
                  </a:lnTo>
                  <a:lnTo>
                    <a:pt x="176" y="1541"/>
                  </a:lnTo>
                  <a:lnTo>
                    <a:pt x="166" y="1531"/>
                  </a:lnTo>
                  <a:lnTo>
                    <a:pt x="156" y="1531"/>
                  </a:lnTo>
                  <a:lnTo>
                    <a:pt x="156" y="1502"/>
                  </a:lnTo>
                  <a:lnTo>
                    <a:pt x="146" y="1492"/>
                  </a:lnTo>
                  <a:lnTo>
                    <a:pt x="156" y="1483"/>
                  </a:lnTo>
                  <a:lnTo>
                    <a:pt x="176" y="1463"/>
                  </a:lnTo>
                  <a:lnTo>
                    <a:pt x="185" y="1453"/>
                  </a:lnTo>
                  <a:lnTo>
                    <a:pt x="205" y="1453"/>
                  </a:lnTo>
                  <a:lnTo>
                    <a:pt x="205" y="1444"/>
                  </a:lnTo>
                  <a:lnTo>
                    <a:pt x="205" y="1434"/>
                  </a:lnTo>
                  <a:lnTo>
                    <a:pt x="195" y="1424"/>
                  </a:lnTo>
                  <a:lnTo>
                    <a:pt x="195" y="1414"/>
                  </a:lnTo>
                  <a:lnTo>
                    <a:pt x="195" y="1405"/>
                  </a:lnTo>
                  <a:lnTo>
                    <a:pt x="176" y="1395"/>
                  </a:lnTo>
                  <a:lnTo>
                    <a:pt x="166" y="1385"/>
                  </a:lnTo>
                  <a:lnTo>
                    <a:pt x="156" y="1366"/>
                  </a:lnTo>
                  <a:lnTo>
                    <a:pt x="156" y="1356"/>
                  </a:lnTo>
                  <a:lnTo>
                    <a:pt x="166" y="1346"/>
                  </a:lnTo>
                  <a:lnTo>
                    <a:pt x="166" y="1317"/>
                  </a:lnTo>
                  <a:lnTo>
                    <a:pt x="176" y="1307"/>
                  </a:lnTo>
                  <a:lnTo>
                    <a:pt x="176" y="1297"/>
                  </a:lnTo>
                  <a:lnTo>
                    <a:pt x="166" y="1288"/>
                  </a:lnTo>
                  <a:lnTo>
                    <a:pt x="176" y="1288"/>
                  </a:lnTo>
                  <a:lnTo>
                    <a:pt x="185" y="1288"/>
                  </a:lnTo>
                  <a:lnTo>
                    <a:pt x="185" y="1278"/>
                  </a:lnTo>
                  <a:lnTo>
                    <a:pt x="195" y="1268"/>
                  </a:lnTo>
                  <a:lnTo>
                    <a:pt x="195" y="1258"/>
                  </a:lnTo>
                  <a:lnTo>
                    <a:pt x="205" y="1258"/>
                  </a:lnTo>
                  <a:lnTo>
                    <a:pt x="215" y="1249"/>
                  </a:lnTo>
                  <a:lnTo>
                    <a:pt x="234" y="1229"/>
                  </a:lnTo>
                  <a:lnTo>
                    <a:pt x="224" y="1210"/>
                  </a:lnTo>
                  <a:lnTo>
                    <a:pt x="205" y="1190"/>
                  </a:lnTo>
                  <a:lnTo>
                    <a:pt x="195" y="1180"/>
                  </a:lnTo>
                  <a:lnTo>
                    <a:pt x="176" y="1170"/>
                  </a:lnTo>
                  <a:lnTo>
                    <a:pt x="156" y="1170"/>
                  </a:lnTo>
                  <a:lnTo>
                    <a:pt x="156" y="1161"/>
                  </a:lnTo>
                  <a:lnTo>
                    <a:pt x="156" y="1122"/>
                  </a:lnTo>
                  <a:lnTo>
                    <a:pt x="176" y="1112"/>
                  </a:lnTo>
                  <a:lnTo>
                    <a:pt x="195" y="1102"/>
                  </a:lnTo>
                  <a:lnTo>
                    <a:pt x="215" y="1092"/>
                  </a:lnTo>
                  <a:lnTo>
                    <a:pt x="215" y="1083"/>
                  </a:lnTo>
                  <a:lnTo>
                    <a:pt x="205" y="1073"/>
                  </a:lnTo>
                  <a:lnTo>
                    <a:pt x="205" y="1053"/>
                  </a:lnTo>
                  <a:lnTo>
                    <a:pt x="195" y="1044"/>
                  </a:lnTo>
                  <a:lnTo>
                    <a:pt x="185" y="1053"/>
                  </a:lnTo>
                  <a:lnTo>
                    <a:pt x="176" y="1053"/>
                  </a:lnTo>
                  <a:lnTo>
                    <a:pt x="156" y="1005"/>
                  </a:lnTo>
                  <a:lnTo>
                    <a:pt x="146" y="995"/>
                  </a:lnTo>
                  <a:lnTo>
                    <a:pt x="136" y="995"/>
                  </a:lnTo>
                  <a:lnTo>
                    <a:pt x="136" y="975"/>
                  </a:lnTo>
                  <a:lnTo>
                    <a:pt x="136" y="966"/>
                  </a:lnTo>
                  <a:lnTo>
                    <a:pt x="107" y="956"/>
                  </a:lnTo>
                  <a:lnTo>
                    <a:pt x="88" y="956"/>
                  </a:lnTo>
                  <a:lnTo>
                    <a:pt x="58" y="946"/>
                  </a:lnTo>
                  <a:lnTo>
                    <a:pt x="39" y="956"/>
                  </a:lnTo>
                  <a:lnTo>
                    <a:pt x="29" y="956"/>
                  </a:lnTo>
                  <a:lnTo>
                    <a:pt x="0" y="936"/>
                  </a:lnTo>
                  <a:lnTo>
                    <a:pt x="0" y="917"/>
                  </a:lnTo>
                  <a:lnTo>
                    <a:pt x="10" y="907"/>
                  </a:lnTo>
                  <a:lnTo>
                    <a:pt x="19" y="897"/>
                  </a:lnTo>
                  <a:lnTo>
                    <a:pt x="19" y="878"/>
                  </a:lnTo>
                  <a:lnTo>
                    <a:pt x="10" y="858"/>
                  </a:lnTo>
                  <a:lnTo>
                    <a:pt x="10" y="849"/>
                  </a:lnTo>
                  <a:lnTo>
                    <a:pt x="10" y="839"/>
                  </a:lnTo>
                  <a:lnTo>
                    <a:pt x="0" y="829"/>
                  </a:lnTo>
                  <a:lnTo>
                    <a:pt x="39" y="819"/>
                  </a:lnTo>
                  <a:lnTo>
                    <a:pt x="97" y="800"/>
                  </a:lnTo>
                  <a:lnTo>
                    <a:pt x="97" y="790"/>
                  </a:lnTo>
                  <a:lnTo>
                    <a:pt x="107" y="780"/>
                  </a:lnTo>
                  <a:lnTo>
                    <a:pt x="107" y="761"/>
                  </a:lnTo>
                  <a:lnTo>
                    <a:pt x="97" y="761"/>
                  </a:lnTo>
                  <a:lnTo>
                    <a:pt x="78" y="751"/>
                  </a:lnTo>
                  <a:lnTo>
                    <a:pt x="58" y="731"/>
                  </a:lnTo>
                  <a:lnTo>
                    <a:pt x="49" y="712"/>
                  </a:lnTo>
                  <a:lnTo>
                    <a:pt x="78" y="663"/>
                  </a:lnTo>
                  <a:lnTo>
                    <a:pt x="97" y="644"/>
                  </a:lnTo>
                  <a:lnTo>
                    <a:pt x="97" y="634"/>
                  </a:lnTo>
                  <a:lnTo>
                    <a:pt x="117" y="624"/>
                  </a:lnTo>
                  <a:lnTo>
                    <a:pt x="136" y="624"/>
                  </a:lnTo>
                  <a:lnTo>
                    <a:pt x="146" y="614"/>
                  </a:lnTo>
                  <a:lnTo>
                    <a:pt x="136" y="595"/>
                  </a:lnTo>
                  <a:lnTo>
                    <a:pt x="146" y="585"/>
                  </a:lnTo>
                  <a:lnTo>
                    <a:pt x="146" y="575"/>
                  </a:lnTo>
                  <a:lnTo>
                    <a:pt x="136" y="566"/>
                  </a:lnTo>
                  <a:lnTo>
                    <a:pt x="136" y="556"/>
                  </a:lnTo>
                  <a:lnTo>
                    <a:pt x="127" y="546"/>
                  </a:lnTo>
                  <a:lnTo>
                    <a:pt x="127" y="527"/>
                  </a:lnTo>
                  <a:lnTo>
                    <a:pt x="136" y="507"/>
                  </a:lnTo>
                  <a:lnTo>
                    <a:pt x="156" y="497"/>
                  </a:lnTo>
                  <a:lnTo>
                    <a:pt x="176" y="497"/>
                  </a:lnTo>
                  <a:lnTo>
                    <a:pt x="185" y="478"/>
                  </a:lnTo>
                  <a:lnTo>
                    <a:pt x="185" y="448"/>
                  </a:lnTo>
                  <a:lnTo>
                    <a:pt x="185" y="419"/>
                  </a:lnTo>
                  <a:lnTo>
                    <a:pt x="185" y="400"/>
                  </a:lnTo>
                  <a:lnTo>
                    <a:pt x="176" y="400"/>
                  </a:lnTo>
                  <a:lnTo>
                    <a:pt x="156" y="409"/>
                  </a:lnTo>
                  <a:lnTo>
                    <a:pt x="146" y="400"/>
                  </a:lnTo>
                  <a:lnTo>
                    <a:pt x="156" y="390"/>
                  </a:lnTo>
                  <a:lnTo>
                    <a:pt x="146" y="380"/>
                  </a:lnTo>
                  <a:lnTo>
                    <a:pt x="127" y="370"/>
                  </a:lnTo>
                  <a:lnTo>
                    <a:pt x="117" y="361"/>
                  </a:lnTo>
                  <a:lnTo>
                    <a:pt x="127" y="361"/>
                  </a:lnTo>
                  <a:lnTo>
                    <a:pt x="136" y="351"/>
                  </a:lnTo>
                  <a:lnTo>
                    <a:pt x="136" y="322"/>
                  </a:lnTo>
                  <a:lnTo>
                    <a:pt x="136" y="312"/>
                  </a:lnTo>
                  <a:lnTo>
                    <a:pt x="146" y="302"/>
                  </a:lnTo>
                  <a:lnTo>
                    <a:pt x="136" y="292"/>
                  </a:lnTo>
                  <a:lnTo>
                    <a:pt x="127" y="283"/>
                  </a:lnTo>
                  <a:lnTo>
                    <a:pt x="117" y="283"/>
                  </a:lnTo>
                  <a:lnTo>
                    <a:pt x="107" y="283"/>
                  </a:lnTo>
                  <a:lnTo>
                    <a:pt x="107" y="273"/>
                  </a:lnTo>
                  <a:lnTo>
                    <a:pt x="107" y="253"/>
                  </a:lnTo>
                  <a:lnTo>
                    <a:pt x="97" y="253"/>
                  </a:lnTo>
                  <a:lnTo>
                    <a:pt x="97" y="234"/>
                  </a:lnTo>
                  <a:lnTo>
                    <a:pt x="117" y="234"/>
                  </a:lnTo>
                  <a:lnTo>
                    <a:pt x="117" y="224"/>
                  </a:lnTo>
                  <a:lnTo>
                    <a:pt x="107" y="214"/>
                  </a:lnTo>
                  <a:lnTo>
                    <a:pt x="97" y="195"/>
                  </a:lnTo>
                  <a:lnTo>
                    <a:pt x="107" y="175"/>
                  </a:lnTo>
                  <a:lnTo>
                    <a:pt x="117" y="166"/>
                  </a:lnTo>
                  <a:lnTo>
                    <a:pt x="117" y="156"/>
                  </a:lnTo>
                  <a:lnTo>
                    <a:pt x="97" y="127"/>
                  </a:lnTo>
                  <a:lnTo>
                    <a:pt x="88" y="107"/>
                  </a:lnTo>
                  <a:lnTo>
                    <a:pt x="88" y="97"/>
                  </a:lnTo>
                  <a:lnTo>
                    <a:pt x="97" y="78"/>
                  </a:lnTo>
                  <a:lnTo>
                    <a:pt x="97" y="58"/>
                  </a:lnTo>
                  <a:lnTo>
                    <a:pt x="97" y="39"/>
                  </a:lnTo>
                  <a:lnTo>
                    <a:pt x="97" y="19"/>
                  </a:lnTo>
                  <a:lnTo>
                    <a:pt x="117" y="29"/>
                  </a:lnTo>
                  <a:lnTo>
                    <a:pt x="127" y="19"/>
                  </a:lnTo>
                  <a:lnTo>
                    <a:pt x="166" y="0"/>
                  </a:lnTo>
                  <a:lnTo>
                    <a:pt x="176" y="19"/>
                  </a:lnTo>
                  <a:lnTo>
                    <a:pt x="156" y="29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95" y="117"/>
                  </a:lnTo>
                  <a:lnTo>
                    <a:pt x="215" y="127"/>
                  </a:lnTo>
                  <a:lnTo>
                    <a:pt x="215" y="107"/>
                  </a:lnTo>
                  <a:lnTo>
                    <a:pt x="244" y="107"/>
                  </a:lnTo>
                  <a:lnTo>
                    <a:pt x="244" y="97"/>
                  </a:lnTo>
                  <a:lnTo>
                    <a:pt x="244" y="78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58"/>
                  </a:lnTo>
                  <a:lnTo>
                    <a:pt x="312" y="58"/>
                  </a:lnTo>
                  <a:lnTo>
                    <a:pt x="312" y="87"/>
                  </a:lnTo>
                  <a:lnTo>
                    <a:pt x="341" y="146"/>
                  </a:lnTo>
                  <a:lnTo>
                    <a:pt x="371" y="146"/>
                  </a:lnTo>
                  <a:lnTo>
                    <a:pt x="410" y="156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68" y="166"/>
                  </a:lnTo>
                  <a:lnTo>
                    <a:pt x="507" y="166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0" name="Freeform 119"/>
            <p:cNvSpPr>
              <a:spLocks/>
            </p:cNvSpPr>
            <p:nvPr/>
          </p:nvSpPr>
          <p:spPr bwMode="auto">
            <a:xfrm>
              <a:off x="5063" y="2604"/>
              <a:ext cx="1441" cy="1464"/>
            </a:xfrm>
            <a:custGeom>
              <a:avLst/>
              <a:gdLst>
                <a:gd name="T0" fmla="*/ 20 w 1444"/>
                <a:gd name="T1" fmla="*/ 1103 h 1464"/>
                <a:gd name="T2" fmla="*/ 78 w 1444"/>
                <a:gd name="T3" fmla="*/ 1073 h 1464"/>
                <a:gd name="T4" fmla="*/ 88 w 1444"/>
                <a:gd name="T5" fmla="*/ 1005 h 1464"/>
                <a:gd name="T6" fmla="*/ 137 w 1444"/>
                <a:gd name="T7" fmla="*/ 927 h 1464"/>
                <a:gd name="T8" fmla="*/ 157 w 1444"/>
                <a:gd name="T9" fmla="*/ 859 h 1464"/>
                <a:gd name="T10" fmla="*/ 186 w 1444"/>
                <a:gd name="T11" fmla="*/ 742 h 1464"/>
                <a:gd name="T12" fmla="*/ 293 w 1444"/>
                <a:gd name="T13" fmla="*/ 703 h 1464"/>
                <a:gd name="T14" fmla="*/ 361 w 1444"/>
                <a:gd name="T15" fmla="*/ 781 h 1464"/>
                <a:gd name="T16" fmla="*/ 371 w 1444"/>
                <a:gd name="T17" fmla="*/ 732 h 1464"/>
                <a:gd name="T18" fmla="*/ 420 w 1444"/>
                <a:gd name="T19" fmla="*/ 654 h 1464"/>
                <a:gd name="T20" fmla="*/ 547 w 1444"/>
                <a:gd name="T21" fmla="*/ 624 h 1464"/>
                <a:gd name="T22" fmla="*/ 625 w 1444"/>
                <a:gd name="T23" fmla="*/ 585 h 1464"/>
                <a:gd name="T24" fmla="*/ 586 w 1444"/>
                <a:gd name="T25" fmla="*/ 507 h 1464"/>
                <a:gd name="T26" fmla="*/ 586 w 1444"/>
                <a:gd name="T27" fmla="*/ 449 h 1464"/>
                <a:gd name="T28" fmla="*/ 566 w 1444"/>
                <a:gd name="T29" fmla="*/ 361 h 1464"/>
                <a:gd name="T30" fmla="*/ 634 w 1444"/>
                <a:gd name="T31" fmla="*/ 293 h 1464"/>
                <a:gd name="T32" fmla="*/ 654 w 1444"/>
                <a:gd name="T33" fmla="*/ 146 h 1464"/>
                <a:gd name="T34" fmla="*/ 654 w 1444"/>
                <a:gd name="T35" fmla="*/ 88 h 1464"/>
                <a:gd name="T36" fmla="*/ 644 w 1444"/>
                <a:gd name="T37" fmla="*/ 10 h 1464"/>
                <a:gd name="T38" fmla="*/ 741 w 1444"/>
                <a:gd name="T39" fmla="*/ 20 h 1464"/>
                <a:gd name="T40" fmla="*/ 760 w 1444"/>
                <a:gd name="T41" fmla="*/ 59 h 1464"/>
                <a:gd name="T42" fmla="*/ 799 w 1444"/>
                <a:gd name="T43" fmla="*/ 176 h 1464"/>
                <a:gd name="T44" fmla="*/ 828 w 1444"/>
                <a:gd name="T45" fmla="*/ 254 h 1464"/>
                <a:gd name="T46" fmla="*/ 877 w 1444"/>
                <a:gd name="T47" fmla="*/ 312 h 1464"/>
                <a:gd name="T48" fmla="*/ 887 w 1444"/>
                <a:gd name="T49" fmla="*/ 371 h 1464"/>
                <a:gd name="T50" fmla="*/ 858 w 1444"/>
                <a:gd name="T51" fmla="*/ 537 h 1464"/>
                <a:gd name="T52" fmla="*/ 965 w 1444"/>
                <a:gd name="T53" fmla="*/ 527 h 1464"/>
                <a:gd name="T54" fmla="*/ 1043 w 1444"/>
                <a:gd name="T55" fmla="*/ 517 h 1464"/>
                <a:gd name="T56" fmla="*/ 1092 w 1444"/>
                <a:gd name="T57" fmla="*/ 468 h 1464"/>
                <a:gd name="T58" fmla="*/ 1189 w 1444"/>
                <a:gd name="T59" fmla="*/ 322 h 1464"/>
                <a:gd name="T60" fmla="*/ 1277 w 1444"/>
                <a:gd name="T61" fmla="*/ 381 h 1464"/>
                <a:gd name="T62" fmla="*/ 1336 w 1444"/>
                <a:gd name="T63" fmla="*/ 400 h 1464"/>
                <a:gd name="T64" fmla="*/ 1404 w 1444"/>
                <a:gd name="T65" fmla="*/ 429 h 1464"/>
                <a:gd name="T66" fmla="*/ 1423 w 1444"/>
                <a:gd name="T67" fmla="*/ 527 h 1464"/>
                <a:gd name="T68" fmla="*/ 1345 w 1444"/>
                <a:gd name="T69" fmla="*/ 546 h 1464"/>
                <a:gd name="T70" fmla="*/ 1355 w 1444"/>
                <a:gd name="T71" fmla="*/ 624 h 1464"/>
                <a:gd name="T72" fmla="*/ 1384 w 1444"/>
                <a:gd name="T73" fmla="*/ 664 h 1464"/>
                <a:gd name="T74" fmla="*/ 1355 w 1444"/>
                <a:gd name="T75" fmla="*/ 712 h 1464"/>
                <a:gd name="T76" fmla="*/ 1277 w 1444"/>
                <a:gd name="T77" fmla="*/ 673 h 1464"/>
                <a:gd name="T78" fmla="*/ 1228 w 1444"/>
                <a:gd name="T79" fmla="*/ 751 h 1464"/>
                <a:gd name="T80" fmla="*/ 1082 w 1444"/>
                <a:gd name="T81" fmla="*/ 761 h 1464"/>
                <a:gd name="T82" fmla="*/ 994 w 1444"/>
                <a:gd name="T83" fmla="*/ 790 h 1464"/>
                <a:gd name="T84" fmla="*/ 887 w 1444"/>
                <a:gd name="T85" fmla="*/ 820 h 1464"/>
                <a:gd name="T86" fmla="*/ 887 w 1444"/>
                <a:gd name="T87" fmla="*/ 898 h 1464"/>
                <a:gd name="T88" fmla="*/ 887 w 1444"/>
                <a:gd name="T89" fmla="*/ 1054 h 1464"/>
                <a:gd name="T90" fmla="*/ 838 w 1444"/>
                <a:gd name="T91" fmla="*/ 1259 h 1464"/>
                <a:gd name="T92" fmla="*/ 722 w 1444"/>
                <a:gd name="T93" fmla="*/ 1229 h 1464"/>
                <a:gd name="T94" fmla="*/ 634 w 1444"/>
                <a:gd name="T95" fmla="*/ 1229 h 1464"/>
                <a:gd name="T96" fmla="*/ 498 w 1444"/>
                <a:gd name="T97" fmla="*/ 1171 h 1464"/>
                <a:gd name="T98" fmla="*/ 459 w 1444"/>
                <a:gd name="T99" fmla="*/ 1239 h 1464"/>
                <a:gd name="T100" fmla="*/ 566 w 1444"/>
                <a:gd name="T101" fmla="*/ 1278 h 1464"/>
                <a:gd name="T102" fmla="*/ 741 w 1444"/>
                <a:gd name="T103" fmla="*/ 1337 h 1464"/>
                <a:gd name="T104" fmla="*/ 605 w 1444"/>
                <a:gd name="T105" fmla="*/ 1454 h 1464"/>
                <a:gd name="T106" fmla="*/ 537 w 1444"/>
                <a:gd name="T107" fmla="*/ 1434 h 1464"/>
                <a:gd name="T108" fmla="*/ 488 w 1444"/>
                <a:gd name="T109" fmla="*/ 1366 h 1464"/>
                <a:gd name="T110" fmla="*/ 400 w 1444"/>
                <a:gd name="T111" fmla="*/ 1317 h 1464"/>
                <a:gd name="T112" fmla="*/ 322 w 1444"/>
                <a:gd name="T113" fmla="*/ 1239 h 1464"/>
                <a:gd name="T114" fmla="*/ 235 w 1444"/>
                <a:gd name="T115" fmla="*/ 1268 h 1464"/>
                <a:gd name="T116" fmla="*/ 166 w 1444"/>
                <a:gd name="T117" fmla="*/ 1259 h 1464"/>
                <a:gd name="T118" fmla="*/ 69 w 1444"/>
                <a:gd name="T119" fmla="*/ 1200 h 14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44"/>
                <a:gd name="T181" fmla="*/ 0 h 1464"/>
                <a:gd name="T182" fmla="*/ 1444 w 1444"/>
                <a:gd name="T183" fmla="*/ 1464 h 14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44" h="1464">
                  <a:moveTo>
                    <a:pt x="69" y="1200"/>
                  </a:moveTo>
                  <a:lnTo>
                    <a:pt x="39" y="1171"/>
                  </a:lnTo>
                  <a:lnTo>
                    <a:pt x="0" y="1132"/>
                  </a:lnTo>
                  <a:lnTo>
                    <a:pt x="0" y="1112"/>
                  </a:lnTo>
                  <a:lnTo>
                    <a:pt x="20" y="1112"/>
                  </a:lnTo>
                  <a:lnTo>
                    <a:pt x="20" y="1103"/>
                  </a:lnTo>
                  <a:lnTo>
                    <a:pt x="20" y="1093"/>
                  </a:lnTo>
                  <a:lnTo>
                    <a:pt x="20" y="1083"/>
                  </a:lnTo>
                  <a:lnTo>
                    <a:pt x="39" y="1083"/>
                  </a:lnTo>
                  <a:lnTo>
                    <a:pt x="59" y="1093"/>
                  </a:lnTo>
                  <a:lnTo>
                    <a:pt x="69" y="1093"/>
                  </a:lnTo>
                  <a:lnTo>
                    <a:pt x="78" y="1073"/>
                  </a:lnTo>
                  <a:lnTo>
                    <a:pt x="78" y="1054"/>
                  </a:lnTo>
                  <a:lnTo>
                    <a:pt x="78" y="1034"/>
                  </a:lnTo>
                  <a:lnTo>
                    <a:pt x="78" y="1025"/>
                  </a:lnTo>
                  <a:lnTo>
                    <a:pt x="88" y="1025"/>
                  </a:lnTo>
                  <a:lnTo>
                    <a:pt x="88" y="1015"/>
                  </a:lnTo>
                  <a:lnTo>
                    <a:pt x="88" y="1005"/>
                  </a:lnTo>
                  <a:lnTo>
                    <a:pt x="88" y="985"/>
                  </a:lnTo>
                  <a:lnTo>
                    <a:pt x="88" y="956"/>
                  </a:lnTo>
                  <a:lnTo>
                    <a:pt x="98" y="956"/>
                  </a:lnTo>
                  <a:lnTo>
                    <a:pt x="98" y="937"/>
                  </a:lnTo>
                  <a:lnTo>
                    <a:pt x="108" y="927"/>
                  </a:lnTo>
                  <a:lnTo>
                    <a:pt x="137" y="927"/>
                  </a:lnTo>
                  <a:lnTo>
                    <a:pt x="137" y="917"/>
                  </a:lnTo>
                  <a:lnTo>
                    <a:pt x="147" y="898"/>
                  </a:lnTo>
                  <a:lnTo>
                    <a:pt x="147" y="878"/>
                  </a:lnTo>
                  <a:lnTo>
                    <a:pt x="157" y="878"/>
                  </a:lnTo>
                  <a:lnTo>
                    <a:pt x="166" y="868"/>
                  </a:lnTo>
                  <a:lnTo>
                    <a:pt x="157" y="859"/>
                  </a:lnTo>
                  <a:lnTo>
                    <a:pt x="157" y="849"/>
                  </a:lnTo>
                  <a:lnTo>
                    <a:pt x="147" y="839"/>
                  </a:lnTo>
                  <a:lnTo>
                    <a:pt x="137" y="820"/>
                  </a:lnTo>
                  <a:lnTo>
                    <a:pt x="157" y="781"/>
                  </a:lnTo>
                  <a:lnTo>
                    <a:pt x="166" y="751"/>
                  </a:lnTo>
                  <a:lnTo>
                    <a:pt x="186" y="742"/>
                  </a:lnTo>
                  <a:lnTo>
                    <a:pt x="215" y="742"/>
                  </a:lnTo>
                  <a:lnTo>
                    <a:pt x="235" y="751"/>
                  </a:lnTo>
                  <a:lnTo>
                    <a:pt x="254" y="751"/>
                  </a:lnTo>
                  <a:lnTo>
                    <a:pt x="264" y="742"/>
                  </a:lnTo>
                  <a:lnTo>
                    <a:pt x="283" y="712"/>
                  </a:lnTo>
                  <a:lnTo>
                    <a:pt x="293" y="703"/>
                  </a:lnTo>
                  <a:lnTo>
                    <a:pt x="303" y="703"/>
                  </a:lnTo>
                  <a:lnTo>
                    <a:pt x="313" y="732"/>
                  </a:lnTo>
                  <a:lnTo>
                    <a:pt x="332" y="732"/>
                  </a:lnTo>
                  <a:lnTo>
                    <a:pt x="332" y="761"/>
                  </a:lnTo>
                  <a:lnTo>
                    <a:pt x="361" y="781"/>
                  </a:lnTo>
                  <a:lnTo>
                    <a:pt x="371" y="771"/>
                  </a:lnTo>
                  <a:lnTo>
                    <a:pt x="371" y="761"/>
                  </a:lnTo>
                  <a:lnTo>
                    <a:pt x="361" y="751"/>
                  </a:lnTo>
                  <a:lnTo>
                    <a:pt x="361" y="732"/>
                  </a:lnTo>
                  <a:lnTo>
                    <a:pt x="352" y="732"/>
                  </a:lnTo>
                  <a:lnTo>
                    <a:pt x="371" y="732"/>
                  </a:lnTo>
                  <a:lnTo>
                    <a:pt x="371" y="703"/>
                  </a:lnTo>
                  <a:lnTo>
                    <a:pt x="371" y="693"/>
                  </a:lnTo>
                  <a:lnTo>
                    <a:pt x="381" y="683"/>
                  </a:lnTo>
                  <a:lnTo>
                    <a:pt x="400" y="683"/>
                  </a:lnTo>
                  <a:lnTo>
                    <a:pt x="410" y="654"/>
                  </a:lnTo>
                  <a:lnTo>
                    <a:pt x="420" y="654"/>
                  </a:lnTo>
                  <a:lnTo>
                    <a:pt x="449" y="634"/>
                  </a:lnTo>
                  <a:lnTo>
                    <a:pt x="459" y="615"/>
                  </a:lnTo>
                  <a:lnTo>
                    <a:pt x="488" y="585"/>
                  </a:lnTo>
                  <a:lnTo>
                    <a:pt x="508" y="605"/>
                  </a:lnTo>
                  <a:lnTo>
                    <a:pt x="537" y="605"/>
                  </a:lnTo>
                  <a:lnTo>
                    <a:pt x="547" y="624"/>
                  </a:lnTo>
                  <a:lnTo>
                    <a:pt x="566" y="624"/>
                  </a:lnTo>
                  <a:lnTo>
                    <a:pt x="586" y="644"/>
                  </a:lnTo>
                  <a:lnTo>
                    <a:pt x="595" y="634"/>
                  </a:lnTo>
                  <a:lnTo>
                    <a:pt x="595" y="615"/>
                  </a:lnTo>
                  <a:lnTo>
                    <a:pt x="595" y="605"/>
                  </a:lnTo>
                  <a:lnTo>
                    <a:pt x="625" y="585"/>
                  </a:lnTo>
                  <a:lnTo>
                    <a:pt x="625" y="566"/>
                  </a:lnTo>
                  <a:lnTo>
                    <a:pt x="615" y="556"/>
                  </a:lnTo>
                  <a:lnTo>
                    <a:pt x="615" y="546"/>
                  </a:lnTo>
                  <a:lnTo>
                    <a:pt x="595" y="537"/>
                  </a:lnTo>
                  <a:lnTo>
                    <a:pt x="586" y="527"/>
                  </a:lnTo>
                  <a:lnTo>
                    <a:pt x="586" y="507"/>
                  </a:lnTo>
                  <a:lnTo>
                    <a:pt x="605" y="498"/>
                  </a:lnTo>
                  <a:lnTo>
                    <a:pt x="625" y="488"/>
                  </a:lnTo>
                  <a:lnTo>
                    <a:pt x="625" y="468"/>
                  </a:lnTo>
                  <a:lnTo>
                    <a:pt x="615" y="449"/>
                  </a:lnTo>
                  <a:lnTo>
                    <a:pt x="605" y="449"/>
                  </a:lnTo>
                  <a:lnTo>
                    <a:pt x="586" y="449"/>
                  </a:lnTo>
                  <a:lnTo>
                    <a:pt x="566" y="420"/>
                  </a:lnTo>
                  <a:lnTo>
                    <a:pt x="566" y="400"/>
                  </a:lnTo>
                  <a:lnTo>
                    <a:pt x="576" y="390"/>
                  </a:lnTo>
                  <a:lnTo>
                    <a:pt x="576" y="381"/>
                  </a:lnTo>
                  <a:lnTo>
                    <a:pt x="566" y="381"/>
                  </a:lnTo>
                  <a:lnTo>
                    <a:pt x="566" y="361"/>
                  </a:lnTo>
                  <a:lnTo>
                    <a:pt x="576" y="351"/>
                  </a:lnTo>
                  <a:lnTo>
                    <a:pt x="576" y="332"/>
                  </a:lnTo>
                  <a:lnTo>
                    <a:pt x="576" y="322"/>
                  </a:lnTo>
                  <a:lnTo>
                    <a:pt x="586" y="322"/>
                  </a:lnTo>
                  <a:lnTo>
                    <a:pt x="605" y="312"/>
                  </a:lnTo>
                  <a:lnTo>
                    <a:pt x="634" y="293"/>
                  </a:lnTo>
                  <a:lnTo>
                    <a:pt x="625" y="263"/>
                  </a:lnTo>
                  <a:lnTo>
                    <a:pt x="634" y="254"/>
                  </a:lnTo>
                  <a:lnTo>
                    <a:pt x="654" y="234"/>
                  </a:lnTo>
                  <a:lnTo>
                    <a:pt x="654" y="195"/>
                  </a:lnTo>
                  <a:lnTo>
                    <a:pt x="664" y="176"/>
                  </a:lnTo>
                  <a:lnTo>
                    <a:pt x="654" y="146"/>
                  </a:lnTo>
                  <a:lnTo>
                    <a:pt x="634" y="137"/>
                  </a:lnTo>
                  <a:lnTo>
                    <a:pt x="634" y="127"/>
                  </a:lnTo>
                  <a:lnTo>
                    <a:pt x="644" y="117"/>
                  </a:lnTo>
                  <a:lnTo>
                    <a:pt x="644" y="98"/>
                  </a:lnTo>
                  <a:lnTo>
                    <a:pt x="644" y="78"/>
                  </a:lnTo>
                  <a:lnTo>
                    <a:pt x="654" y="88"/>
                  </a:lnTo>
                  <a:lnTo>
                    <a:pt x="664" y="78"/>
                  </a:lnTo>
                  <a:lnTo>
                    <a:pt x="644" y="59"/>
                  </a:lnTo>
                  <a:lnTo>
                    <a:pt x="644" y="29"/>
                  </a:lnTo>
                  <a:lnTo>
                    <a:pt x="634" y="20"/>
                  </a:lnTo>
                  <a:lnTo>
                    <a:pt x="634" y="10"/>
                  </a:lnTo>
                  <a:lnTo>
                    <a:pt x="644" y="10"/>
                  </a:lnTo>
                  <a:lnTo>
                    <a:pt x="654" y="20"/>
                  </a:lnTo>
                  <a:lnTo>
                    <a:pt x="673" y="20"/>
                  </a:lnTo>
                  <a:lnTo>
                    <a:pt x="683" y="20"/>
                  </a:lnTo>
                  <a:lnTo>
                    <a:pt x="703" y="0"/>
                  </a:lnTo>
                  <a:lnTo>
                    <a:pt x="752" y="10"/>
                  </a:lnTo>
                  <a:lnTo>
                    <a:pt x="752" y="20"/>
                  </a:lnTo>
                  <a:lnTo>
                    <a:pt x="742" y="20"/>
                  </a:lnTo>
                  <a:lnTo>
                    <a:pt x="732" y="29"/>
                  </a:lnTo>
                  <a:lnTo>
                    <a:pt x="722" y="39"/>
                  </a:lnTo>
                  <a:lnTo>
                    <a:pt x="722" y="49"/>
                  </a:lnTo>
                  <a:lnTo>
                    <a:pt x="742" y="59"/>
                  </a:lnTo>
                  <a:lnTo>
                    <a:pt x="771" y="59"/>
                  </a:lnTo>
                  <a:lnTo>
                    <a:pt x="791" y="68"/>
                  </a:lnTo>
                  <a:lnTo>
                    <a:pt x="800" y="88"/>
                  </a:lnTo>
                  <a:lnTo>
                    <a:pt x="820" y="127"/>
                  </a:lnTo>
                  <a:lnTo>
                    <a:pt x="810" y="146"/>
                  </a:lnTo>
                  <a:lnTo>
                    <a:pt x="800" y="156"/>
                  </a:lnTo>
                  <a:lnTo>
                    <a:pt x="810" y="176"/>
                  </a:lnTo>
                  <a:lnTo>
                    <a:pt x="830" y="176"/>
                  </a:lnTo>
                  <a:lnTo>
                    <a:pt x="839" y="176"/>
                  </a:lnTo>
                  <a:lnTo>
                    <a:pt x="839" y="224"/>
                  </a:lnTo>
                  <a:lnTo>
                    <a:pt x="839" y="234"/>
                  </a:lnTo>
                  <a:lnTo>
                    <a:pt x="839" y="254"/>
                  </a:lnTo>
                  <a:lnTo>
                    <a:pt x="839" y="263"/>
                  </a:lnTo>
                  <a:lnTo>
                    <a:pt x="849" y="263"/>
                  </a:lnTo>
                  <a:lnTo>
                    <a:pt x="849" y="273"/>
                  </a:lnTo>
                  <a:lnTo>
                    <a:pt x="849" y="293"/>
                  </a:lnTo>
                  <a:lnTo>
                    <a:pt x="859" y="303"/>
                  </a:lnTo>
                  <a:lnTo>
                    <a:pt x="888" y="312"/>
                  </a:lnTo>
                  <a:lnTo>
                    <a:pt x="898" y="322"/>
                  </a:lnTo>
                  <a:lnTo>
                    <a:pt x="898" y="332"/>
                  </a:lnTo>
                  <a:lnTo>
                    <a:pt x="898" y="342"/>
                  </a:lnTo>
                  <a:lnTo>
                    <a:pt x="888" y="351"/>
                  </a:lnTo>
                  <a:lnTo>
                    <a:pt x="898" y="361"/>
                  </a:lnTo>
                  <a:lnTo>
                    <a:pt x="898" y="371"/>
                  </a:lnTo>
                  <a:lnTo>
                    <a:pt x="878" y="371"/>
                  </a:lnTo>
                  <a:lnTo>
                    <a:pt x="869" y="429"/>
                  </a:lnTo>
                  <a:lnTo>
                    <a:pt x="869" y="478"/>
                  </a:lnTo>
                  <a:lnTo>
                    <a:pt x="859" y="507"/>
                  </a:lnTo>
                  <a:lnTo>
                    <a:pt x="859" y="527"/>
                  </a:lnTo>
                  <a:lnTo>
                    <a:pt x="869" y="537"/>
                  </a:lnTo>
                  <a:lnTo>
                    <a:pt x="888" y="556"/>
                  </a:lnTo>
                  <a:lnTo>
                    <a:pt x="917" y="556"/>
                  </a:lnTo>
                  <a:lnTo>
                    <a:pt x="927" y="546"/>
                  </a:lnTo>
                  <a:lnTo>
                    <a:pt x="937" y="537"/>
                  </a:lnTo>
                  <a:lnTo>
                    <a:pt x="956" y="537"/>
                  </a:lnTo>
                  <a:lnTo>
                    <a:pt x="976" y="527"/>
                  </a:lnTo>
                  <a:lnTo>
                    <a:pt x="995" y="517"/>
                  </a:lnTo>
                  <a:lnTo>
                    <a:pt x="1015" y="498"/>
                  </a:lnTo>
                  <a:lnTo>
                    <a:pt x="1034" y="468"/>
                  </a:lnTo>
                  <a:lnTo>
                    <a:pt x="1044" y="488"/>
                  </a:lnTo>
                  <a:lnTo>
                    <a:pt x="1054" y="488"/>
                  </a:lnTo>
                  <a:lnTo>
                    <a:pt x="1054" y="517"/>
                  </a:lnTo>
                  <a:lnTo>
                    <a:pt x="1054" y="537"/>
                  </a:lnTo>
                  <a:lnTo>
                    <a:pt x="1064" y="546"/>
                  </a:lnTo>
                  <a:lnTo>
                    <a:pt x="1073" y="527"/>
                  </a:lnTo>
                  <a:lnTo>
                    <a:pt x="1083" y="517"/>
                  </a:lnTo>
                  <a:lnTo>
                    <a:pt x="1103" y="507"/>
                  </a:lnTo>
                  <a:lnTo>
                    <a:pt x="1103" y="468"/>
                  </a:lnTo>
                  <a:lnTo>
                    <a:pt x="1112" y="459"/>
                  </a:lnTo>
                  <a:lnTo>
                    <a:pt x="1142" y="429"/>
                  </a:lnTo>
                  <a:lnTo>
                    <a:pt x="1151" y="381"/>
                  </a:lnTo>
                  <a:lnTo>
                    <a:pt x="1171" y="361"/>
                  </a:lnTo>
                  <a:lnTo>
                    <a:pt x="1171" y="342"/>
                  </a:lnTo>
                  <a:lnTo>
                    <a:pt x="1200" y="322"/>
                  </a:lnTo>
                  <a:lnTo>
                    <a:pt x="1229" y="332"/>
                  </a:lnTo>
                  <a:lnTo>
                    <a:pt x="1259" y="342"/>
                  </a:lnTo>
                  <a:lnTo>
                    <a:pt x="1288" y="351"/>
                  </a:lnTo>
                  <a:lnTo>
                    <a:pt x="1288" y="361"/>
                  </a:lnTo>
                  <a:lnTo>
                    <a:pt x="1288" y="381"/>
                  </a:lnTo>
                  <a:lnTo>
                    <a:pt x="1288" y="400"/>
                  </a:lnTo>
                  <a:lnTo>
                    <a:pt x="1298" y="420"/>
                  </a:lnTo>
                  <a:lnTo>
                    <a:pt x="1317" y="410"/>
                  </a:lnTo>
                  <a:lnTo>
                    <a:pt x="1317" y="400"/>
                  </a:lnTo>
                  <a:lnTo>
                    <a:pt x="1337" y="410"/>
                  </a:lnTo>
                  <a:lnTo>
                    <a:pt x="1347" y="400"/>
                  </a:lnTo>
                  <a:lnTo>
                    <a:pt x="1347" y="390"/>
                  </a:lnTo>
                  <a:lnTo>
                    <a:pt x="1376" y="410"/>
                  </a:lnTo>
                  <a:lnTo>
                    <a:pt x="1386" y="400"/>
                  </a:lnTo>
                  <a:lnTo>
                    <a:pt x="1395" y="410"/>
                  </a:lnTo>
                  <a:lnTo>
                    <a:pt x="1395" y="429"/>
                  </a:lnTo>
                  <a:lnTo>
                    <a:pt x="1415" y="429"/>
                  </a:lnTo>
                  <a:lnTo>
                    <a:pt x="1415" y="449"/>
                  </a:lnTo>
                  <a:lnTo>
                    <a:pt x="1415" y="468"/>
                  </a:lnTo>
                  <a:lnTo>
                    <a:pt x="1415" y="488"/>
                  </a:lnTo>
                  <a:lnTo>
                    <a:pt x="1434" y="488"/>
                  </a:lnTo>
                  <a:lnTo>
                    <a:pt x="1444" y="498"/>
                  </a:lnTo>
                  <a:lnTo>
                    <a:pt x="1434" y="527"/>
                  </a:lnTo>
                  <a:lnTo>
                    <a:pt x="1434" y="537"/>
                  </a:lnTo>
                  <a:lnTo>
                    <a:pt x="1405" y="527"/>
                  </a:lnTo>
                  <a:lnTo>
                    <a:pt x="1386" y="527"/>
                  </a:lnTo>
                  <a:lnTo>
                    <a:pt x="1376" y="527"/>
                  </a:lnTo>
                  <a:lnTo>
                    <a:pt x="1356" y="537"/>
                  </a:lnTo>
                  <a:lnTo>
                    <a:pt x="1356" y="546"/>
                  </a:lnTo>
                  <a:lnTo>
                    <a:pt x="1366" y="556"/>
                  </a:lnTo>
                  <a:lnTo>
                    <a:pt x="1356" y="566"/>
                  </a:lnTo>
                  <a:lnTo>
                    <a:pt x="1356" y="595"/>
                  </a:lnTo>
                  <a:lnTo>
                    <a:pt x="1347" y="605"/>
                  </a:lnTo>
                  <a:lnTo>
                    <a:pt x="1347" y="624"/>
                  </a:lnTo>
                  <a:lnTo>
                    <a:pt x="1366" y="624"/>
                  </a:lnTo>
                  <a:lnTo>
                    <a:pt x="1366" y="634"/>
                  </a:lnTo>
                  <a:lnTo>
                    <a:pt x="1356" y="644"/>
                  </a:lnTo>
                  <a:lnTo>
                    <a:pt x="1376" y="664"/>
                  </a:lnTo>
                  <a:lnTo>
                    <a:pt x="1376" y="654"/>
                  </a:lnTo>
                  <a:lnTo>
                    <a:pt x="1395" y="654"/>
                  </a:lnTo>
                  <a:lnTo>
                    <a:pt x="1395" y="664"/>
                  </a:lnTo>
                  <a:lnTo>
                    <a:pt x="1386" y="673"/>
                  </a:lnTo>
                  <a:lnTo>
                    <a:pt x="1395" y="683"/>
                  </a:lnTo>
                  <a:lnTo>
                    <a:pt x="1395" y="693"/>
                  </a:lnTo>
                  <a:lnTo>
                    <a:pt x="1386" y="703"/>
                  </a:lnTo>
                  <a:lnTo>
                    <a:pt x="1376" y="703"/>
                  </a:lnTo>
                  <a:lnTo>
                    <a:pt x="1366" y="712"/>
                  </a:lnTo>
                  <a:lnTo>
                    <a:pt x="1356" y="722"/>
                  </a:lnTo>
                  <a:lnTo>
                    <a:pt x="1298" y="712"/>
                  </a:lnTo>
                  <a:lnTo>
                    <a:pt x="1308" y="703"/>
                  </a:lnTo>
                  <a:lnTo>
                    <a:pt x="1308" y="693"/>
                  </a:lnTo>
                  <a:lnTo>
                    <a:pt x="1308" y="673"/>
                  </a:lnTo>
                  <a:lnTo>
                    <a:pt x="1288" y="673"/>
                  </a:lnTo>
                  <a:lnTo>
                    <a:pt x="1288" y="683"/>
                  </a:lnTo>
                  <a:lnTo>
                    <a:pt x="1278" y="703"/>
                  </a:lnTo>
                  <a:lnTo>
                    <a:pt x="1259" y="703"/>
                  </a:lnTo>
                  <a:lnTo>
                    <a:pt x="1239" y="712"/>
                  </a:lnTo>
                  <a:lnTo>
                    <a:pt x="1239" y="732"/>
                  </a:lnTo>
                  <a:lnTo>
                    <a:pt x="1239" y="751"/>
                  </a:lnTo>
                  <a:lnTo>
                    <a:pt x="1190" y="790"/>
                  </a:lnTo>
                  <a:lnTo>
                    <a:pt x="1151" y="790"/>
                  </a:lnTo>
                  <a:lnTo>
                    <a:pt x="1112" y="790"/>
                  </a:lnTo>
                  <a:lnTo>
                    <a:pt x="1103" y="781"/>
                  </a:lnTo>
                  <a:lnTo>
                    <a:pt x="1103" y="771"/>
                  </a:lnTo>
                  <a:lnTo>
                    <a:pt x="1093" y="761"/>
                  </a:lnTo>
                  <a:lnTo>
                    <a:pt x="1083" y="771"/>
                  </a:lnTo>
                  <a:lnTo>
                    <a:pt x="1064" y="771"/>
                  </a:lnTo>
                  <a:lnTo>
                    <a:pt x="1044" y="761"/>
                  </a:lnTo>
                  <a:lnTo>
                    <a:pt x="1034" y="761"/>
                  </a:lnTo>
                  <a:lnTo>
                    <a:pt x="1025" y="781"/>
                  </a:lnTo>
                  <a:lnTo>
                    <a:pt x="1005" y="790"/>
                  </a:lnTo>
                  <a:lnTo>
                    <a:pt x="976" y="790"/>
                  </a:lnTo>
                  <a:lnTo>
                    <a:pt x="956" y="781"/>
                  </a:lnTo>
                  <a:lnTo>
                    <a:pt x="937" y="790"/>
                  </a:lnTo>
                  <a:lnTo>
                    <a:pt x="927" y="810"/>
                  </a:lnTo>
                  <a:lnTo>
                    <a:pt x="908" y="810"/>
                  </a:lnTo>
                  <a:lnTo>
                    <a:pt x="898" y="820"/>
                  </a:lnTo>
                  <a:lnTo>
                    <a:pt x="878" y="839"/>
                  </a:lnTo>
                  <a:lnTo>
                    <a:pt x="859" y="859"/>
                  </a:lnTo>
                  <a:lnTo>
                    <a:pt x="859" y="878"/>
                  </a:lnTo>
                  <a:lnTo>
                    <a:pt x="888" y="878"/>
                  </a:lnTo>
                  <a:lnTo>
                    <a:pt x="888" y="898"/>
                  </a:lnTo>
                  <a:lnTo>
                    <a:pt x="898" y="898"/>
                  </a:lnTo>
                  <a:lnTo>
                    <a:pt x="898" y="907"/>
                  </a:lnTo>
                  <a:lnTo>
                    <a:pt x="888" y="917"/>
                  </a:lnTo>
                  <a:lnTo>
                    <a:pt x="888" y="956"/>
                  </a:lnTo>
                  <a:lnTo>
                    <a:pt x="898" y="985"/>
                  </a:lnTo>
                  <a:lnTo>
                    <a:pt x="898" y="1015"/>
                  </a:lnTo>
                  <a:lnTo>
                    <a:pt x="898" y="1054"/>
                  </a:lnTo>
                  <a:lnTo>
                    <a:pt x="937" y="1073"/>
                  </a:lnTo>
                  <a:lnTo>
                    <a:pt x="908" y="1132"/>
                  </a:lnTo>
                  <a:lnTo>
                    <a:pt x="898" y="1181"/>
                  </a:lnTo>
                  <a:lnTo>
                    <a:pt x="898" y="1200"/>
                  </a:lnTo>
                  <a:lnTo>
                    <a:pt x="878" y="1229"/>
                  </a:lnTo>
                  <a:lnTo>
                    <a:pt x="849" y="1259"/>
                  </a:lnTo>
                  <a:lnTo>
                    <a:pt x="810" y="1278"/>
                  </a:lnTo>
                  <a:lnTo>
                    <a:pt x="771" y="1317"/>
                  </a:lnTo>
                  <a:lnTo>
                    <a:pt x="752" y="1337"/>
                  </a:lnTo>
                  <a:lnTo>
                    <a:pt x="693" y="1288"/>
                  </a:lnTo>
                  <a:lnTo>
                    <a:pt x="693" y="1259"/>
                  </a:lnTo>
                  <a:lnTo>
                    <a:pt x="732" y="1229"/>
                  </a:lnTo>
                  <a:lnTo>
                    <a:pt x="703" y="1220"/>
                  </a:lnTo>
                  <a:lnTo>
                    <a:pt x="693" y="1190"/>
                  </a:lnTo>
                  <a:lnTo>
                    <a:pt x="683" y="1190"/>
                  </a:lnTo>
                  <a:lnTo>
                    <a:pt x="683" y="1210"/>
                  </a:lnTo>
                  <a:lnTo>
                    <a:pt x="664" y="1210"/>
                  </a:lnTo>
                  <a:lnTo>
                    <a:pt x="634" y="1229"/>
                  </a:lnTo>
                  <a:lnTo>
                    <a:pt x="605" y="1210"/>
                  </a:lnTo>
                  <a:lnTo>
                    <a:pt x="595" y="1161"/>
                  </a:lnTo>
                  <a:lnTo>
                    <a:pt x="576" y="1161"/>
                  </a:lnTo>
                  <a:lnTo>
                    <a:pt x="556" y="1171"/>
                  </a:lnTo>
                  <a:lnTo>
                    <a:pt x="537" y="1190"/>
                  </a:lnTo>
                  <a:lnTo>
                    <a:pt x="498" y="1171"/>
                  </a:lnTo>
                  <a:lnTo>
                    <a:pt x="478" y="1171"/>
                  </a:lnTo>
                  <a:lnTo>
                    <a:pt x="469" y="1190"/>
                  </a:lnTo>
                  <a:lnTo>
                    <a:pt x="488" y="1210"/>
                  </a:lnTo>
                  <a:lnTo>
                    <a:pt x="498" y="1229"/>
                  </a:lnTo>
                  <a:lnTo>
                    <a:pt x="478" y="1229"/>
                  </a:lnTo>
                  <a:lnTo>
                    <a:pt x="459" y="1239"/>
                  </a:lnTo>
                  <a:lnTo>
                    <a:pt x="459" y="1259"/>
                  </a:lnTo>
                  <a:lnTo>
                    <a:pt x="488" y="1268"/>
                  </a:lnTo>
                  <a:lnTo>
                    <a:pt x="517" y="1259"/>
                  </a:lnTo>
                  <a:lnTo>
                    <a:pt x="547" y="1239"/>
                  </a:lnTo>
                  <a:lnTo>
                    <a:pt x="547" y="1268"/>
                  </a:lnTo>
                  <a:lnTo>
                    <a:pt x="566" y="1278"/>
                  </a:lnTo>
                  <a:lnTo>
                    <a:pt x="586" y="1259"/>
                  </a:lnTo>
                  <a:lnTo>
                    <a:pt x="605" y="1259"/>
                  </a:lnTo>
                  <a:lnTo>
                    <a:pt x="605" y="1288"/>
                  </a:lnTo>
                  <a:lnTo>
                    <a:pt x="644" y="1327"/>
                  </a:lnTo>
                  <a:lnTo>
                    <a:pt x="693" y="1288"/>
                  </a:lnTo>
                  <a:lnTo>
                    <a:pt x="752" y="1337"/>
                  </a:lnTo>
                  <a:lnTo>
                    <a:pt x="732" y="1376"/>
                  </a:lnTo>
                  <a:lnTo>
                    <a:pt x="703" y="1405"/>
                  </a:lnTo>
                  <a:lnTo>
                    <a:pt x="664" y="1415"/>
                  </a:lnTo>
                  <a:lnTo>
                    <a:pt x="625" y="1425"/>
                  </a:lnTo>
                  <a:lnTo>
                    <a:pt x="625" y="1444"/>
                  </a:lnTo>
                  <a:lnTo>
                    <a:pt x="605" y="1454"/>
                  </a:lnTo>
                  <a:lnTo>
                    <a:pt x="595" y="1464"/>
                  </a:lnTo>
                  <a:lnTo>
                    <a:pt x="586" y="1464"/>
                  </a:lnTo>
                  <a:lnTo>
                    <a:pt x="586" y="1454"/>
                  </a:lnTo>
                  <a:lnTo>
                    <a:pt x="586" y="1444"/>
                  </a:lnTo>
                  <a:lnTo>
                    <a:pt x="556" y="1434"/>
                  </a:lnTo>
                  <a:lnTo>
                    <a:pt x="537" y="1434"/>
                  </a:lnTo>
                  <a:lnTo>
                    <a:pt x="537" y="1415"/>
                  </a:lnTo>
                  <a:lnTo>
                    <a:pt x="537" y="1405"/>
                  </a:lnTo>
                  <a:lnTo>
                    <a:pt x="517" y="1395"/>
                  </a:lnTo>
                  <a:lnTo>
                    <a:pt x="498" y="1386"/>
                  </a:lnTo>
                  <a:lnTo>
                    <a:pt x="488" y="1376"/>
                  </a:lnTo>
                  <a:lnTo>
                    <a:pt x="488" y="1366"/>
                  </a:lnTo>
                  <a:lnTo>
                    <a:pt x="469" y="1366"/>
                  </a:lnTo>
                  <a:lnTo>
                    <a:pt x="449" y="1366"/>
                  </a:lnTo>
                  <a:lnTo>
                    <a:pt x="449" y="1356"/>
                  </a:lnTo>
                  <a:lnTo>
                    <a:pt x="430" y="1346"/>
                  </a:lnTo>
                  <a:lnTo>
                    <a:pt x="400" y="1317"/>
                  </a:lnTo>
                  <a:lnTo>
                    <a:pt x="371" y="1298"/>
                  </a:lnTo>
                  <a:lnTo>
                    <a:pt x="361" y="1288"/>
                  </a:lnTo>
                  <a:lnTo>
                    <a:pt x="342" y="1288"/>
                  </a:lnTo>
                  <a:lnTo>
                    <a:pt x="342" y="1268"/>
                  </a:lnTo>
                  <a:lnTo>
                    <a:pt x="342" y="1259"/>
                  </a:lnTo>
                  <a:lnTo>
                    <a:pt x="322" y="1239"/>
                  </a:lnTo>
                  <a:lnTo>
                    <a:pt x="303" y="1239"/>
                  </a:lnTo>
                  <a:lnTo>
                    <a:pt x="293" y="1259"/>
                  </a:lnTo>
                  <a:lnTo>
                    <a:pt x="283" y="1259"/>
                  </a:lnTo>
                  <a:lnTo>
                    <a:pt x="264" y="1268"/>
                  </a:lnTo>
                  <a:lnTo>
                    <a:pt x="244" y="1288"/>
                  </a:lnTo>
                  <a:lnTo>
                    <a:pt x="235" y="1268"/>
                  </a:lnTo>
                  <a:lnTo>
                    <a:pt x="215" y="1268"/>
                  </a:lnTo>
                  <a:lnTo>
                    <a:pt x="205" y="1268"/>
                  </a:lnTo>
                  <a:lnTo>
                    <a:pt x="196" y="1268"/>
                  </a:lnTo>
                  <a:lnTo>
                    <a:pt x="186" y="1278"/>
                  </a:lnTo>
                  <a:lnTo>
                    <a:pt x="176" y="1259"/>
                  </a:lnTo>
                  <a:lnTo>
                    <a:pt x="166" y="1259"/>
                  </a:lnTo>
                  <a:lnTo>
                    <a:pt x="147" y="1239"/>
                  </a:lnTo>
                  <a:lnTo>
                    <a:pt x="127" y="1229"/>
                  </a:lnTo>
                  <a:lnTo>
                    <a:pt x="118" y="1220"/>
                  </a:lnTo>
                  <a:lnTo>
                    <a:pt x="108" y="1210"/>
                  </a:lnTo>
                  <a:lnTo>
                    <a:pt x="98" y="1190"/>
                  </a:lnTo>
                  <a:lnTo>
                    <a:pt x="69" y="1200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1" name="Freeform 118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75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3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75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22" y="156"/>
                  </a:lnTo>
                  <a:lnTo>
                    <a:pt x="112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1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2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5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32"/>
                  </a:lnTo>
                  <a:lnTo>
                    <a:pt x="761" y="722"/>
                  </a:lnTo>
                  <a:lnTo>
                    <a:pt x="722" y="732"/>
                  </a:lnTo>
                  <a:lnTo>
                    <a:pt x="71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10"/>
                  </a:lnTo>
                  <a:lnTo>
                    <a:pt x="71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6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1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8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17" y="576"/>
                  </a:lnTo>
                  <a:lnTo>
                    <a:pt x="11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12" y="400"/>
                  </a:lnTo>
                  <a:lnTo>
                    <a:pt x="683" y="381"/>
                  </a:lnTo>
                  <a:lnTo>
                    <a:pt x="673" y="342"/>
                  </a:lnTo>
                  <a:lnTo>
                    <a:pt x="673" y="312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2" name="Freeform 117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66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3 h 927"/>
                <a:gd name="T36" fmla="*/ 1073 w 1210"/>
                <a:gd name="T37" fmla="*/ 526 h 927"/>
                <a:gd name="T38" fmla="*/ 1005 w 1210"/>
                <a:gd name="T39" fmla="*/ 575 h 927"/>
                <a:gd name="T40" fmla="*/ 936 w 1210"/>
                <a:gd name="T41" fmla="*/ 623 h 927"/>
                <a:gd name="T42" fmla="*/ 849 w 1210"/>
                <a:gd name="T43" fmla="*/ 702 h 927"/>
                <a:gd name="T44" fmla="*/ 771 w 1210"/>
                <a:gd name="T45" fmla="*/ 731 h 927"/>
                <a:gd name="T46" fmla="*/ 712 w 1210"/>
                <a:gd name="T47" fmla="*/ 750 h 927"/>
                <a:gd name="T48" fmla="*/ 712 w 1210"/>
                <a:gd name="T49" fmla="*/ 770 h 927"/>
                <a:gd name="T50" fmla="*/ 732 w 1210"/>
                <a:gd name="T51" fmla="*/ 848 h 927"/>
                <a:gd name="T52" fmla="*/ 663 w 1210"/>
                <a:gd name="T53" fmla="*/ 916 h 927"/>
                <a:gd name="T54" fmla="*/ 576 w 1210"/>
                <a:gd name="T55" fmla="*/ 877 h 927"/>
                <a:gd name="T56" fmla="*/ 527 w 1210"/>
                <a:gd name="T57" fmla="*/ 867 h 927"/>
                <a:gd name="T58" fmla="*/ 390 w 1210"/>
                <a:gd name="T59" fmla="*/ 906 h 927"/>
                <a:gd name="T60" fmla="*/ 273 w 1210"/>
                <a:gd name="T61" fmla="*/ 867 h 927"/>
                <a:gd name="T62" fmla="*/ 244 w 1210"/>
                <a:gd name="T63" fmla="*/ 770 h 927"/>
                <a:gd name="T64" fmla="*/ 127 w 1210"/>
                <a:gd name="T65" fmla="*/ 741 h 927"/>
                <a:gd name="T66" fmla="*/ 59 w 1210"/>
                <a:gd name="T67" fmla="*/ 711 h 927"/>
                <a:gd name="T68" fmla="*/ 0 w 1210"/>
                <a:gd name="T69" fmla="*/ 672 h 927"/>
                <a:gd name="T70" fmla="*/ 0 w 1210"/>
                <a:gd name="T71" fmla="*/ 614 h 927"/>
                <a:gd name="T72" fmla="*/ 49 w 1210"/>
                <a:gd name="T73" fmla="*/ 584 h 927"/>
                <a:gd name="T74" fmla="*/ 107 w 1210"/>
                <a:gd name="T75" fmla="*/ 555 h 927"/>
                <a:gd name="T76" fmla="*/ 146 w 1210"/>
                <a:gd name="T77" fmla="*/ 594 h 927"/>
                <a:gd name="T78" fmla="*/ 234 w 1210"/>
                <a:gd name="T79" fmla="*/ 672 h 927"/>
                <a:gd name="T80" fmla="*/ 273 w 1210"/>
                <a:gd name="T81" fmla="*/ 672 h 927"/>
                <a:gd name="T82" fmla="*/ 322 w 1210"/>
                <a:gd name="T83" fmla="*/ 711 h 927"/>
                <a:gd name="T84" fmla="*/ 371 w 1210"/>
                <a:gd name="T85" fmla="*/ 750 h 927"/>
                <a:gd name="T86" fmla="*/ 390 w 1210"/>
                <a:gd name="T87" fmla="*/ 760 h 927"/>
                <a:gd name="T88" fmla="*/ 488 w 1210"/>
                <a:gd name="T89" fmla="*/ 721 h 927"/>
                <a:gd name="T90" fmla="*/ 595 w 1210"/>
                <a:gd name="T91" fmla="*/ 594 h 927"/>
                <a:gd name="T92" fmla="*/ 673 w 1210"/>
                <a:gd name="T93" fmla="*/ 497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66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12" y="156"/>
                  </a:lnTo>
                  <a:lnTo>
                    <a:pt x="111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2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1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6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42"/>
                  </a:lnTo>
                  <a:lnTo>
                    <a:pt x="761" y="722"/>
                  </a:lnTo>
                  <a:lnTo>
                    <a:pt x="722" y="742"/>
                  </a:lnTo>
                  <a:lnTo>
                    <a:pt x="72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20"/>
                  </a:lnTo>
                  <a:lnTo>
                    <a:pt x="72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7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2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7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27" y="576"/>
                  </a:lnTo>
                  <a:lnTo>
                    <a:pt x="12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22" y="400"/>
                  </a:lnTo>
                  <a:lnTo>
                    <a:pt x="683" y="381"/>
                  </a:lnTo>
                  <a:lnTo>
                    <a:pt x="673" y="342"/>
                  </a:lnTo>
                </a:path>
              </a:pathLst>
            </a:custGeom>
            <a:solidFill>
              <a:srgbClr val="DBDBDB"/>
            </a:solidFill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3" name="Freeform 116"/>
            <p:cNvSpPr>
              <a:spLocks/>
            </p:cNvSpPr>
            <p:nvPr/>
          </p:nvSpPr>
          <p:spPr bwMode="auto">
            <a:xfrm>
              <a:off x="5960" y="3112"/>
              <a:ext cx="917" cy="1152"/>
            </a:xfrm>
            <a:custGeom>
              <a:avLst/>
              <a:gdLst>
                <a:gd name="T0" fmla="*/ 49 w 917"/>
                <a:gd name="T1" fmla="*/ 1024 h 1152"/>
                <a:gd name="T2" fmla="*/ 39 w 917"/>
                <a:gd name="T3" fmla="*/ 936 h 1152"/>
                <a:gd name="T4" fmla="*/ 39 w 917"/>
                <a:gd name="T5" fmla="*/ 897 h 1152"/>
                <a:gd name="T6" fmla="*/ 156 w 917"/>
                <a:gd name="T7" fmla="*/ 858 h 1152"/>
                <a:gd name="T8" fmla="*/ 253 w 917"/>
                <a:gd name="T9" fmla="*/ 789 h 1152"/>
                <a:gd name="T10" fmla="*/ 341 w 917"/>
                <a:gd name="T11" fmla="*/ 731 h 1152"/>
                <a:gd name="T12" fmla="*/ 390 w 917"/>
                <a:gd name="T13" fmla="*/ 643 h 1152"/>
                <a:gd name="T14" fmla="*/ 371 w 917"/>
                <a:gd name="T15" fmla="*/ 594 h 1152"/>
                <a:gd name="T16" fmla="*/ 400 w 917"/>
                <a:gd name="T17" fmla="*/ 566 h 1152"/>
                <a:gd name="T18" fmla="*/ 458 w 917"/>
                <a:gd name="T19" fmla="*/ 488 h 1152"/>
                <a:gd name="T20" fmla="*/ 527 w 917"/>
                <a:gd name="T21" fmla="*/ 459 h 1152"/>
                <a:gd name="T22" fmla="*/ 468 w 917"/>
                <a:gd name="T23" fmla="*/ 381 h 1152"/>
                <a:gd name="T24" fmla="*/ 429 w 917"/>
                <a:gd name="T25" fmla="*/ 313 h 1152"/>
                <a:gd name="T26" fmla="*/ 390 w 917"/>
                <a:gd name="T27" fmla="*/ 235 h 1152"/>
                <a:gd name="T28" fmla="*/ 429 w 917"/>
                <a:gd name="T29" fmla="*/ 205 h 1152"/>
                <a:gd name="T30" fmla="*/ 497 w 917"/>
                <a:gd name="T31" fmla="*/ 186 h 1152"/>
                <a:gd name="T32" fmla="*/ 488 w 917"/>
                <a:gd name="T33" fmla="*/ 147 h 1152"/>
                <a:gd name="T34" fmla="*/ 449 w 917"/>
                <a:gd name="T35" fmla="*/ 117 h 1152"/>
                <a:gd name="T36" fmla="*/ 458 w 917"/>
                <a:gd name="T37" fmla="*/ 39 h 1152"/>
                <a:gd name="T38" fmla="*/ 536 w 917"/>
                <a:gd name="T39" fmla="*/ 20 h 1152"/>
                <a:gd name="T40" fmla="*/ 566 w 917"/>
                <a:gd name="T41" fmla="*/ 59 h 1152"/>
                <a:gd name="T42" fmla="*/ 575 w 917"/>
                <a:gd name="T43" fmla="*/ 88 h 1152"/>
                <a:gd name="T44" fmla="*/ 653 w 917"/>
                <a:gd name="T45" fmla="*/ 147 h 1152"/>
                <a:gd name="T46" fmla="*/ 692 w 917"/>
                <a:gd name="T47" fmla="*/ 215 h 1152"/>
                <a:gd name="T48" fmla="*/ 751 w 917"/>
                <a:gd name="T49" fmla="*/ 215 h 1152"/>
                <a:gd name="T50" fmla="*/ 809 w 917"/>
                <a:gd name="T51" fmla="*/ 254 h 1152"/>
                <a:gd name="T52" fmla="*/ 839 w 917"/>
                <a:gd name="T53" fmla="*/ 332 h 1152"/>
                <a:gd name="T54" fmla="*/ 878 w 917"/>
                <a:gd name="T55" fmla="*/ 371 h 1152"/>
                <a:gd name="T56" fmla="*/ 887 w 917"/>
                <a:gd name="T57" fmla="*/ 430 h 1152"/>
                <a:gd name="T58" fmla="*/ 839 w 917"/>
                <a:gd name="T59" fmla="*/ 547 h 1152"/>
                <a:gd name="T60" fmla="*/ 848 w 917"/>
                <a:gd name="T61" fmla="*/ 594 h 1152"/>
                <a:gd name="T62" fmla="*/ 878 w 917"/>
                <a:gd name="T63" fmla="*/ 663 h 1152"/>
                <a:gd name="T64" fmla="*/ 848 w 917"/>
                <a:gd name="T65" fmla="*/ 750 h 1152"/>
                <a:gd name="T66" fmla="*/ 829 w 917"/>
                <a:gd name="T67" fmla="*/ 848 h 1152"/>
                <a:gd name="T68" fmla="*/ 839 w 917"/>
                <a:gd name="T69" fmla="*/ 907 h 1152"/>
                <a:gd name="T70" fmla="*/ 761 w 917"/>
                <a:gd name="T71" fmla="*/ 985 h 1152"/>
                <a:gd name="T72" fmla="*/ 614 w 917"/>
                <a:gd name="T73" fmla="*/ 965 h 1152"/>
                <a:gd name="T74" fmla="*/ 488 w 917"/>
                <a:gd name="T75" fmla="*/ 965 h 1152"/>
                <a:gd name="T76" fmla="*/ 566 w 917"/>
                <a:gd name="T77" fmla="*/ 887 h 1152"/>
                <a:gd name="T78" fmla="*/ 546 w 917"/>
                <a:gd name="T79" fmla="*/ 848 h 1152"/>
                <a:gd name="T80" fmla="*/ 527 w 917"/>
                <a:gd name="T81" fmla="*/ 809 h 1152"/>
                <a:gd name="T82" fmla="*/ 458 w 917"/>
                <a:gd name="T83" fmla="*/ 809 h 1152"/>
                <a:gd name="T84" fmla="*/ 400 w 917"/>
                <a:gd name="T85" fmla="*/ 868 h 1152"/>
                <a:gd name="T86" fmla="*/ 351 w 917"/>
                <a:gd name="T87" fmla="*/ 907 h 1152"/>
                <a:gd name="T88" fmla="*/ 331 w 917"/>
                <a:gd name="T89" fmla="*/ 897 h 1152"/>
                <a:gd name="T90" fmla="*/ 322 w 917"/>
                <a:gd name="T91" fmla="*/ 936 h 1152"/>
                <a:gd name="T92" fmla="*/ 380 w 917"/>
                <a:gd name="T93" fmla="*/ 946 h 1152"/>
                <a:gd name="T94" fmla="*/ 478 w 917"/>
                <a:gd name="T95" fmla="*/ 936 h 1152"/>
                <a:gd name="T96" fmla="*/ 390 w 917"/>
                <a:gd name="T97" fmla="*/ 1072 h 1152"/>
                <a:gd name="T98" fmla="*/ 292 w 917"/>
                <a:gd name="T99" fmla="*/ 1121 h 1152"/>
                <a:gd name="T100" fmla="*/ 175 w 917"/>
                <a:gd name="T101" fmla="*/ 1141 h 1152"/>
                <a:gd name="T102" fmla="*/ 58 w 917"/>
                <a:gd name="T103" fmla="*/ 1121 h 11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7"/>
                <a:gd name="T157" fmla="*/ 0 h 1152"/>
                <a:gd name="T158" fmla="*/ 917 w 917"/>
                <a:gd name="T159" fmla="*/ 1152 h 11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7" h="1152">
                  <a:moveTo>
                    <a:pt x="10" y="1093"/>
                  </a:moveTo>
                  <a:lnTo>
                    <a:pt x="0" y="1074"/>
                  </a:lnTo>
                  <a:lnTo>
                    <a:pt x="10" y="1054"/>
                  </a:lnTo>
                  <a:lnTo>
                    <a:pt x="39" y="1035"/>
                  </a:lnTo>
                  <a:lnTo>
                    <a:pt x="49" y="1035"/>
                  </a:lnTo>
                  <a:lnTo>
                    <a:pt x="49" y="1015"/>
                  </a:lnTo>
                  <a:lnTo>
                    <a:pt x="29" y="1005"/>
                  </a:lnTo>
                  <a:lnTo>
                    <a:pt x="29" y="986"/>
                  </a:lnTo>
                  <a:lnTo>
                    <a:pt x="29" y="957"/>
                  </a:lnTo>
                  <a:lnTo>
                    <a:pt x="39" y="947"/>
                  </a:lnTo>
                  <a:lnTo>
                    <a:pt x="39" y="937"/>
                  </a:lnTo>
                  <a:lnTo>
                    <a:pt x="29" y="937"/>
                  </a:lnTo>
                  <a:lnTo>
                    <a:pt x="29" y="927"/>
                  </a:lnTo>
                  <a:lnTo>
                    <a:pt x="29" y="918"/>
                  </a:lnTo>
                  <a:lnTo>
                    <a:pt x="39" y="908"/>
                  </a:lnTo>
                  <a:lnTo>
                    <a:pt x="78" y="898"/>
                  </a:lnTo>
                  <a:lnTo>
                    <a:pt x="88" y="908"/>
                  </a:lnTo>
                  <a:lnTo>
                    <a:pt x="107" y="898"/>
                  </a:lnTo>
                  <a:lnTo>
                    <a:pt x="136" y="869"/>
                  </a:lnTo>
                  <a:lnTo>
                    <a:pt x="156" y="869"/>
                  </a:lnTo>
                  <a:lnTo>
                    <a:pt x="166" y="879"/>
                  </a:lnTo>
                  <a:lnTo>
                    <a:pt x="185" y="879"/>
                  </a:lnTo>
                  <a:lnTo>
                    <a:pt x="185" y="859"/>
                  </a:lnTo>
                  <a:lnTo>
                    <a:pt x="224" y="830"/>
                  </a:lnTo>
                  <a:lnTo>
                    <a:pt x="253" y="800"/>
                  </a:lnTo>
                  <a:lnTo>
                    <a:pt x="273" y="781"/>
                  </a:lnTo>
                  <a:lnTo>
                    <a:pt x="292" y="781"/>
                  </a:lnTo>
                  <a:lnTo>
                    <a:pt x="292" y="761"/>
                  </a:lnTo>
                  <a:lnTo>
                    <a:pt x="322" y="752"/>
                  </a:lnTo>
                  <a:lnTo>
                    <a:pt x="341" y="742"/>
                  </a:lnTo>
                  <a:lnTo>
                    <a:pt x="361" y="742"/>
                  </a:lnTo>
                  <a:lnTo>
                    <a:pt x="390" y="722"/>
                  </a:lnTo>
                  <a:lnTo>
                    <a:pt x="390" y="703"/>
                  </a:lnTo>
                  <a:lnTo>
                    <a:pt x="390" y="664"/>
                  </a:lnTo>
                  <a:lnTo>
                    <a:pt x="390" y="654"/>
                  </a:lnTo>
                  <a:lnTo>
                    <a:pt x="371" y="644"/>
                  </a:lnTo>
                  <a:lnTo>
                    <a:pt x="351" y="635"/>
                  </a:lnTo>
                  <a:lnTo>
                    <a:pt x="351" y="625"/>
                  </a:lnTo>
                  <a:lnTo>
                    <a:pt x="351" y="615"/>
                  </a:lnTo>
                  <a:lnTo>
                    <a:pt x="371" y="605"/>
                  </a:lnTo>
                  <a:lnTo>
                    <a:pt x="371" y="586"/>
                  </a:lnTo>
                  <a:lnTo>
                    <a:pt x="390" y="586"/>
                  </a:lnTo>
                  <a:lnTo>
                    <a:pt x="390" y="576"/>
                  </a:lnTo>
                  <a:lnTo>
                    <a:pt x="400" y="576"/>
                  </a:lnTo>
                  <a:lnTo>
                    <a:pt x="400" y="566"/>
                  </a:lnTo>
                  <a:lnTo>
                    <a:pt x="410" y="557"/>
                  </a:lnTo>
                  <a:lnTo>
                    <a:pt x="429" y="547"/>
                  </a:lnTo>
                  <a:lnTo>
                    <a:pt x="439" y="518"/>
                  </a:lnTo>
                  <a:lnTo>
                    <a:pt x="449" y="508"/>
                  </a:lnTo>
                  <a:lnTo>
                    <a:pt x="458" y="488"/>
                  </a:lnTo>
                  <a:lnTo>
                    <a:pt x="468" y="488"/>
                  </a:lnTo>
                  <a:lnTo>
                    <a:pt x="488" y="478"/>
                  </a:lnTo>
                  <a:lnTo>
                    <a:pt x="507" y="469"/>
                  </a:lnTo>
                  <a:lnTo>
                    <a:pt x="517" y="469"/>
                  </a:lnTo>
                  <a:lnTo>
                    <a:pt x="527" y="459"/>
                  </a:lnTo>
                  <a:lnTo>
                    <a:pt x="536" y="420"/>
                  </a:lnTo>
                  <a:lnTo>
                    <a:pt x="527" y="400"/>
                  </a:lnTo>
                  <a:lnTo>
                    <a:pt x="497" y="391"/>
                  </a:lnTo>
                  <a:lnTo>
                    <a:pt x="488" y="381"/>
                  </a:lnTo>
                  <a:lnTo>
                    <a:pt x="468" y="381"/>
                  </a:lnTo>
                  <a:lnTo>
                    <a:pt x="449" y="371"/>
                  </a:lnTo>
                  <a:lnTo>
                    <a:pt x="449" y="352"/>
                  </a:lnTo>
                  <a:lnTo>
                    <a:pt x="439" y="342"/>
                  </a:lnTo>
                  <a:lnTo>
                    <a:pt x="439" y="322"/>
                  </a:lnTo>
                  <a:lnTo>
                    <a:pt x="429" y="313"/>
                  </a:lnTo>
                  <a:lnTo>
                    <a:pt x="419" y="293"/>
                  </a:lnTo>
                  <a:lnTo>
                    <a:pt x="410" y="293"/>
                  </a:lnTo>
                  <a:lnTo>
                    <a:pt x="410" y="264"/>
                  </a:lnTo>
                  <a:lnTo>
                    <a:pt x="390" y="244"/>
                  </a:lnTo>
                  <a:lnTo>
                    <a:pt x="390" y="235"/>
                  </a:lnTo>
                  <a:lnTo>
                    <a:pt x="390" y="215"/>
                  </a:lnTo>
                  <a:lnTo>
                    <a:pt x="400" y="205"/>
                  </a:lnTo>
                  <a:lnTo>
                    <a:pt x="410" y="205"/>
                  </a:lnTo>
                  <a:lnTo>
                    <a:pt x="419" y="205"/>
                  </a:lnTo>
                  <a:lnTo>
                    <a:pt x="429" y="205"/>
                  </a:lnTo>
                  <a:lnTo>
                    <a:pt x="458" y="215"/>
                  </a:lnTo>
                  <a:lnTo>
                    <a:pt x="468" y="205"/>
                  </a:lnTo>
                  <a:lnTo>
                    <a:pt x="478" y="196"/>
                  </a:lnTo>
                  <a:lnTo>
                    <a:pt x="488" y="196"/>
                  </a:lnTo>
                  <a:lnTo>
                    <a:pt x="497" y="186"/>
                  </a:lnTo>
                  <a:lnTo>
                    <a:pt x="497" y="176"/>
                  </a:lnTo>
                  <a:lnTo>
                    <a:pt x="488" y="166"/>
                  </a:lnTo>
                  <a:lnTo>
                    <a:pt x="497" y="157"/>
                  </a:lnTo>
                  <a:lnTo>
                    <a:pt x="497" y="147"/>
                  </a:lnTo>
                  <a:lnTo>
                    <a:pt x="488" y="147"/>
                  </a:lnTo>
                  <a:lnTo>
                    <a:pt x="478" y="157"/>
                  </a:lnTo>
                  <a:lnTo>
                    <a:pt x="458" y="137"/>
                  </a:lnTo>
                  <a:lnTo>
                    <a:pt x="468" y="127"/>
                  </a:lnTo>
                  <a:lnTo>
                    <a:pt x="468" y="117"/>
                  </a:lnTo>
                  <a:lnTo>
                    <a:pt x="449" y="117"/>
                  </a:lnTo>
                  <a:lnTo>
                    <a:pt x="449" y="88"/>
                  </a:lnTo>
                  <a:lnTo>
                    <a:pt x="458" y="88"/>
                  </a:lnTo>
                  <a:lnTo>
                    <a:pt x="458" y="59"/>
                  </a:lnTo>
                  <a:lnTo>
                    <a:pt x="468" y="49"/>
                  </a:lnTo>
                  <a:lnTo>
                    <a:pt x="458" y="39"/>
                  </a:lnTo>
                  <a:lnTo>
                    <a:pt x="458" y="30"/>
                  </a:lnTo>
                  <a:lnTo>
                    <a:pt x="478" y="20"/>
                  </a:lnTo>
                  <a:lnTo>
                    <a:pt x="488" y="20"/>
                  </a:lnTo>
                  <a:lnTo>
                    <a:pt x="507" y="20"/>
                  </a:lnTo>
                  <a:lnTo>
                    <a:pt x="536" y="20"/>
                  </a:lnTo>
                  <a:lnTo>
                    <a:pt x="546" y="10"/>
                  </a:lnTo>
                  <a:lnTo>
                    <a:pt x="546" y="0"/>
                  </a:lnTo>
                  <a:lnTo>
                    <a:pt x="556" y="20"/>
                  </a:lnTo>
                  <a:lnTo>
                    <a:pt x="566" y="39"/>
                  </a:lnTo>
                  <a:lnTo>
                    <a:pt x="566" y="59"/>
                  </a:lnTo>
                  <a:lnTo>
                    <a:pt x="566" y="69"/>
                  </a:lnTo>
                  <a:lnTo>
                    <a:pt x="575" y="69"/>
                  </a:lnTo>
                  <a:lnTo>
                    <a:pt x="575" y="78"/>
                  </a:lnTo>
                  <a:lnTo>
                    <a:pt x="566" y="88"/>
                  </a:lnTo>
                  <a:lnTo>
                    <a:pt x="575" y="88"/>
                  </a:lnTo>
                  <a:lnTo>
                    <a:pt x="595" y="69"/>
                  </a:lnTo>
                  <a:lnTo>
                    <a:pt x="605" y="78"/>
                  </a:lnTo>
                  <a:lnTo>
                    <a:pt x="605" y="98"/>
                  </a:lnTo>
                  <a:lnTo>
                    <a:pt x="634" y="137"/>
                  </a:lnTo>
                  <a:lnTo>
                    <a:pt x="653" y="147"/>
                  </a:lnTo>
                  <a:lnTo>
                    <a:pt x="653" y="157"/>
                  </a:lnTo>
                  <a:lnTo>
                    <a:pt x="673" y="186"/>
                  </a:lnTo>
                  <a:lnTo>
                    <a:pt x="692" y="196"/>
                  </a:lnTo>
                  <a:lnTo>
                    <a:pt x="712" y="205"/>
                  </a:lnTo>
                  <a:lnTo>
                    <a:pt x="692" y="215"/>
                  </a:lnTo>
                  <a:lnTo>
                    <a:pt x="683" y="225"/>
                  </a:lnTo>
                  <a:lnTo>
                    <a:pt x="692" y="235"/>
                  </a:lnTo>
                  <a:lnTo>
                    <a:pt x="702" y="244"/>
                  </a:lnTo>
                  <a:lnTo>
                    <a:pt x="731" y="225"/>
                  </a:lnTo>
                  <a:lnTo>
                    <a:pt x="751" y="215"/>
                  </a:lnTo>
                  <a:lnTo>
                    <a:pt x="770" y="225"/>
                  </a:lnTo>
                  <a:lnTo>
                    <a:pt x="780" y="254"/>
                  </a:lnTo>
                  <a:lnTo>
                    <a:pt x="780" y="264"/>
                  </a:lnTo>
                  <a:lnTo>
                    <a:pt x="790" y="274"/>
                  </a:lnTo>
                  <a:lnTo>
                    <a:pt x="809" y="254"/>
                  </a:lnTo>
                  <a:lnTo>
                    <a:pt x="829" y="264"/>
                  </a:lnTo>
                  <a:lnTo>
                    <a:pt x="829" y="283"/>
                  </a:lnTo>
                  <a:lnTo>
                    <a:pt x="839" y="293"/>
                  </a:lnTo>
                  <a:lnTo>
                    <a:pt x="839" y="313"/>
                  </a:lnTo>
                  <a:lnTo>
                    <a:pt x="839" y="332"/>
                  </a:lnTo>
                  <a:lnTo>
                    <a:pt x="839" y="342"/>
                  </a:lnTo>
                  <a:lnTo>
                    <a:pt x="858" y="342"/>
                  </a:lnTo>
                  <a:lnTo>
                    <a:pt x="858" y="352"/>
                  </a:lnTo>
                  <a:lnTo>
                    <a:pt x="878" y="371"/>
                  </a:lnTo>
                  <a:lnTo>
                    <a:pt x="858" y="371"/>
                  </a:lnTo>
                  <a:lnTo>
                    <a:pt x="858" y="391"/>
                  </a:lnTo>
                  <a:lnTo>
                    <a:pt x="858" y="400"/>
                  </a:lnTo>
                  <a:lnTo>
                    <a:pt x="858" y="430"/>
                  </a:lnTo>
                  <a:lnTo>
                    <a:pt x="887" y="430"/>
                  </a:lnTo>
                  <a:lnTo>
                    <a:pt x="917" y="488"/>
                  </a:lnTo>
                  <a:lnTo>
                    <a:pt x="897" y="498"/>
                  </a:lnTo>
                  <a:lnTo>
                    <a:pt x="878" y="508"/>
                  </a:lnTo>
                  <a:lnTo>
                    <a:pt x="848" y="527"/>
                  </a:lnTo>
                  <a:lnTo>
                    <a:pt x="839" y="547"/>
                  </a:lnTo>
                  <a:lnTo>
                    <a:pt x="819" y="566"/>
                  </a:lnTo>
                  <a:lnTo>
                    <a:pt x="809" y="605"/>
                  </a:lnTo>
                  <a:lnTo>
                    <a:pt x="829" y="605"/>
                  </a:lnTo>
                  <a:lnTo>
                    <a:pt x="848" y="596"/>
                  </a:lnTo>
                  <a:lnTo>
                    <a:pt x="848" y="605"/>
                  </a:lnTo>
                  <a:lnTo>
                    <a:pt x="868" y="615"/>
                  </a:lnTo>
                  <a:lnTo>
                    <a:pt x="868" y="635"/>
                  </a:lnTo>
                  <a:lnTo>
                    <a:pt x="878" y="644"/>
                  </a:lnTo>
                  <a:lnTo>
                    <a:pt x="878" y="654"/>
                  </a:lnTo>
                  <a:lnTo>
                    <a:pt x="878" y="674"/>
                  </a:lnTo>
                  <a:lnTo>
                    <a:pt x="868" y="683"/>
                  </a:lnTo>
                  <a:lnTo>
                    <a:pt x="858" y="703"/>
                  </a:lnTo>
                  <a:lnTo>
                    <a:pt x="848" y="722"/>
                  </a:lnTo>
                  <a:lnTo>
                    <a:pt x="848" y="742"/>
                  </a:lnTo>
                  <a:lnTo>
                    <a:pt x="848" y="761"/>
                  </a:lnTo>
                  <a:lnTo>
                    <a:pt x="848" y="791"/>
                  </a:lnTo>
                  <a:lnTo>
                    <a:pt x="839" y="820"/>
                  </a:lnTo>
                  <a:lnTo>
                    <a:pt x="839" y="830"/>
                  </a:lnTo>
                  <a:lnTo>
                    <a:pt x="829" y="839"/>
                  </a:lnTo>
                  <a:lnTo>
                    <a:pt x="829" y="859"/>
                  </a:lnTo>
                  <a:lnTo>
                    <a:pt x="839" y="869"/>
                  </a:lnTo>
                  <a:lnTo>
                    <a:pt x="848" y="879"/>
                  </a:lnTo>
                  <a:lnTo>
                    <a:pt x="848" y="898"/>
                  </a:lnTo>
                  <a:lnTo>
                    <a:pt x="839" y="908"/>
                  </a:lnTo>
                  <a:lnTo>
                    <a:pt x="839" y="918"/>
                  </a:lnTo>
                  <a:lnTo>
                    <a:pt x="809" y="927"/>
                  </a:lnTo>
                  <a:lnTo>
                    <a:pt x="790" y="957"/>
                  </a:lnTo>
                  <a:lnTo>
                    <a:pt x="770" y="976"/>
                  </a:lnTo>
                  <a:lnTo>
                    <a:pt x="770" y="996"/>
                  </a:lnTo>
                  <a:lnTo>
                    <a:pt x="761" y="996"/>
                  </a:lnTo>
                  <a:lnTo>
                    <a:pt x="722" y="996"/>
                  </a:lnTo>
                  <a:lnTo>
                    <a:pt x="683" y="986"/>
                  </a:lnTo>
                  <a:lnTo>
                    <a:pt x="653" y="976"/>
                  </a:lnTo>
                  <a:lnTo>
                    <a:pt x="624" y="966"/>
                  </a:lnTo>
                  <a:lnTo>
                    <a:pt x="614" y="976"/>
                  </a:lnTo>
                  <a:lnTo>
                    <a:pt x="605" y="996"/>
                  </a:lnTo>
                  <a:lnTo>
                    <a:pt x="585" y="996"/>
                  </a:lnTo>
                  <a:lnTo>
                    <a:pt x="556" y="986"/>
                  </a:lnTo>
                  <a:lnTo>
                    <a:pt x="527" y="976"/>
                  </a:lnTo>
                  <a:lnTo>
                    <a:pt x="488" y="976"/>
                  </a:lnTo>
                  <a:lnTo>
                    <a:pt x="478" y="947"/>
                  </a:lnTo>
                  <a:lnTo>
                    <a:pt x="497" y="937"/>
                  </a:lnTo>
                  <a:lnTo>
                    <a:pt x="517" y="927"/>
                  </a:lnTo>
                  <a:lnTo>
                    <a:pt x="556" y="918"/>
                  </a:lnTo>
                  <a:lnTo>
                    <a:pt x="566" y="898"/>
                  </a:lnTo>
                  <a:lnTo>
                    <a:pt x="575" y="888"/>
                  </a:lnTo>
                  <a:lnTo>
                    <a:pt x="556" y="888"/>
                  </a:lnTo>
                  <a:lnTo>
                    <a:pt x="536" y="888"/>
                  </a:lnTo>
                  <a:lnTo>
                    <a:pt x="536" y="859"/>
                  </a:lnTo>
                  <a:lnTo>
                    <a:pt x="546" y="859"/>
                  </a:lnTo>
                  <a:lnTo>
                    <a:pt x="566" y="859"/>
                  </a:lnTo>
                  <a:lnTo>
                    <a:pt x="566" y="839"/>
                  </a:lnTo>
                  <a:lnTo>
                    <a:pt x="556" y="839"/>
                  </a:lnTo>
                  <a:lnTo>
                    <a:pt x="546" y="820"/>
                  </a:lnTo>
                  <a:lnTo>
                    <a:pt x="527" y="820"/>
                  </a:lnTo>
                  <a:lnTo>
                    <a:pt x="517" y="810"/>
                  </a:lnTo>
                  <a:lnTo>
                    <a:pt x="507" y="800"/>
                  </a:lnTo>
                  <a:lnTo>
                    <a:pt x="488" y="800"/>
                  </a:lnTo>
                  <a:lnTo>
                    <a:pt x="478" y="810"/>
                  </a:lnTo>
                  <a:lnTo>
                    <a:pt x="458" y="820"/>
                  </a:lnTo>
                  <a:lnTo>
                    <a:pt x="458" y="830"/>
                  </a:lnTo>
                  <a:lnTo>
                    <a:pt x="449" y="839"/>
                  </a:lnTo>
                  <a:lnTo>
                    <a:pt x="410" y="839"/>
                  </a:lnTo>
                  <a:lnTo>
                    <a:pt x="390" y="859"/>
                  </a:lnTo>
                  <a:lnTo>
                    <a:pt x="400" y="879"/>
                  </a:lnTo>
                  <a:lnTo>
                    <a:pt x="410" y="879"/>
                  </a:lnTo>
                  <a:lnTo>
                    <a:pt x="390" y="888"/>
                  </a:lnTo>
                  <a:lnTo>
                    <a:pt x="380" y="888"/>
                  </a:lnTo>
                  <a:lnTo>
                    <a:pt x="361" y="898"/>
                  </a:lnTo>
                  <a:lnTo>
                    <a:pt x="351" y="918"/>
                  </a:lnTo>
                  <a:lnTo>
                    <a:pt x="341" y="927"/>
                  </a:lnTo>
                  <a:lnTo>
                    <a:pt x="341" y="937"/>
                  </a:lnTo>
                  <a:lnTo>
                    <a:pt x="331" y="937"/>
                  </a:lnTo>
                  <a:lnTo>
                    <a:pt x="331" y="918"/>
                  </a:lnTo>
                  <a:lnTo>
                    <a:pt x="331" y="908"/>
                  </a:lnTo>
                  <a:lnTo>
                    <a:pt x="322" y="908"/>
                  </a:lnTo>
                  <a:lnTo>
                    <a:pt x="322" y="918"/>
                  </a:lnTo>
                  <a:lnTo>
                    <a:pt x="322" y="937"/>
                  </a:lnTo>
                  <a:lnTo>
                    <a:pt x="322" y="947"/>
                  </a:lnTo>
                  <a:lnTo>
                    <a:pt x="322" y="957"/>
                  </a:lnTo>
                  <a:lnTo>
                    <a:pt x="341" y="966"/>
                  </a:lnTo>
                  <a:lnTo>
                    <a:pt x="351" y="976"/>
                  </a:lnTo>
                  <a:lnTo>
                    <a:pt x="371" y="957"/>
                  </a:lnTo>
                  <a:lnTo>
                    <a:pt x="380" y="957"/>
                  </a:lnTo>
                  <a:lnTo>
                    <a:pt x="390" y="976"/>
                  </a:lnTo>
                  <a:lnTo>
                    <a:pt x="400" y="976"/>
                  </a:lnTo>
                  <a:lnTo>
                    <a:pt x="439" y="966"/>
                  </a:lnTo>
                  <a:lnTo>
                    <a:pt x="449" y="947"/>
                  </a:lnTo>
                  <a:lnTo>
                    <a:pt x="478" y="947"/>
                  </a:lnTo>
                  <a:lnTo>
                    <a:pt x="488" y="976"/>
                  </a:lnTo>
                  <a:lnTo>
                    <a:pt x="458" y="986"/>
                  </a:lnTo>
                  <a:lnTo>
                    <a:pt x="410" y="1044"/>
                  </a:lnTo>
                  <a:lnTo>
                    <a:pt x="410" y="1074"/>
                  </a:lnTo>
                  <a:lnTo>
                    <a:pt x="390" y="1083"/>
                  </a:lnTo>
                  <a:lnTo>
                    <a:pt x="371" y="1083"/>
                  </a:lnTo>
                  <a:lnTo>
                    <a:pt x="351" y="1093"/>
                  </a:lnTo>
                  <a:lnTo>
                    <a:pt x="331" y="1113"/>
                  </a:lnTo>
                  <a:lnTo>
                    <a:pt x="302" y="1122"/>
                  </a:lnTo>
                  <a:lnTo>
                    <a:pt x="292" y="1132"/>
                  </a:lnTo>
                  <a:lnTo>
                    <a:pt x="273" y="1152"/>
                  </a:lnTo>
                  <a:lnTo>
                    <a:pt x="244" y="1152"/>
                  </a:lnTo>
                  <a:lnTo>
                    <a:pt x="224" y="1152"/>
                  </a:lnTo>
                  <a:lnTo>
                    <a:pt x="195" y="1152"/>
                  </a:lnTo>
                  <a:lnTo>
                    <a:pt x="175" y="1152"/>
                  </a:lnTo>
                  <a:lnTo>
                    <a:pt x="156" y="1152"/>
                  </a:lnTo>
                  <a:lnTo>
                    <a:pt x="146" y="1142"/>
                  </a:lnTo>
                  <a:lnTo>
                    <a:pt x="88" y="1152"/>
                  </a:lnTo>
                  <a:lnTo>
                    <a:pt x="68" y="1142"/>
                  </a:lnTo>
                  <a:lnTo>
                    <a:pt x="58" y="1132"/>
                  </a:lnTo>
                  <a:lnTo>
                    <a:pt x="39" y="1122"/>
                  </a:lnTo>
                  <a:lnTo>
                    <a:pt x="29" y="1113"/>
                  </a:lnTo>
                  <a:lnTo>
                    <a:pt x="19" y="1093"/>
                  </a:lnTo>
                  <a:lnTo>
                    <a:pt x="10" y="1093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4" name="Freeform 115"/>
            <p:cNvSpPr>
              <a:spLocks/>
            </p:cNvSpPr>
            <p:nvPr/>
          </p:nvSpPr>
          <p:spPr bwMode="auto">
            <a:xfrm>
              <a:off x="6613" y="3093"/>
              <a:ext cx="1120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42 w 1122"/>
                <a:gd name="T21" fmla="*/ 693 h 761"/>
                <a:gd name="T22" fmla="*/ 800 w 1122"/>
                <a:gd name="T23" fmla="*/ 741 h 761"/>
                <a:gd name="T24" fmla="*/ 869 w 1122"/>
                <a:gd name="T25" fmla="*/ 75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51 h 761"/>
                <a:gd name="T32" fmla="*/ 1083 w 1122"/>
                <a:gd name="T33" fmla="*/ 69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7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7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36 h 761"/>
                <a:gd name="T86" fmla="*/ 488 w 1122"/>
                <a:gd name="T87" fmla="*/ 15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10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42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5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44" y="751"/>
                  </a:lnTo>
                  <a:lnTo>
                    <a:pt x="1064" y="75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9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44" y="605"/>
                  </a:lnTo>
                  <a:lnTo>
                    <a:pt x="104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47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51"/>
                  </a:lnTo>
                  <a:lnTo>
                    <a:pt x="1025" y="351"/>
                  </a:lnTo>
                  <a:lnTo>
                    <a:pt x="1044" y="341"/>
                  </a:lnTo>
                  <a:lnTo>
                    <a:pt x="1064" y="33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7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5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7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36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59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36"/>
                  </a:lnTo>
                  <a:lnTo>
                    <a:pt x="537" y="136"/>
                  </a:lnTo>
                  <a:lnTo>
                    <a:pt x="527" y="136"/>
                  </a:lnTo>
                  <a:lnTo>
                    <a:pt x="517" y="136"/>
                  </a:lnTo>
                  <a:lnTo>
                    <a:pt x="517" y="156"/>
                  </a:lnTo>
                  <a:lnTo>
                    <a:pt x="498" y="156"/>
                  </a:lnTo>
                  <a:lnTo>
                    <a:pt x="498" y="146"/>
                  </a:lnTo>
                  <a:lnTo>
                    <a:pt x="488" y="15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19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56"/>
                  </a:lnTo>
                  <a:lnTo>
                    <a:pt x="137" y="136"/>
                  </a:lnTo>
                  <a:lnTo>
                    <a:pt x="117" y="156"/>
                  </a:lnTo>
                  <a:lnTo>
                    <a:pt x="108" y="146"/>
                  </a:lnTo>
                  <a:lnTo>
                    <a:pt x="88" y="136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10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3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95" name="Group 112"/>
            <p:cNvGrpSpPr>
              <a:grpSpLocks/>
            </p:cNvGrpSpPr>
            <p:nvPr/>
          </p:nvGrpSpPr>
          <p:grpSpPr bwMode="auto">
            <a:xfrm>
              <a:off x="6612" y="3093"/>
              <a:ext cx="1122" cy="761"/>
              <a:chOff x="6613" y="3093"/>
              <a:chExt cx="1122" cy="761"/>
            </a:xfrm>
          </p:grpSpPr>
          <p:sp>
            <p:nvSpPr>
              <p:cNvPr id="692" name="Freeform 114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  <a:lnTo>
                      <a:pt x="205" y="361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3" name="Freeform 113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96" name="Freeform 111"/>
            <p:cNvSpPr>
              <a:spLocks/>
            </p:cNvSpPr>
            <p:nvPr/>
          </p:nvSpPr>
          <p:spPr bwMode="auto">
            <a:xfrm>
              <a:off x="7237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7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17 h 1883"/>
                <a:gd name="T32" fmla="*/ 98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34 w 1112"/>
                <a:gd name="T73" fmla="*/ 263 h 1883"/>
                <a:gd name="T74" fmla="*/ 702 w 1112"/>
                <a:gd name="T75" fmla="*/ 244 h 1883"/>
                <a:gd name="T76" fmla="*/ 682 w 1112"/>
                <a:gd name="T77" fmla="*/ 14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44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39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8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36" y="167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78"/>
                  </a:lnTo>
                  <a:lnTo>
                    <a:pt x="624" y="1688"/>
                  </a:lnTo>
                  <a:lnTo>
                    <a:pt x="643" y="167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78"/>
                  </a:lnTo>
                  <a:lnTo>
                    <a:pt x="741" y="167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1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85" y="1756"/>
                  </a:lnTo>
                  <a:lnTo>
                    <a:pt x="98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8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24" y="1571"/>
                  </a:lnTo>
                  <a:lnTo>
                    <a:pt x="102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1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85" y="1229"/>
                  </a:lnTo>
                  <a:lnTo>
                    <a:pt x="985" y="120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22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82" y="1024"/>
                  </a:lnTo>
                  <a:lnTo>
                    <a:pt x="682" y="1034"/>
                  </a:lnTo>
                  <a:lnTo>
                    <a:pt x="682" y="1053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3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1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8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3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82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2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82" y="14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34" y="146"/>
                  </a:lnTo>
                  <a:lnTo>
                    <a:pt x="614" y="14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8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9"/>
                  </a:lnTo>
                  <a:lnTo>
                    <a:pt x="458" y="0"/>
                  </a:lnTo>
                  <a:lnTo>
                    <a:pt x="448" y="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68"/>
                  </a:lnTo>
                  <a:lnTo>
                    <a:pt x="38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68"/>
                  </a:lnTo>
                  <a:lnTo>
                    <a:pt x="331" y="8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44"/>
                  </a:lnTo>
                  <a:lnTo>
                    <a:pt x="48" y="644"/>
                  </a:lnTo>
                  <a:lnTo>
                    <a:pt x="29" y="653"/>
                  </a:lnTo>
                  <a:lnTo>
                    <a:pt x="29" y="683"/>
                  </a:lnTo>
                  <a:lnTo>
                    <a:pt x="29" y="70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61"/>
                  </a:lnTo>
                  <a:lnTo>
                    <a:pt x="19" y="770"/>
                  </a:lnTo>
                  <a:lnTo>
                    <a:pt x="29" y="78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3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87" y="975"/>
                  </a:lnTo>
                  <a:lnTo>
                    <a:pt x="78" y="985"/>
                  </a:lnTo>
                  <a:lnTo>
                    <a:pt x="7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7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3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75" y="1190"/>
                  </a:lnTo>
                  <a:lnTo>
                    <a:pt x="175" y="120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3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7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3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39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8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31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97" name="Group 108"/>
            <p:cNvGrpSpPr>
              <a:grpSpLocks/>
            </p:cNvGrpSpPr>
            <p:nvPr/>
          </p:nvGrpSpPr>
          <p:grpSpPr bwMode="auto">
            <a:xfrm>
              <a:off x="7237" y="2059"/>
              <a:ext cx="1112" cy="1883"/>
              <a:chOff x="7238" y="2059"/>
              <a:chExt cx="1112" cy="1883"/>
            </a:xfrm>
          </p:grpSpPr>
          <p:sp>
            <p:nvSpPr>
              <p:cNvPr id="690" name="Freeform 110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331 w 1112"/>
                  <a:gd name="T125" fmla="*/ 1590 h 188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12"/>
                  <a:gd name="T190" fmla="*/ 0 h 1883"/>
                  <a:gd name="T191" fmla="*/ 1112 w 1112"/>
                  <a:gd name="T192" fmla="*/ 1883 h 188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  <a:lnTo>
                      <a:pt x="331" y="1590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1" name="Freeform 109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12"/>
                  <a:gd name="T187" fmla="*/ 0 h 1883"/>
                  <a:gd name="T188" fmla="*/ 1112 w 1112"/>
                  <a:gd name="T189" fmla="*/ 1883 h 188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98" name="Freeform 107"/>
            <p:cNvSpPr>
              <a:spLocks/>
            </p:cNvSpPr>
            <p:nvPr/>
          </p:nvSpPr>
          <p:spPr bwMode="auto">
            <a:xfrm>
              <a:off x="7716" y="3006"/>
              <a:ext cx="29" cy="28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599" name="Group 104"/>
            <p:cNvGrpSpPr>
              <a:grpSpLocks/>
            </p:cNvGrpSpPr>
            <p:nvPr/>
          </p:nvGrpSpPr>
          <p:grpSpPr bwMode="auto">
            <a:xfrm>
              <a:off x="7715" y="3005"/>
              <a:ext cx="29" cy="29"/>
              <a:chOff x="7716" y="3005"/>
              <a:chExt cx="29" cy="29"/>
            </a:xfrm>
          </p:grpSpPr>
          <p:sp>
            <p:nvSpPr>
              <p:cNvPr id="688" name="Freeform 106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9" name="Freeform 105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00" name="Freeform 103"/>
            <p:cNvSpPr>
              <a:spLocks/>
            </p:cNvSpPr>
            <p:nvPr/>
          </p:nvSpPr>
          <p:spPr bwMode="auto">
            <a:xfrm>
              <a:off x="7754" y="2978"/>
              <a:ext cx="58" cy="47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2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2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01" name="Group 100"/>
            <p:cNvGrpSpPr>
              <a:grpSpLocks/>
            </p:cNvGrpSpPr>
            <p:nvPr/>
          </p:nvGrpSpPr>
          <p:grpSpPr bwMode="auto">
            <a:xfrm>
              <a:off x="7754" y="2976"/>
              <a:ext cx="58" cy="49"/>
              <a:chOff x="7755" y="2976"/>
              <a:chExt cx="58" cy="49"/>
            </a:xfrm>
          </p:grpSpPr>
          <p:sp>
            <p:nvSpPr>
              <p:cNvPr id="686" name="Freeform 102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7" name="Freeform 101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02" name="Freeform 99"/>
            <p:cNvSpPr>
              <a:spLocks/>
            </p:cNvSpPr>
            <p:nvPr/>
          </p:nvSpPr>
          <p:spPr bwMode="auto">
            <a:xfrm>
              <a:off x="8083" y="2858"/>
              <a:ext cx="646" cy="818"/>
            </a:xfrm>
            <a:custGeom>
              <a:avLst/>
              <a:gdLst>
                <a:gd name="T0" fmla="*/ 127 w 644"/>
                <a:gd name="T1" fmla="*/ 273 h 819"/>
                <a:gd name="T2" fmla="*/ 147 w 644"/>
                <a:gd name="T3" fmla="*/ 292 h 819"/>
                <a:gd name="T4" fmla="*/ 176 w 644"/>
                <a:gd name="T5" fmla="*/ 302 h 819"/>
                <a:gd name="T6" fmla="*/ 215 w 644"/>
                <a:gd name="T7" fmla="*/ 331 h 819"/>
                <a:gd name="T8" fmla="*/ 234 w 644"/>
                <a:gd name="T9" fmla="*/ 370 h 819"/>
                <a:gd name="T10" fmla="*/ 293 w 644"/>
                <a:gd name="T11" fmla="*/ 439 h 819"/>
                <a:gd name="T12" fmla="*/ 332 w 644"/>
                <a:gd name="T13" fmla="*/ 507 h 819"/>
                <a:gd name="T14" fmla="*/ 351 w 644"/>
                <a:gd name="T15" fmla="*/ 566 h 819"/>
                <a:gd name="T16" fmla="*/ 410 w 644"/>
                <a:gd name="T17" fmla="*/ 595 h 819"/>
                <a:gd name="T18" fmla="*/ 439 w 644"/>
                <a:gd name="T19" fmla="*/ 624 h 819"/>
                <a:gd name="T20" fmla="*/ 459 w 644"/>
                <a:gd name="T21" fmla="*/ 683 h 819"/>
                <a:gd name="T22" fmla="*/ 488 w 644"/>
                <a:gd name="T23" fmla="*/ 722 h 819"/>
                <a:gd name="T24" fmla="*/ 527 w 644"/>
                <a:gd name="T25" fmla="*/ 780 h 819"/>
                <a:gd name="T26" fmla="*/ 556 w 644"/>
                <a:gd name="T27" fmla="*/ 810 h 819"/>
                <a:gd name="T28" fmla="*/ 566 w 644"/>
                <a:gd name="T29" fmla="*/ 800 h 819"/>
                <a:gd name="T30" fmla="*/ 547 w 644"/>
                <a:gd name="T31" fmla="*/ 741 h 819"/>
                <a:gd name="T32" fmla="*/ 547 w 644"/>
                <a:gd name="T33" fmla="*/ 712 h 819"/>
                <a:gd name="T34" fmla="*/ 605 w 644"/>
                <a:gd name="T35" fmla="*/ 702 h 819"/>
                <a:gd name="T36" fmla="*/ 634 w 644"/>
                <a:gd name="T37" fmla="*/ 731 h 819"/>
                <a:gd name="T38" fmla="*/ 644 w 644"/>
                <a:gd name="T39" fmla="*/ 722 h 819"/>
                <a:gd name="T40" fmla="*/ 625 w 644"/>
                <a:gd name="T41" fmla="*/ 692 h 819"/>
                <a:gd name="T42" fmla="*/ 595 w 644"/>
                <a:gd name="T43" fmla="*/ 663 h 819"/>
                <a:gd name="T44" fmla="*/ 576 w 644"/>
                <a:gd name="T45" fmla="*/ 673 h 819"/>
                <a:gd name="T46" fmla="*/ 537 w 644"/>
                <a:gd name="T47" fmla="*/ 653 h 819"/>
                <a:gd name="T48" fmla="*/ 478 w 644"/>
                <a:gd name="T49" fmla="*/ 624 h 819"/>
                <a:gd name="T50" fmla="*/ 429 w 644"/>
                <a:gd name="T51" fmla="*/ 546 h 819"/>
                <a:gd name="T52" fmla="*/ 410 w 644"/>
                <a:gd name="T53" fmla="*/ 488 h 819"/>
                <a:gd name="T54" fmla="*/ 410 w 644"/>
                <a:gd name="T55" fmla="*/ 449 h 819"/>
                <a:gd name="T56" fmla="*/ 449 w 644"/>
                <a:gd name="T57" fmla="*/ 429 h 819"/>
                <a:gd name="T58" fmla="*/ 527 w 644"/>
                <a:gd name="T59" fmla="*/ 439 h 819"/>
                <a:gd name="T60" fmla="*/ 527 w 644"/>
                <a:gd name="T61" fmla="*/ 429 h 819"/>
                <a:gd name="T62" fmla="*/ 488 w 644"/>
                <a:gd name="T63" fmla="*/ 419 h 819"/>
                <a:gd name="T64" fmla="*/ 449 w 644"/>
                <a:gd name="T65" fmla="*/ 380 h 819"/>
                <a:gd name="T66" fmla="*/ 429 w 644"/>
                <a:gd name="T67" fmla="*/ 361 h 819"/>
                <a:gd name="T68" fmla="*/ 390 w 644"/>
                <a:gd name="T69" fmla="*/ 341 h 819"/>
                <a:gd name="T70" fmla="*/ 322 w 644"/>
                <a:gd name="T71" fmla="*/ 292 h 819"/>
                <a:gd name="T72" fmla="*/ 283 w 644"/>
                <a:gd name="T73" fmla="*/ 273 h 819"/>
                <a:gd name="T74" fmla="*/ 254 w 644"/>
                <a:gd name="T75" fmla="*/ 244 h 819"/>
                <a:gd name="T76" fmla="*/ 234 w 644"/>
                <a:gd name="T77" fmla="*/ 234 h 819"/>
                <a:gd name="T78" fmla="*/ 225 w 644"/>
                <a:gd name="T79" fmla="*/ 214 h 819"/>
                <a:gd name="T80" fmla="*/ 205 w 644"/>
                <a:gd name="T81" fmla="*/ 205 h 819"/>
                <a:gd name="T82" fmla="*/ 195 w 644"/>
                <a:gd name="T83" fmla="*/ 185 h 819"/>
                <a:gd name="T84" fmla="*/ 176 w 644"/>
                <a:gd name="T85" fmla="*/ 156 h 819"/>
                <a:gd name="T86" fmla="*/ 186 w 644"/>
                <a:gd name="T87" fmla="*/ 156 h 819"/>
                <a:gd name="T88" fmla="*/ 147 w 644"/>
                <a:gd name="T89" fmla="*/ 117 h 819"/>
                <a:gd name="T90" fmla="*/ 117 w 644"/>
                <a:gd name="T91" fmla="*/ 97 h 819"/>
                <a:gd name="T92" fmla="*/ 137 w 644"/>
                <a:gd name="T93" fmla="*/ 97 h 819"/>
                <a:gd name="T94" fmla="*/ 88 w 644"/>
                <a:gd name="T95" fmla="*/ 78 h 819"/>
                <a:gd name="T96" fmla="*/ 59 w 644"/>
                <a:gd name="T97" fmla="*/ 39 h 819"/>
                <a:gd name="T98" fmla="*/ 30 w 644"/>
                <a:gd name="T99" fmla="*/ 19 h 819"/>
                <a:gd name="T100" fmla="*/ 10 w 644"/>
                <a:gd name="T101" fmla="*/ 19 h 819"/>
                <a:gd name="T102" fmla="*/ 0 w 644"/>
                <a:gd name="T103" fmla="*/ 39 h 819"/>
                <a:gd name="T104" fmla="*/ 30 w 644"/>
                <a:gd name="T105" fmla="*/ 58 h 819"/>
                <a:gd name="T106" fmla="*/ 59 w 644"/>
                <a:gd name="T107" fmla="*/ 68 h 819"/>
                <a:gd name="T108" fmla="*/ 69 w 644"/>
                <a:gd name="T109" fmla="*/ 78 h 819"/>
                <a:gd name="T110" fmla="*/ 69 w 644"/>
                <a:gd name="T111" fmla="*/ 88 h 819"/>
                <a:gd name="T112" fmla="*/ 59 w 644"/>
                <a:gd name="T113" fmla="*/ 117 h 819"/>
                <a:gd name="T114" fmla="*/ 39 w 644"/>
                <a:gd name="T115" fmla="*/ 117 h 819"/>
                <a:gd name="T116" fmla="*/ 49 w 644"/>
                <a:gd name="T117" fmla="*/ 156 h 819"/>
                <a:gd name="T118" fmla="*/ 78 w 644"/>
                <a:gd name="T119" fmla="*/ 185 h 819"/>
                <a:gd name="T120" fmla="*/ 98 w 644"/>
                <a:gd name="T121" fmla="*/ 234 h 81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4"/>
                <a:gd name="T184" fmla="*/ 0 h 819"/>
                <a:gd name="T185" fmla="*/ 644 w 644"/>
                <a:gd name="T186" fmla="*/ 819 h 81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4" h="819">
                  <a:moveTo>
                    <a:pt x="117" y="253"/>
                  </a:moveTo>
                  <a:lnTo>
                    <a:pt x="117" y="273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83"/>
                  </a:lnTo>
                  <a:lnTo>
                    <a:pt x="147" y="292"/>
                  </a:lnTo>
                  <a:lnTo>
                    <a:pt x="137" y="292"/>
                  </a:lnTo>
                  <a:lnTo>
                    <a:pt x="166" y="302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95" y="322"/>
                  </a:lnTo>
                  <a:lnTo>
                    <a:pt x="215" y="331"/>
                  </a:lnTo>
                  <a:lnTo>
                    <a:pt x="225" y="341"/>
                  </a:lnTo>
                  <a:lnTo>
                    <a:pt x="225" y="370"/>
                  </a:lnTo>
                  <a:lnTo>
                    <a:pt x="234" y="370"/>
                  </a:lnTo>
                  <a:lnTo>
                    <a:pt x="254" y="400"/>
                  </a:lnTo>
                  <a:lnTo>
                    <a:pt x="273" y="419"/>
                  </a:lnTo>
                  <a:lnTo>
                    <a:pt x="293" y="439"/>
                  </a:lnTo>
                  <a:lnTo>
                    <a:pt x="312" y="458"/>
                  </a:lnTo>
                  <a:lnTo>
                    <a:pt x="322" y="488"/>
                  </a:lnTo>
                  <a:lnTo>
                    <a:pt x="332" y="507"/>
                  </a:lnTo>
                  <a:lnTo>
                    <a:pt x="342" y="517"/>
                  </a:lnTo>
                  <a:lnTo>
                    <a:pt x="351" y="546"/>
                  </a:lnTo>
                  <a:lnTo>
                    <a:pt x="351" y="566"/>
                  </a:lnTo>
                  <a:lnTo>
                    <a:pt x="371" y="585"/>
                  </a:lnTo>
                  <a:lnTo>
                    <a:pt x="390" y="585"/>
                  </a:lnTo>
                  <a:lnTo>
                    <a:pt x="410" y="595"/>
                  </a:lnTo>
                  <a:lnTo>
                    <a:pt x="420" y="605"/>
                  </a:lnTo>
                  <a:lnTo>
                    <a:pt x="429" y="605"/>
                  </a:lnTo>
                  <a:lnTo>
                    <a:pt x="439" y="624"/>
                  </a:lnTo>
                  <a:lnTo>
                    <a:pt x="439" y="644"/>
                  </a:lnTo>
                  <a:lnTo>
                    <a:pt x="449" y="673"/>
                  </a:lnTo>
                  <a:lnTo>
                    <a:pt x="459" y="683"/>
                  </a:lnTo>
                  <a:lnTo>
                    <a:pt x="468" y="692"/>
                  </a:lnTo>
                  <a:lnTo>
                    <a:pt x="478" y="702"/>
                  </a:lnTo>
                  <a:lnTo>
                    <a:pt x="488" y="722"/>
                  </a:lnTo>
                  <a:lnTo>
                    <a:pt x="488" y="751"/>
                  </a:lnTo>
                  <a:lnTo>
                    <a:pt x="508" y="771"/>
                  </a:lnTo>
                  <a:lnTo>
                    <a:pt x="527" y="780"/>
                  </a:lnTo>
                  <a:lnTo>
                    <a:pt x="537" y="800"/>
                  </a:lnTo>
                  <a:lnTo>
                    <a:pt x="547" y="810"/>
                  </a:lnTo>
                  <a:lnTo>
                    <a:pt x="556" y="810"/>
                  </a:lnTo>
                  <a:lnTo>
                    <a:pt x="576" y="819"/>
                  </a:lnTo>
                  <a:lnTo>
                    <a:pt x="576" y="810"/>
                  </a:lnTo>
                  <a:lnTo>
                    <a:pt x="566" y="800"/>
                  </a:lnTo>
                  <a:lnTo>
                    <a:pt x="566" y="780"/>
                  </a:lnTo>
                  <a:lnTo>
                    <a:pt x="556" y="771"/>
                  </a:lnTo>
                  <a:lnTo>
                    <a:pt x="547" y="741"/>
                  </a:lnTo>
                  <a:lnTo>
                    <a:pt x="537" y="731"/>
                  </a:lnTo>
                  <a:lnTo>
                    <a:pt x="547" y="712"/>
                  </a:lnTo>
                  <a:lnTo>
                    <a:pt x="566" y="712"/>
                  </a:lnTo>
                  <a:lnTo>
                    <a:pt x="586" y="702"/>
                  </a:lnTo>
                  <a:lnTo>
                    <a:pt x="605" y="702"/>
                  </a:lnTo>
                  <a:lnTo>
                    <a:pt x="615" y="712"/>
                  </a:lnTo>
                  <a:lnTo>
                    <a:pt x="634" y="722"/>
                  </a:lnTo>
                  <a:lnTo>
                    <a:pt x="634" y="731"/>
                  </a:lnTo>
                  <a:lnTo>
                    <a:pt x="644" y="741"/>
                  </a:lnTo>
                  <a:lnTo>
                    <a:pt x="644" y="731"/>
                  </a:lnTo>
                  <a:lnTo>
                    <a:pt x="644" y="722"/>
                  </a:lnTo>
                  <a:lnTo>
                    <a:pt x="644" y="702"/>
                  </a:lnTo>
                  <a:lnTo>
                    <a:pt x="634" y="702"/>
                  </a:lnTo>
                  <a:lnTo>
                    <a:pt x="625" y="692"/>
                  </a:lnTo>
                  <a:lnTo>
                    <a:pt x="615" y="683"/>
                  </a:lnTo>
                  <a:lnTo>
                    <a:pt x="605" y="673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76" y="673"/>
                  </a:lnTo>
                  <a:lnTo>
                    <a:pt x="566" y="673"/>
                  </a:lnTo>
                  <a:lnTo>
                    <a:pt x="556" y="653"/>
                  </a:lnTo>
                  <a:lnTo>
                    <a:pt x="537" y="653"/>
                  </a:lnTo>
                  <a:lnTo>
                    <a:pt x="517" y="644"/>
                  </a:lnTo>
                  <a:lnTo>
                    <a:pt x="488" y="644"/>
                  </a:lnTo>
                  <a:lnTo>
                    <a:pt x="478" y="624"/>
                  </a:lnTo>
                  <a:lnTo>
                    <a:pt x="459" y="595"/>
                  </a:lnTo>
                  <a:lnTo>
                    <a:pt x="439" y="566"/>
                  </a:lnTo>
                  <a:lnTo>
                    <a:pt x="429" y="546"/>
                  </a:lnTo>
                  <a:lnTo>
                    <a:pt x="429" y="517"/>
                  </a:lnTo>
                  <a:lnTo>
                    <a:pt x="420" y="497"/>
                  </a:lnTo>
                  <a:lnTo>
                    <a:pt x="410" y="488"/>
                  </a:lnTo>
                  <a:lnTo>
                    <a:pt x="400" y="478"/>
                  </a:lnTo>
                  <a:lnTo>
                    <a:pt x="400" y="468"/>
                  </a:lnTo>
                  <a:lnTo>
                    <a:pt x="410" y="449"/>
                  </a:lnTo>
                  <a:lnTo>
                    <a:pt x="410" y="439"/>
                  </a:lnTo>
                  <a:lnTo>
                    <a:pt x="429" y="429"/>
                  </a:lnTo>
                  <a:lnTo>
                    <a:pt x="449" y="429"/>
                  </a:lnTo>
                  <a:lnTo>
                    <a:pt x="478" y="429"/>
                  </a:lnTo>
                  <a:lnTo>
                    <a:pt x="517" y="429"/>
                  </a:lnTo>
                  <a:lnTo>
                    <a:pt x="527" y="439"/>
                  </a:lnTo>
                  <a:lnTo>
                    <a:pt x="537" y="449"/>
                  </a:lnTo>
                  <a:lnTo>
                    <a:pt x="537" y="439"/>
                  </a:lnTo>
                  <a:lnTo>
                    <a:pt x="527" y="429"/>
                  </a:lnTo>
                  <a:lnTo>
                    <a:pt x="517" y="419"/>
                  </a:lnTo>
                  <a:lnTo>
                    <a:pt x="498" y="419"/>
                  </a:lnTo>
                  <a:lnTo>
                    <a:pt x="488" y="419"/>
                  </a:lnTo>
                  <a:lnTo>
                    <a:pt x="478" y="410"/>
                  </a:lnTo>
                  <a:lnTo>
                    <a:pt x="468" y="400"/>
                  </a:lnTo>
                  <a:lnTo>
                    <a:pt x="449" y="380"/>
                  </a:lnTo>
                  <a:lnTo>
                    <a:pt x="439" y="380"/>
                  </a:lnTo>
                  <a:lnTo>
                    <a:pt x="429" y="370"/>
                  </a:lnTo>
                  <a:lnTo>
                    <a:pt x="429" y="361"/>
                  </a:lnTo>
                  <a:lnTo>
                    <a:pt x="410" y="361"/>
                  </a:lnTo>
                  <a:lnTo>
                    <a:pt x="400" y="351"/>
                  </a:lnTo>
                  <a:lnTo>
                    <a:pt x="390" y="341"/>
                  </a:lnTo>
                  <a:lnTo>
                    <a:pt x="371" y="331"/>
                  </a:lnTo>
                  <a:lnTo>
                    <a:pt x="342" y="312"/>
                  </a:lnTo>
                  <a:lnTo>
                    <a:pt x="322" y="292"/>
                  </a:lnTo>
                  <a:lnTo>
                    <a:pt x="293" y="273"/>
                  </a:lnTo>
                  <a:lnTo>
                    <a:pt x="283" y="263"/>
                  </a:lnTo>
                  <a:lnTo>
                    <a:pt x="283" y="273"/>
                  </a:lnTo>
                  <a:lnTo>
                    <a:pt x="273" y="263"/>
                  </a:lnTo>
                  <a:lnTo>
                    <a:pt x="273" y="253"/>
                  </a:lnTo>
                  <a:lnTo>
                    <a:pt x="254" y="244"/>
                  </a:lnTo>
                  <a:lnTo>
                    <a:pt x="244" y="244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25" y="214"/>
                  </a:lnTo>
                  <a:lnTo>
                    <a:pt x="215" y="21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195" y="205"/>
                  </a:lnTo>
                  <a:lnTo>
                    <a:pt x="195" y="195"/>
                  </a:lnTo>
                  <a:lnTo>
                    <a:pt x="195" y="185"/>
                  </a:lnTo>
                  <a:lnTo>
                    <a:pt x="186" y="185"/>
                  </a:lnTo>
                  <a:lnTo>
                    <a:pt x="176" y="185"/>
                  </a:lnTo>
                  <a:lnTo>
                    <a:pt x="176" y="156"/>
                  </a:lnTo>
                  <a:lnTo>
                    <a:pt x="186" y="166"/>
                  </a:lnTo>
                  <a:lnTo>
                    <a:pt x="186" y="156"/>
                  </a:lnTo>
                  <a:lnTo>
                    <a:pt x="176" y="146"/>
                  </a:lnTo>
                  <a:lnTo>
                    <a:pt x="166" y="127"/>
                  </a:lnTo>
                  <a:lnTo>
                    <a:pt x="147" y="117"/>
                  </a:lnTo>
                  <a:lnTo>
                    <a:pt x="127" y="117"/>
                  </a:lnTo>
                  <a:lnTo>
                    <a:pt x="117" y="107"/>
                  </a:lnTo>
                  <a:lnTo>
                    <a:pt x="117" y="97"/>
                  </a:lnTo>
                  <a:lnTo>
                    <a:pt x="117" y="88"/>
                  </a:lnTo>
                  <a:lnTo>
                    <a:pt x="127" y="97"/>
                  </a:lnTo>
                  <a:lnTo>
                    <a:pt x="137" y="97"/>
                  </a:lnTo>
                  <a:lnTo>
                    <a:pt x="127" y="88"/>
                  </a:lnTo>
                  <a:lnTo>
                    <a:pt x="108" y="78"/>
                  </a:lnTo>
                  <a:lnTo>
                    <a:pt x="88" y="78"/>
                  </a:lnTo>
                  <a:lnTo>
                    <a:pt x="88" y="68"/>
                  </a:lnTo>
                  <a:lnTo>
                    <a:pt x="69" y="49"/>
                  </a:lnTo>
                  <a:lnTo>
                    <a:pt x="59" y="39"/>
                  </a:lnTo>
                  <a:lnTo>
                    <a:pt x="59" y="19"/>
                  </a:lnTo>
                  <a:lnTo>
                    <a:pt x="49" y="19"/>
                  </a:lnTo>
                  <a:lnTo>
                    <a:pt x="30" y="19"/>
                  </a:lnTo>
                  <a:lnTo>
                    <a:pt x="2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10" y="2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58"/>
                  </a:lnTo>
                  <a:lnTo>
                    <a:pt x="49" y="58"/>
                  </a:lnTo>
                  <a:lnTo>
                    <a:pt x="59" y="58"/>
                  </a:lnTo>
                  <a:lnTo>
                    <a:pt x="59" y="68"/>
                  </a:lnTo>
                  <a:lnTo>
                    <a:pt x="69" y="68"/>
                  </a:lnTo>
                  <a:lnTo>
                    <a:pt x="69" y="78"/>
                  </a:lnTo>
                  <a:lnTo>
                    <a:pt x="59" y="88"/>
                  </a:lnTo>
                  <a:lnTo>
                    <a:pt x="69" y="88"/>
                  </a:lnTo>
                  <a:lnTo>
                    <a:pt x="69" y="97"/>
                  </a:lnTo>
                  <a:lnTo>
                    <a:pt x="69" y="117"/>
                  </a:lnTo>
                  <a:lnTo>
                    <a:pt x="59" y="117"/>
                  </a:lnTo>
                  <a:lnTo>
                    <a:pt x="49" y="107"/>
                  </a:lnTo>
                  <a:lnTo>
                    <a:pt x="39" y="107"/>
                  </a:lnTo>
                  <a:lnTo>
                    <a:pt x="39" y="117"/>
                  </a:lnTo>
                  <a:lnTo>
                    <a:pt x="30" y="127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69" y="166"/>
                  </a:lnTo>
                  <a:lnTo>
                    <a:pt x="69" y="17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8" y="234"/>
                  </a:lnTo>
                  <a:lnTo>
                    <a:pt x="108" y="253"/>
                  </a:lnTo>
                  <a:lnTo>
                    <a:pt x="117" y="25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03" name="Group 96"/>
            <p:cNvGrpSpPr>
              <a:grpSpLocks/>
            </p:cNvGrpSpPr>
            <p:nvPr/>
          </p:nvGrpSpPr>
          <p:grpSpPr bwMode="auto">
            <a:xfrm>
              <a:off x="8085" y="2859"/>
              <a:ext cx="644" cy="819"/>
              <a:chOff x="8086" y="2859"/>
              <a:chExt cx="644" cy="819"/>
            </a:xfrm>
          </p:grpSpPr>
          <p:sp>
            <p:nvSpPr>
              <p:cNvPr id="684" name="Freeform 98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5" name="Freeform 97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04" name="Freeform 95"/>
            <p:cNvSpPr>
              <a:spLocks/>
            </p:cNvSpPr>
            <p:nvPr/>
          </p:nvSpPr>
          <p:spPr bwMode="auto">
            <a:xfrm>
              <a:off x="9109" y="2527"/>
              <a:ext cx="22" cy="28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05" name="Group 92"/>
            <p:cNvGrpSpPr>
              <a:grpSpLocks/>
            </p:cNvGrpSpPr>
            <p:nvPr/>
          </p:nvGrpSpPr>
          <p:grpSpPr bwMode="auto">
            <a:xfrm>
              <a:off x="9109" y="2527"/>
              <a:ext cx="20" cy="29"/>
              <a:chOff x="9110" y="2527"/>
              <a:chExt cx="20" cy="29"/>
            </a:xfrm>
          </p:grpSpPr>
          <p:sp>
            <p:nvSpPr>
              <p:cNvPr id="682" name="Freeform 94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3" name="Freeform 93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06" name="Freeform 91"/>
            <p:cNvSpPr>
              <a:spLocks/>
            </p:cNvSpPr>
            <p:nvPr/>
          </p:nvSpPr>
          <p:spPr bwMode="auto">
            <a:xfrm>
              <a:off x="1532" y="1436"/>
              <a:ext cx="518" cy="378"/>
            </a:xfrm>
            <a:custGeom>
              <a:avLst/>
              <a:gdLst/>
              <a:ahLst/>
              <a:cxnLst>
                <a:cxn ang="0">
                  <a:pos x="478" y="244"/>
                </a:cxn>
                <a:cxn ang="0">
                  <a:pos x="449" y="244"/>
                </a:cxn>
                <a:cxn ang="0">
                  <a:pos x="439" y="283"/>
                </a:cxn>
                <a:cxn ang="0">
                  <a:pos x="420" y="322"/>
                </a:cxn>
                <a:cxn ang="0">
                  <a:pos x="420" y="342"/>
                </a:cxn>
                <a:cxn ang="0">
                  <a:pos x="391" y="361"/>
                </a:cxn>
                <a:cxn ang="0">
                  <a:pos x="361" y="361"/>
                </a:cxn>
                <a:cxn ang="0">
                  <a:pos x="361" y="342"/>
                </a:cxn>
                <a:cxn ang="0">
                  <a:pos x="342" y="322"/>
                </a:cxn>
                <a:cxn ang="0">
                  <a:pos x="322" y="332"/>
                </a:cxn>
                <a:cxn ang="0">
                  <a:pos x="303" y="332"/>
                </a:cxn>
                <a:cxn ang="0">
                  <a:pos x="293" y="312"/>
                </a:cxn>
                <a:cxn ang="0">
                  <a:pos x="235" y="293"/>
                </a:cxn>
                <a:cxn ang="0">
                  <a:pos x="235" y="254"/>
                </a:cxn>
                <a:cxn ang="0">
                  <a:pos x="195" y="264"/>
                </a:cxn>
                <a:cxn ang="0">
                  <a:pos x="166" y="264"/>
                </a:cxn>
                <a:cxn ang="0">
                  <a:pos x="147" y="244"/>
                </a:cxn>
                <a:cxn ang="0">
                  <a:pos x="147" y="205"/>
                </a:cxn>
                <a:cxn ang="0">
                  <a:pos x="117" y="205"/>
                </a:cxn>
                <a:cxn ang="0">
                  <a:pos x="59" y="176"/>
                </a:cxn>
                <a:cxn ang="0">
                  <a:pos x="10" y="108"/>
                </a:cxn>
                <a:cxn ang="0">
                  <a:pos x="30" y="88"/>
                </a:cxn>
                <a:cxn ang="0">
                  <a:pos x="59" y="69"/>
                </a:cxn>
                <a:cxn ang="0">
                  <a:pos x="78" y="49"/>
                </a:cxn>
                <a:cxn ang="0">
                  <a:pos x="88" y="20"/>
                </a:cxn>
                <a:cxn ang="0">
                  <a:pos x="98" y="0"/>
                </a:cxn>
                <a:cxn ang="0">
                  <a:pos x="127" y="0"/>
                </a:cxn>
                <a:cxn ang="0">
                  <a:pos x="147" y="10"/>
                </a:cxn>
                <a:cxn ang="0">
                  <a:pos x="156" y="10"/>
                </a:cxn>
                <a:cxn ang="0">
                  <a:pos x="186" y="30"/>
                </a:cxn>
                <a:cxn ang="0">
                  <a:pos x="205" y="39"/>
                </a:cxn>
                <a:cxn ang="0">
                  <a:pos x="235" y="49"/>
                </a:cxn>
                <a:cxn ang="0">
                  <a:pos x="244" y="78"/>
                </a:cxn>
                <a:cxn ang="0">
                  <a:pos x="293" y="69"/>
                </a:cxn>
                <a:cxn ang="0">
                  <a:pos x="313" y="69"/>
                </a:cxn>
                <a:cxn ang="0">
                  <a:pos x="332" y="49"/>
                </a:cxn>
                <a:cxn ang="0">
                  <a:pos x="352" y="98"/>
                </a:cxn>
                <a:cxn ang="0">
                  <a:pos x="371" y="108"/>
                </a:cxn>
                <a:cxn ang="0">
                  <a:pos x="400" y="117"/>
                </a:cxn>
                <a:cxn ang="0">
                  <a:pos x="459" y="166"/>
                </a:cxn>
                <a:cxn ang="0">
                  <a:pos x="488" y="166"/>
                </a:cxn>
                <a:cxn ang="0">
                  <a:pos x="517" y="186"/>
                </a:cxn>
                <a:cxn ang="0">
                  <a:pos x="508" y="215"/>
                </a:cxn>
                <a:cxn ang="0">
                  <a:pos x="469" y="234"/>
                </a:cxn>
              </a:cxnLst>
              <a:rect l="0" t="0" r="r" b="b"/>
              <a:pathLst>
                <a:path w="517" h="381">
                  <a:moveTo>
                    <a:pt x="469" y="234"/>
                  </a:moveTo>
                  <a:lnTo>
                    <a:pt x="478" y="244"/>
                  </a:lnTo>
                  <a:lnTo>
                    <a:pt x="469" y="244"/>
                  </a:lnTo>
                  <a:lnTo>
                    <a:pt x="449" y="244"/>
                  </a:lnTo>
                  <a:lnTo>
                    <a:pt x="449" y="264"/>
                  </a:lnTo>
                  <a:lnTo>
                    <a:pt x="439" y="283"/>
                  </a:lnTo>
                  <a:lnTo>
                    <a:pt x="420" y="303"/>
                  </a:lnTo>
                  <a:lnTo>
                    <a:pt x="420" y="322"/>
                  </a:lnTo>
                  <a:lnTo>
                    <a:pt x="430" y="332"/>
                  </a:lnTo>
                  <a:lnTo>
                    <a:pt x="420" y="342"/>
                  </a:lnTo>
                  <a:lnTo>
                    <a:pt x="410" y="342"/>
                  </a:lnTo>
                  <a:lnTo>
                    <a:pt x="391" y="361"/>
                  </a:lnTo>
                  <a:lnTo>
                    <a:pt x="361" y="381"/>
                  </a:lnTo>
                  <a:lnTo>
                    <a:pt x="361" y="361"/>
                  </a:lnTo>
                  <a:lnTo>
                    <a:pt x="361" y="351"/>
                  </a:lnTo>
                  <a:lnTo>
                    <a:pt x="361" y="342"/>
                  </a:lnTo>
                  <a:lnTo>
                    <a:pt x="352" y="342"/>
                  </a:lnTo>
                  <a:lnTo>
                    <a:pt x="342" y="322"/>
                  </a:lnTo>
                  <a:lnTo>
                    <a:pt x="332" y="322"/>
                  </a:lnTo>
                  <a:lnTo>
                    <a:pt x="322" y="332"/>
                  </a:lnTo>
                  <a:lnTo>
                    <a:pt x="303" y="332"/>
                  </a:lnTo>
                  <a:lnTo>
                    <a:pt x="293" y="332"/>
                  </a:lnTo>
                  <a:lnTo>
                    <a:pt x="293" y="312"/>
                  </a:lnTo>
                  <a:lnTo>
                    <a:pt x="274" y="303"/>
                  </a:lnTo>
                  <a:lnTo>
                    <a:pt x="235" y="293"/>
                  </a:lnTo>
                  <a:lnTo>
                    <a:pt x="235" y="273"/>
                  </a:lnTo>
                  <a:lnTo>
                    <a:pt x="235" y="254"/>
                  </a:lnTo>
                  <a:lnTo>
                    <a:pt x="215" y="254"/>
                  </a:lnTo>
                  <a:lnTo>
                    <a:pt x="195" y="264"/>
                  </a:lnTo>
                  <a:lnTo>
                    <a:pt x="176" y="254"/>
                  </a:lnTo>
                  <a:lnTo>
                    <a:pt x="166" y="264"/>
                  </a:lnTo>
                  <a:lnTo>
                    <a:pt x="156" y="254"/>
                  </a:lnTo>
                  <a:lnTo>
                    <a:pt x="147" y="244"/>
                  </a:lnTo>
                  <a:lnTo>
                    <a:pt x="147" y="225"/>
                  </a:lnTo>
                  <a:lnTo>
                    <a:pt x="147" y="205"/>
                  </a:lnTo>
                  <a:lnTo>
                    <a:pt x="147" y="195"/>
                  </a:lnTo>
                  <a:lnTo>
                    <a:pt x="117" y="205"/>
                  </a:lnTo>
                  <a:lnTo>
                    <a:pt x="88" y="195"/>
                  </a:lnTo>
                  <a:lnTo>
                    <a:pt x="59" y="176"/>
                  </a:lnTo>
                  <a:lnTo>
                    <a:pt x="30" y="147"/>
                  </a:lnTo>
                  <a:lnTo>
                    <a:pt x="10" y="108"/>
                  </a:lnTo>
                  <a:lnTo>
                    <a:pt x="0" y="98"/>
                  </a:lnTo>
                  <a:lnTo>
                    <a:pt x="30" y="88"/>
                  </a:lnTo>
                  <a:lnTo>
                    <a:pt x="49" y="78"/>
                  </a:lnTo>
                  <a:lnTo>
                    <a:pt x="59" y="69"/>
                  </a:lnTo>
                  <a:lnTo>
                    <a:pt x="69" y="49"/>
                  </a:lnTo>
                  <a:lnTo>
                    <a:pt x="78" y="49"/>
                  </a:lnTo>
                  <a:lnTo>
                    <a:pt x="8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8" y="0"/>
                  </a:lnTo>
                  <a:lnTo>
                    <a:pt x="108" y="0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7" y="10"/>
                  </a:lnTo>
                  <a:lnTo>
                    <a:pt x="147" y="20"/>
                  </a:lnTo>
                  <a:lnTo>
                    <a:pt x="156" y="10"/>
                  </a:lnTo>
                  <a:lnTo>
                    <a:pt x="166" y="10"/>
                  </a:lnTo>
                  <a:lnTo>
                    <a:pt x="186" y="30"/>
                  </a:lnTo>
                  <a:lnTo>
                    <a:pt x="205" y="30"/>
                  </a:lnTo>
                  <a:lnTo>
                    <a:pt x="205" y="39"/>
                  </a:lnTo>
                  <a:lnTo>
                    <a:pt x="205" y="49"/>
                  </a:lnTo>
                  <a:lnTo>
                    <a:pt x="235" y="49"/>
                  </a:lnTo>
                  <a:lnTo>
                    <a:pt x="244" y="59"/>
                  </a:lnTo>
                  <a:lnTo>
                    <a:pt x="244" y="78"/>
                  </a:lnTo>
                  <a:lnTo>
                    <a:pt x="264" y="69"/>
                  </a:lnTo>
                  <a:lnTo>
                    <a:pt x="293" y="69"/>
                  </a:lnTo>
                  <a:lnTo>
                    <a:pt x="313" y="69"/>
                  </a:lnTo>
                  <a:lnTo>
                    <a:pt x="322" y="59"/>
                  </a:lnTo>
                  <a:lnTo>
                    <a:pt x="332" y="49"/>
                  </a:lnTo>
                  <a:lnTo>
                    <a:pt x="342" y="59"/>
                  </a:lnTo>
                  <a:lnTo>
                    <a:pt x="352" y="98"/>
                  </a:lnTo>
                  <a:lnTo>
                    <a:pt x="361" y="108"/>
                  </a:lnTo>
                  <a:lnTo>
                    <a:pt x="371" y="108"/>
                  </a:lnTo>
                  <a:lnTo>
                    <a:pt x="391" y="117"/>
                  </a:lnTo>
                  <a:lnTo>
                    <a:pt x="400" y="117"/>
                  </a:lnTo>
                  <a:lnTo>
                    <a:pt x="430" y="147"/>
                  </a:lnTo>
                  <a:lnTo>
                    <a:pt x="459" y="166"/>
                  </a:lnTo>
                  <a:lnTo>
                    <a:pt x="469" y="166"/>
                  </a:lnTo>
                  <a:lnTo>
                    <a:pt x="488" y="166"/>
                  </a:lnTo>
                  <a:lnTo>
                    <a:pt x="498" y="166"/>
                  </a:lnTo>
                  <a:lnTo>
                    <a:pt x="517" y="186"/>
                  </a:lnTo>
                  <a:lnTo>
                    <a:pt x="508" y="205"/>
                  </a:lnTo>
                  <a:lnTo>
                    <a:pt x="508" y="215"/>
                  </a:lnTo>
                  <a:lnTo>
                    <a:pt x="488" y="225"/>
                  </a:lnTo>
                  <a:lnTo>
                    <a:pt x="469" y="23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7" name="Freeform 90"/>
            <p:cNvSpPr>
              <a:spLocks/>
            </p:cNvSpPr>
            <p:nvPr/>
          </p:nvSpPr>
          <p:spPr bwMode="auto">
            <a:xfrm>
              <a:off x="5616" y="905"/>
              <a:ext cx="2196" cy="2374"/>
            </a:xfrm>
            <a:custGeom>
              <a:avLst/>
              <a:gdLst>
                <a:gd name="T0" fmla="*/ 878 w 2195"/>
                <a:gd name="T1" fmla="*/ 2186 h 2371"/>
                <a:gd name="T2" fmla="*/ 761 w 2195"/>
                <a:gd name="T3" fmla="*/ 2098 h 2371"/>
                <a:gd name="T4" fmla="*/ 615 w 2195"/>
                <a:gd name="T5" fmla="*/ 2059 h 2371"/>
                <a:gd name="T6" fmla="*/ 488 w 2195"/>
                <a:gd name="T7" fmla="*/ 2186 h 2371"/>
                <a:gd name="T8" fmla="*/ 303 w 2195"/>
                <a:gd name="T9" fmla="*/ 2205 h 2371"/>
                <a:gd name="T10" fmla="*/ 293 w 2195"/>
                <a:gd name="T11" fmla="*/ 1991 h 2371"/>
                <a:gd name="T12" fmla="*/ 254 w 2195"/>
                <a:gd name="T13" fmla="*/ 1844 h 2371"/>
                <a:gd name="T14" fmla="*/ 186 w 2195"/>
                <a:gd name="T15" fmla="*/ 1688 h 2371"/>
                <a:gd name="T16" fmla="*/ 30 w 2195"/>
                <a:gd name="T17" fmla="*/ 1649 h 2371"/>
                <a:gd name="T18" fmla="*/ 39 w 2195"/>
                <a:gd name="T19" fmla="*/ 1415 h 2371"/>
                <a:gd name="T20" fmla="*/ 30 w 2195"/>
                <a:gd name="T21" fmla="*/ 1152 h 2371"/>
                <a:gd name="T22" fmla="*/ 127 w 2195"/>
                <a:gd name="T23" fmla="*/ 1015 h 2371"/>
                <a:gd name="T24" fmla="*/ 196 w 2195"/>
                <a:gd name="T25" fmla="*/ 839 h 2371"/>
                <a:gd name="T26" fmla="*/ 117 w 2195"/>
                <a:gd name="T27" fmla="*/ 605 h 2371"/>
                <a:gd name="T28" fmla="*/ 205 w 2195"/>
                <a:gd name="T29" fmla="*/ 596 h 2371"/>
                <a:gd name="T30" fmla="*/ 303 w 2195"/>
                <a:gd name="T31" fmla="*/ 566 h 2371"/>
                <a:gd name="T32" fmla="*/ 517 w 2195"/>
                <a:gd name="T33" fmla="*/ 586 h 2371"/>
                <a:gd name="T34" fmla="*/ 547 w 2195"/>
                <a:gd name="T35" fmla="*/ 488 h 2371"/>
                <a:gd name="T36" fmla="*/ 654 w 2195"/>
                <a:gd name="T37" fmla="*/ 478 h 2371"/>
                <a:gd name="T38" fmla="*/ 752 w 2195"/>
                <a:gd name="T39" fmla="*/ 488 h 2371"/>
                <a:gd name="T40" fmla="*/ 781 w 2195"/>
                <a:gd name="T41" fmla="*/ 537 h 2371"/>
                <a:gd name="T42" fmla="*/ 752 w 2195"/>
                <a:gd name="T43" fmla="*/ 576 h 2371"/>
                <a:gd name="T44" fmla="*/ 810 w 2195"/>
                <a:gd name="T45" fmla="*/ 596 h 2371"/>
                <a:gd name="T46" fmla="*/ 869 w 2195"/>
                <a:gd name="T47" fmla="*/ 674 h 2371"/>
                <a:gd name="T48" fmla="*/ 947 w 2195"/>
                <a:gd name="T49" fmla="*/ 674 h 2371"/>
                <a:gd name="T50" fmla="*/ 995 w 2195"/>
                <a:gd name="T51" fmla="*/ 576 h 2371"/>
                <a:gd name="T52" fmla="*/ 1132 w 2195"/>
                <a:gd name="T53" fmla="*/ 517 h 2371"/>
                <a:gd name="T54" fmla="*/ 1132 w 2195"/>
                <a:gd name="T55" fmla="*/ 508 h 2371"/>
                <a:gd name="T56" fmla="*/ 1190 w 2195"/>
                <a:gd name="T57" fmla="*/ 439 h 2371"/>
                <a:gd name="T58" fmla="*/ 1122 w 2195"/>
                <a:gd name="T59" fmla="*/ 400 h 2371"/>
                <a:gd name="T60" fmla="*/ 1122 w 2195"/>
                <a:gd name="T61" fmla="*/ 303 h 2371"/>
                <a:gd name="T62" fmla="*/ 1288 w 2195"/>
                <a:gd name="T63" fmla="*/ 254 h 2371"/>
                <a:gd name="T64" fmla="*/ 1347 w 2195"/>
                <a:gd name="T65" fmla="*/ 264 h 2371"/>
                <a:gd name="T66" fmla="*/ 1317 w 2195"/>
                <a:gd name="T67" fmla="*/ 303 h 2371"/>
                <a:gd name="T68" fmla="*/ 1464 w 2195"/>
                <a:gd name="T69" fmla="*/ 176 h 2371"/>
                <a:gd name="T70" fmla="*/ 1512 w 2195"/>
                <a:gd name="T71" fmla="*/ 196 h 2371"/>
                <a:gd name="T72" fmla="*/ 1639 w 2195"/>
                <a:gd name="T73" fmla="*/ 176 h 2371"/>
                <a:gd name="T74" fmla="*/ 1854 w 2195"/>
                <a:gd name="T75" fmla="*/ 30 h 2371"/>
                <a:gd name="T76" fmla="*/ 1981 w 2195"/>
                <a:gd name="T77" fmla="*/ 59 h 2371"/>
                <a:gd name="T78" fmla="*/ 2068 w 2195"/>
                <a:gd name="T79" fmla="*/ 49 h 2371"/>
                <a:gd name="T80" fmla="*/ 2029 w 2195"/>
                <a:gd name="T81" fmla="*/ 235 h 2371"/>
                <a:gd name="T82" fmla="*/ 2185 w 2195"/>
                <a:gd name="T83" fmla="*/ 371 h 2371"/>
                <a:gd name="T84" fmla="*/ 2068 w 2195"/>
                <a:gd name="T85" fmla="*/ 517 h 2371"/>
                <a:gd name="T86" fmla="*/ 2098 w 2195"/>
                <a:gd name="T87" fmla="*/ 674 h 2371"/>
                <a:gd name="T88" fmla="*/ 2068 w 2195"/>
                <a:gd name="T89" fmla="*/ 820 h 2371"/>
                <a:gd name="T90" fmla="*/ 2010 w 2195"/>
                <a:gd name="T91" fmla="*/ 869 h 2371"/>
                <a:gd name="T92" fmla="*/ 1951 w 2195"/>
                <a:gd name="T93" fmla="*/ 976 h 2371"/>
                <a:gd name="T94" fmla="*/ 2020 w 2195"/>
                <a:gd name="T95" fmla="*/ 1191 h 2371"/>
                <a:gd name="T96" fmla="*/ 1951 w 2195"/>
                <a:gd name="T97" fmla="*/ 1269 h 2371"/>
                <a:gd name="T98" fmla="*/ 1825 w 2195"/>
                <a:gd name="T99" fmla="*/ 1347 h 2371"/>
                <a:gd name="T100" fmla="*/ 1873 w 2195"/>
                <a:gd name="T101" fmla="*/ 1591 h 2371"/>
                <a:gd name="T102" fmla="*/ 1766 w 2195"/>
                <a:gd name="T103" fmla="*/ 1747 h 2371"/>
                <a:gd name="T104" fmla="*/ 1649 w 2195"/>
                <a:gd name="T105" fmla="*/ 1854 h 2371"/>
                <a:gd name="T106" fmla="*/ 1649 w 2195"/>
                <a:gd name="T107" fmla="*/ 1981 h 2371"/>
                <a:gd name="T108" fmla="*/ 1698 w 2195"/>
                <a:gd name="T109" fmla="*/ 2157 h 2371"/>
                <a:gd name="T110" fmla="*/ 1532 w 2195"/>
                <a:gd name="T111" fmla="*/ 2322 h 2371"/>
                <a:gd name="T112" fmla="*/ 1405 w 2195"/>
                <a:gd name="T113" fmla="*/ 2342 h 2371"/>
                <a:gd name="T114" fmla="*/ 1181 w 2195"/>
                <a:gd name="T115" fmla="*/ 2332 h 2371"/>
                <a:gd name="T116" fmla="*/ 995 w 2195"/>
                <a:gd name="T117" fmla="*/ 2352 h 23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5"/>
                <a:gd name="T178" fmla="*/ 0 h 2371"/>
                <a:gd name="T179" fmla="*/ 2195 w 2195"/>
                <a:gd name="T180" fmla="*/ 2371 h 23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5" h="2371">
                  <a:moveTo>
                    <a:pt x="937" y="2283"/>
                  </a:moveTo>
                  <a:lnTo>
                    <a:pt x="917" y="2303"/>
                  </a:lnTo>
                  <a:lnTo>
                    <a:pt x="908" y="2293"/>
                  </a:lnTo>
                  <a:lnTo>
                    <a:pt x="917" y="2283"/>
                  </a:lnTo>
                  <a:lnTo>
                    <a:pt x="917" y="2274"/>
                  </a:lnTo>
                  <a:lnTo>
                    <a:pt x="908" y="2274"/>
                  </a:lnTo>
                  <a:lnTo>
                    <a:pt x="908" y="2264"/>
                  </a:lnTo>
                  <a:lnTo>
                    <a:pt x="908" y="2244"/>
                  </a:lnTo>
                  <a:lnTo>
                    <a:pt x="898" y="2225"/>
                  </a:lnTo>
                  <a:lnTo>
                    <a:pt x="888" y="2205"/>
                  </a:lnTo>
                  <a:lnTo>
                    <a:pt x="888" y="2196"/>
                  </a:lnTo>
                  <a:lnTo>
                    <a:pt x="878" y="2186"/>
                  </a:lnTo>
                  <a:lnTo>
                    <a:pt x="859" y="2186"/>
                  </a:lnTo>
                  <a:lnTo>
                    <a:pt x="859" y="2166"/>
                  </a:lnTo>
                  <a:lnTo>
                    <a:pt x="859" y="2147"/>
                  </a:lnTo>
                  <a:lnTo>
                    <a:pt x="859" y="2127"/>
                  </a:lnTo>
                  <a:lnTo>
                    <a:pt x="839" y="2127"/>
                  </a:lnTo>
                  <a:lnTo>
                    <a:pt x="839" y="2108"/>
                  </a:lnTo>
                  <a:lnTo>
                    <a:pt x="830" y="2098"/>
                  </a:lnTo>
                  <a:lnTo>
                    <a:pt x="820" y="2108"/>
                  </a:lnTo>
                  <a:lnTo>
                    <a:pt x="791" y="2088"/>
                  </a:lnTo>
                  <a:lnTo>
                    <a:pt x="791" y="2098"/>
                  </a:lnTo>
                  <a:lnTo>
                    <a:pt x="781" y="2108"/>
                  </a:lnTo>
                  <a:lnTo>
                    <a:pt x="761" y="2098"/>
                  </a:lnTo>
                  <a:lnTo>
                    <a:pt x="761" y="2108"/>
                  </a:lnTo>
                  <a:lnTo>
                    <a:pt x="742" y="2118"/>
                  </a:lnTo>
                  <a:lnTo>
                    <a:pt x="732" y="2098"/>
                  </a:lnTo>
                  <a:lnTo>
                    <a:pt x="732" y="2079"/>
                  </a:lnTo>
                  <a:lnTo>
                    <a:pt x="732" y="2059"/>
                  </a:lnTo>
                  <a:lnTo>
                    <a:pt x="732" y="2049"/>
                  </a:lnTo>
                  <a:lnTo>
                    <a:pt x="703" y="2030"/>
                  </a:lnTo>
                  <a:lnTo>
                    <a:pt x="683" y="2030"/>
                  </a:lnTo>
                  <a:lnTo>
                    <a:pt x="644" y="2020"/>
                  </a:lnTo>
                  <a:lnTo>
                    <a:pt x="615" y="2040"/>
                  </a:lnTo>
                  <a:lnTo>
                    <a:pt x="615" y="2059"/>
                  </a:lnTo>
                  <a:lnTo>
                    <a:pt x="595" y="2079"/>
                  </a:lnTo>
                  <a:lnTo>
                    <a:pt x="586" y="2127"/>
                  </a:lnTo>
                  <a:lnTo>
                    <a:pt x="556" y="2157"/>
                  </a:lnTo>
                  <a:lnTo>
                    <a:pt x="547" y="2166"/>
                  </a:lnTo>
                  <a:lnTo>
                    <a:pt x="547" y="2205"/>
                  </a:lnTo>
                  <a:lnTo>
                    <a:pt x="527" y="2215"/>
                  </a:lnTo>
                  <a:lnTo>
                    <a:pt x="517" y="2225"/>
                  </a:lnTo>
                  <a:lnTo>
                    <a:pt x="508" y="2244"/>
                  </a:lnTo>
                  <a:lnTo>
                    <a:pt x="498" y="2225"/>
                  </a:lnTo>
                  <a:lnTo>
                    <a:pt x="498" y="2215"/>
                  </a:lnTo>
                  <a:lnTo>
                    <a:pt x="498" y="2186"/>
                  </a:lnTo>
                  <a:lnTo>
                    <a:pt x="488" y="2186"/>
                  </a:lnTo>
                  <a:lnTo>
                    <a:pt x="478" y="2166"/>
                  </a:lnTo>
                  <a:lnTo>
                    <a:pt x="459" y="2196"/>
                  </a:lnTo>
                  <a:lnTo>
                    <a:pt x="439" y="2215"/>
                  </a:lnTo>
                  <a:lnTo>
                    <a:pt x="420" y="2225"/>
                  </a:lnTo>
                  <a:lnTo>
                    <a:pt x="400" y="2225"/>
                  </a:lnTo>
                  <a:lnTo>
                    <a:pt x="381" y="2225"/>
                  </a:lnTo>
                  <a:lnTo>
                    <a:pt x="371" y="2244"/>
                  </a:lnTo>
                  <a:lnTo>
                    <a:pt x="361" y="2254"/>
                  </a:lnTo>
                  <a:lnTo>
                    <a:pt x="332" y="2254"/>
                  </a:lnTo>
                  <a:lnTo>
                    <a:pt x="313" y="2235"/>
                  </a:lnTo>
                  <a:lnTo>
                    <a:pt x="303" y="2225"/>
                  </a:lnTo>
                  <a:lnTo>
                    <a:pt x="303" y="2205"/>
                  </a:lnTo>
                  <a:lnTo>
                    <a:pt x="313" y="2176"/>
                  </a:lnTo>
                  <a:lnTo>
                    <a:pt x="313" y="2127"/>
                  </a:lnTo>
                  <a:lnTo>
                    <a:pt x="322" y="2069"/>
                  </a:lnTo>
                  <a:lnTo>
                    <a:pt x="332" y="2069"/>
                  </a:lnTo>
                  <a:lnTo>
                    <a:pt x="332" y="2059"/>
                  </a:lnTo>
                  <a:lnTo>
                    <a:pt x="332" y="2049"/>
                  </a:lnTo>
                  <a:lnTo>
                    <a:pt x="332" y="2040"/>
                  </a:lnTo>
                  <a:lnTo>
                    <a:pt x="342" y="2030"/>
                  </a:lnTo>
                  <a:lnTo>
                    <a:pt x="342" y="2020"/>
                  </a:lnTo>
                  <a:lnTo>
                    <a:pt x="332" y="2010"/>
                  </a:lnTo>
                  <a:lnTo>
                    <a:pt x="303" y="2001"/>
                  </a:lnTo>
                  <a:lnTo>
                    <a:pt x="293" y="1991"/>
                  </a:lnTo>
                  <a:lnTo>
                    <a:pt x="293" y="1971"/>
                  </a:lnTo>
                  <a:lnTo>
                    <a:pt x="293" y="1961"/>
                  </a:lnTo>
                  <a:lnTo>
                    <a:pt x="283" y="1961"/>
                  </a:lnTo>
                  <a:lnTo>
                    <a:pt x="283" y="1952"/>
                  </a:lnTo>
                  <a:lnTo>
                    <a:pt x="283" y="1932"/>
                  </a:lnTo>
                  <a:lnTo>
                    <a:pt x="283" y="1922"/>
                  </a:lnTo>
                  <a:lnTo>
                    <a:pt x="283" y="1874"/>
                  </a:lnTo>
                  <a:lnTo>
                    <a:pt x="274" y="1874"/>
                  </a:lnTo>
                  <a:lnTo>
                    <a:pt x="254" y="1874"/>
                  </a:lnTo>
                  <a:lnTo>
                    <a:pt x="244" y="1854"/>
                  </a:lnTo>
                  <a:lnTo>
                    <a:pt x="254" y="1844"/>
                  </a:lnTo>
                  <a:lnTo>
                    <a:pt x="264" y="1825"/>
                  </a:lnTo>
                  <a:lnTo>
                    <a:pt x="244" y="1786"/>
                  </a:lnTo>
                  <a:lnTo>
                    <a:pt x="225" y="1766"/>
                  </a:lnTo>
                  <a:lnTo>
                    <a:pt x="215" y="1757"/>
                  </a:lnTo>
                  <a:lnTo>
                    <a:pt x="186" y="1757"/>
                  </a:lnTo>
                  <a:lnTo>
                    <a:pt x="166" y="1747"/>
                  </a:lnTo>
                  <a:lnTo>
                    <a:pt x="166" y="1737"/>
                  </a:lnTo>
                  <a:lnTo>
                    <a:pt x="176" y="1727"/>
                  </a:lnTo>
                  <a:lnTo>
                    <a:pt x="186" y="1718"/>
                  </a:lnTo>
                  <a:lnTo>
                    <a:pt x="196" y="1718"/>
                  </a:lnTo>
                  <a:lnTo>
                    <a:pt x="196" y="1708"/>
                  </a:lnTo>
                  <a:lnTo>
                    <a:pt x="186" y="1688"/>
                  </a:lnTo>
                  <a:lnTo>
                    <a:pt x="176" y="1669"/>
                  </a:lnTo>
                  <a:lnTo>
                    <a:pt x="166" y="1669"/>
                  </a:lnTo>
                  <a:lnTo>
                    <a:pt x="166" y="1679"/>
                  </a:lnTo>
                  <a:lnTo>
                    <a:pt x="127" y="1669"/>
                  </a:lnTo>
                  <a:lnTo>
                    <a:pt x="117" y="1679"/>
                  </a:lnTo>
                  <a:lnTo>
                    <a:pt x="88" y="1669"/>
                  </a:lnTo>
                  <a:lnTo>
                    <a:pt x="78" y="1659"/>
                  </a:lnTo>
                  <a:lnTo>
                    <a:pt x="69" y="1659"/>
                  </a:lnTo>
                  <a:lnTo>
                    <a:pt x="69" y="1669"/>
                  </a:lnTo>
                  <a:lnTo>
                    <a:pt x="49" y="1659"/>
                  </a:lnTo>
                  <a:lnTo>
                    <a:pt x="30" y="1659"/>
                  </a:lnTo>
                  <a:lnTo>
                    <a:pt x="30" y="1649"/>
                  </a:lnTo>
                  <a:lnTo>
                    <a:pt x="39" y="1620"/>
                  </a:lnTo>
                  <a:lnTo>
                    <a:pt x="39" y="1591"/>
                  </a:lnTo>
                  <a:lnTo>
                    <a:pt x="59" y="1571"/>
                  </a:lnTo>
                  <a:lnTo>
                    <a:pt x="78" y="1552"/>
                  </a:lnTo>
                  <a:lnTo>
                    <a:pt x="78" y="1542"/>
                  </a:lnTo>
                  <a:lnTo>
                    <a:pt x="69" y="1532"/>
                  </a:lnTo>
                  <a:lnTo>
                    <a:pt x="59" y="1513"/>
                  </a:lnTo>
                  <a:lnTo>
                    <a:pt x="59" y="1483"/>
                  </a:lnTo>
                  <a:lnTo>
                    <a:pt x="49" y="1464"/>
                  </a:lnTo>
                  <a:lnTo>
                    <a:pt x="30" y="1454"/>
                  </a:lnTo>
                  <a:lnTo>
                    <a:pt x="30" y="1435"/>
                  </a:lnTo>
                  <a:lnTo>
                    <a:pt x="39" y="1415"/>
                  </a:lnTo>
                  <a:lnTo>
                    <a:pt x="30" y="1396"/>
                  </a:lnTo>
                  <a:lnTo>
                    <a:pt x="20" y="1386"/>
                  </a:lnTo>
                  <a:lnTo>
                    <a:pt x="0" y="1386"/>
                  </a:lnTo>
                  <a:lnTo>
                    <a:pt x="10" y="1366"/>
                  </a:lnTo>
                  <a:lnTo>
                    <a:pt x="20" y="1357"/>
                  </a:lnTo>
                  <a:lnTo>
                    <a:pt x="30" y="1347"/>
                  </a:lnTo>
                  <a:lnTo>
                    <a:pt x="39" y="1347"/>
                  </a:lnTo>
                  <a:lnTo>
                    <a:pt x="49" y="1327"/>
                  </a:lnTo>
                  <a:lnTo>
                    <a:pt x="39" y="1269"/>
                  </a:lnTo>
                  <a:lnTo>
                    <a:pt x="39" y="1220"/>
                  </a:lnTo>
                  <a:lnTo>
                    <a:pt x="30" y="1152"/>
                  </a:lnTo>
                  <a:lnTo>
                    <a:pt x="20" y="1122"/>
                  </a:lnTo>
                  <a:lnTo>
                    <a:pt x="0" y="1103"/>
                  </a:lnTo>
                  <a:lnTo>
                    <a:pt x="10" y="1083"/>
                  </a:lnTo>
                  <a:lnTo>
                    <a:pt x="30" y="1083"/>
                  </a:lnTo>
                  <a:lnTo>
                    <a:pt x="49" y="1074"/>
                  </a:lnTo>
                  <a:lnTo>
                    <a:pt x="69" y="1054"/>
                  </a:lnTo>
                  <a:lnTo>
                    <a:pt x="78" y="1044"/>
                  </a:lnTo>
                  <a:lnTo>
                    <a:pt x="88" y="1044"/>
                  </a:lnTo>
                  <a:lnTo>
                    <a:pt x="98" y="1044"/>
                  </a:lnTo>
                  <a:lnTo>
                    <a:pt x="117" y="1044"/>
                  </a:lnTo>
                  <a:lnTo>
                    <a:pt x="127" y="1025"/>
                  </a:lnTo>
                  <a:lnTo>
                    <a:pt x="127" y="1015"/>
                  </a:lnTo>
                  <a:lnTo>
                    <a:pt x="127" y="996"/>
                  </a:lnTo>
                  <a:lnTo>
                    <a:pt x="137" y="986"/>
                  </a:lnTo>
                  <a:lnTo>
                    <a:pt x="137" y="966"/>
                  </a:lnTo>
                  <a:lnTo>
                    <a:pt x="157" y="966"/>
                  </a:lnTo>
                  <a:lnTo>
                    <a:pt x="157" y="937"/>
                  </a:lnTo>
                  <a:lnTo>
                    <a:pt x="186" y="908"/>
                  </a:lnTo>
                  <a:lnTo>
                    <a:pt x="205" y="888"/>
                  </a:lnTo>
                  <a:lnTo>
                    <a:pt x="225" y="878"/>
                  </a:lnTo>
                  <a:lnTo>
                    <a:pt x="225" y="869"/>
                  </a:lnTo>
                  <a:lnTo>
                    <a:pt x="225" y="849"/>
                  </a:lnTo>
                  <a:lnTo>
                    <a:pt x="196" y="839"/>
                  </a:lnTo>
                  <a:lnTo>
                    <a:pt x="196" y="820"/>
                  </a:lnTo>
                  <a:lnTo>
                    <a:pt x="196" y="791"/>
                  </a:lnTo>
                  <a:lnTo>
                    <a:pt x="166" y="761"/>
                  </a:lnTo>
                  <a:lnTo>
                    <a:pt x="147" y="742"/>
                  </a:lnTo>
                  <a:lnTo>
                    <a:pt x="137" y="742"/>
                  </a:lnTo>
                  <a:lnTo>
                    <a:pt x="137" y="722"/>
                  </a:lnTo>
                  <a:lnTo>
                    <a:pt x="108" y="703"/>
                  </a:lnTo>
                  <a:lnTo>
                    <a:pt x="117" y="674"/>
                  </a:lnTo>
                  <a:lnTo>
                    <a:pt x="108" y="654"/>
                  </a:lnTo>
                  <a:lnTo>
                    <a:pt x="88" y="635"/>
                  </a:lnTo>
                  <a:lnTo>
                    <a:pt x="98" y="625"/>
                  </a:lnTo>
                  <a:lnTo>
                    <a:pt x="117" y="605"/>
                  </a:lnTo>
                  <a:lnTo>
                    <a:pt x="117" y="596"/>
                  </a:lnTo>
                  <a:lnTo>
                    <a:pt x="117" y="586"/>
                  </a:lnTo>
                  <a:lnTo>
                    <a:pt x="127" y="576"/>
                  </a:lnTo>
                  <a:lnTo>
                    <a:pt x="137" y="586"/>
                  </a:lnTo>
                  <a:lnTo>
                    <a:pt x="166" y="586"/>
                  </a:lnTo>
                  <a:lnTo>
                    <a:pt x="186" y="576"/>
                  </a:lnTo>
                  <a:lnTo>
                    <a:pt x="176" y="566"/>
                  </a:lnTo>
                  <a:lnTo>
                    <a:pt x="176" y="557"/>
                  </a:lnTo>
                  <a:lnTo>
                    <a:pt x="186" y="557"/>
                  </a:lnTo>
                  <a:lnTo>
                    <a:pt x="196" y="566"/>
                  </a:lnTo>
                  <a:lnTo>
                    <a:pt x="205" y="596"/>
                  </a:lnTo>
                  <a:lnTo>
                    <a:pt x="205" y="615"/>
                  </a:lnTo>
                  <a:lnTo>
                    <a:pt x="215" y="625"/>
                  </a:lnTo>
                  <a:lnTo>
                    <a:pt x="215" y="635"/>
                  </a:lnTo>
                  <a:lnTo>
                    <a:pt x="225" y="625"/>
                  </a:lnTo>
                  <a:lnTo>
                    <a:pt x="235" y="615"/>
                  </a:lnTo>
                  <a:lnTo>
                    <a:pt x="225" y="615"/>
                  </a:lnTo>
                  <a:lnTo>
                    <a:pt x="215" y="605"/>
                  </a:lnTo>
                  <a:lnTo>
                    <a:pt x="215" y="596"/>
                  </a:lnTo>
                  <a:lnTo>
                    <a:pt x="235" y="596"/>
                  </a:lnTo>
                  <a:lnTo>
                    <a:pt x="254" y="586"/>
                  </a:lnTo>
                  <a:lnTo>
                    <a:pt x="274" y="566"/>
                  </a:lnTo>
                  <a:lnTo>
                    <a:pt x="303" y="566"/>
                  </a:lnTo>
                  <a:lnTo>
                    <a:pt x="361" y="557"/>
                  </a:lnTo>
                  <a:lnTo>
                    <a:pt x="381" y="557"/>
                  </a:lnTo>
                  <a:lnTo>
                    <a:pt x="400" y="566"/>
                  </a:lnTo>
                  <a:lnTo>
                    <a:pt x="391" y="566"/>
                  </a:lnTo>
                  <a:lnTo>
                    <a:pt x="381" y="566"/>
                  </a:lnTo>
                  <a:lnTo>
                    <a:pt x="381" y="576"/>
                  </a:lnTo>
                  <a:lnTo>
                    <a:pt x="381" y="596"/>
                  </a:lnTo>
                  <a:lnTo>
                    <a:pt x="430" y="605"/>
                  </a:lnTo>
                  <a:lnTo>
                    <a:pt x="449" y="605"/>
                  </a:lnTo>
                  <a:lnTo>
                    <a:pt x="459" y="596"/>
                  </a:lnTo>
                  <a:lnTo>
                    <a:pt x="498" y="596"/>
                  </a:lnTo>
                  <a:lnTo>
                    <a:pt x="517" y="586"/>
                  </a:lnTo>
                  <a:lnTo>
                    <a:pt x="537" y="586"/>
                  </a:lnTo>
                  <a:lnTo>
                    <a:pt x="537" y="576"/>
                  </a:lnTo>
                  <a:lnTo>
                    <a:pt x="547" y="576"/>
                  </a:lnTo>
                  <a:lnTo>
                    <a:pt x="566" y="576"/>
                  </a:lnTo>
                  <a:lnTo>
                    <a:pt x="566" y="566"/>
                  </a:lnTo>
                  <a:lnTo>
                    <a:pt x="566" y="547"/>
                  </a:lnTo>
                  <a:lnTo>
                    <a:pt x="576" y="537"/>
                  </a:lnTo>
                  <a:lnTo>
                    <a:pt x="556" y="537"/>
                  </a:lnTo>
                  <a:lnTo>
                    <a:pt x="547" y="527"/>
                  </a:lnTo>
                  <a:lnTo>
                    <a:pt x="547" y="517"/>
                  </a:lnTo>
                  <a:lnTo>
                    <a:pt x="537" y="508"/>
                  </a:lnTo>
                  <a:lnTo>
                    <a:pt x="547" y="488"/>
                  </a:lnTo>
                  <a:lnTo>
                    <a:pt x="547" y="498"/>
                  </a:lnTo>
                  <a:lnTo>
                    <a:pt x="566" y="498"/>
                  </a:lnTo>
                  <a:lnTo>
                    <a:pt x="556" y="478"/>
                  </a:lnTo>
                  <a:lnTo>
                    <a:pt x="566" y="469"/>
                  </a:lnTo>
                  <a:lnTo>
                    <a:pt x="586" y="478"/>
                  </a:lnTo>
                  <a:lnTo>
                    <a:pt x="595" y="478"/>
                  </a:lnTo>
                  <a:lnTo>
                    <a:pt x="605" y="488"/>
                  </a:lnTo>
                  <a:lnTo>
                    <a:pt x="625" y="488"/>
                  </a:lnTo>
                  <a:lnTo>
                    <a:pt x="634" y="478"/>
                  </a:lnTo>
                  <a:lnTo>
                    <a:pt x="644" y="488"/>
                  </a:lnTo>
                  <a:lnTo>
                    <a:pt x="654" y="478"/>
                  </a:lnTo>
                  <a:lnTo>
                    <a:pt x="664" y="469"/>
                  </a:lnTo>
                  <a:lnTo>
                    <a:pt x="673" y="459"/>
                  </a:lnTo>
                  <a:lnTo>
                    <a:pt x="683" y="459"/>
                  </a:lnTo>
                  <a:lnTo>
                    <a:pt x="693" y="459"/>
                  </a:lnTo>
                  <a:lnTo>
                    <a:pt x="703" y="459"/>
                  </a:lnTo>
                  <a:lnTo>
                    <a:pt x="713" y="459"/>
                  </a:lnTo>
                  <a:lnTo>
                    <a:pt x="722" y="478"/>
                  </a:lnTo>
                  <a:lnTo>
                    <a:pt x="732" y="469"/>
                  </a:lnTo>
                  <a:lnTo>
                    <a:pt x="732" y="478"/>
                  </a:lnTo>
                  <a:lnTo>
                    <a:pt x="742" y="478"/>
                  </a:lnTo>
                  <a:lnTo>
                    <a:pt x="752" y="488"/>
                  </a:lnTo>
                  <a:lnTo>
                    <a:pt x="752" y="498"/>
                  </a:lnTo>
                  <a:lnTo>
                    <a:pt x="761" y="498"/>
                  </a:lnTo>
                  <a:lnTo>
                    <a:pt x="761" y="508"/>
                  </a:lnTo>
                  <a:lnTo>
                    <a:pt x="761" y="517"/>
                  </a:lnTo>
                  <a:lnTo>
                    <a:pt x="771" y="517"/>
                  </a:lnTo>
                  <a:lnTo>
                    <a:pt x="771" y="527"/>
                  </a:lnTo>
                  <a:lnTo>
                    <a:pt x="761" y="527"/>
                  </a:lnTo>
                  <a:lnTo>
                    <a:pt x="761" y="537"/>
                  </a:lnTo>
                  <a:lnTo>
                    <a:pt x="761" y="547"/>
                  </a:lnTo>
                  <a:lnTo>
                    <a:pt x="771" y="547"/>
                  </a:lnTo>
                  <a:lnTo>
                    <a:pt x="781" y="537"/>
                  </a:lnTo>
                  <a:lnTo>
                    <a:pt x="791" y="547"/>
                  </a:lnTo>
                  <a:lnTo>
                    <a:pt x="800" y="557"/>
                  </a:lnTo>
                  <a:lnTo>
                    <a:pt x="791" y="557"/>
                  </a:lnTo>
                  <a:lnTo>
                    <a:pt x="800" y="557"/>
                  </a:lnTo>
                  <a:lnTo>
                    <a:pt x="800" y="566"/>
                  </a:lnTo>
                  <a:lnTo>
                    <a:pt x="810" y="576"/>
                  </a:lnTo>
                  <a:lnTo>
                    <a:pt x="800" y="576"/>
                  </a:lnTo>
                  <a:lnTo>
                    <a:pt x="791" y="586"/>
                  </a:lnTo>
                  <a:lnTo>
                    <a:pt x="781" y="586"/>
                  </a:lnTo>
                  <a:lnTo>
                    <a:pt x="771" y="576"/>
                  </a:lnTo>
                  <a:lnTo>
                    <a:pt x="761" y="576"/>
                  </a:lnTo>
                  <a:lnTo>
                    <a:pt x="752" y="576"/>
                  </a:lnTo>
                  <a:lnTo>
                    <a:pt x="742" y="576"/>
                  </a:lnTo>
                  <a:lnTo>
                    <a:pt x="752" y="586"/>
                  </a:lnTo>
                  <a:lnTo>
                    <a:pt x="771" y="586"/>
                  </a:lnTo>
                  <a:lnTo>
                    <a:pt x="781" y="605"/>
                  </a:lnTo>
                  <a:lnTo>
                    <a:pt x="781" y="615"/>
                  </a:lnTo>
                  <a:lnTo>
                    <a:pt x="791" y="615"/>
                  </a:lnTo>
                  <a:lnTo>
                    <a:pt x="810" y="615"/>
                  </a:lnTo>
                  <a:lnTo>
                    <a:pt x="800" y="596"/>
                  </a:lnTo>
                  <a:lnTo>
                    <a:pt x="810" y="596"/>
                  </a:lnTo>
                  <a:lnTo>
                    <a:pt x="820" y="605"/>
                  </a:lnTo>
                  <a:lnTo>
                    <a:pt x="830" y="605"/>
                  </a:lnTo>
                  <a:lnTo>
                    <a:pt x="830" y="615"/>
                  </a:lnTo>
                  <a:lnTo>
                    <a:pt x="820" y="615"/>
                  </a:lnTo>
                  <a:lnTo>
                    <a:pt x="820" y="625"/>
                  </a:lnTo>
                  <a:lnTo>
                    <a:pt x="820" y="635"/>
                  </a:lnTo>
                  <a:lnTo>
                    <a:pt x="830" y="635"/>
                  </a:lnTo>
                  <a:lnTo>
                    <a:pt x="849" y="654"/>
                  </a:lnTo>
                  <a:lnTo>
                    <a:pt x="859" y="664"/>
                  </a:lnTo>
                  <a:lnTo>
                    <a:pt x="869" y="674"/>
                  </a:lnTo>
                  <a:lnTo>
                    <a:pt x="878" y="674"/>
                  </a:lnTo>
                  <a:lnTo>
                    <a:pt x="888" y="674"/>
                  </a:lnTo>
                  <a:lnTo>
                    <a:pt x="888" y="683"/>
                  </a:lnTo>
                  <a:lnTo>
                    <a:pt x="898" y="683"/>
                  </a:lnTo>
                  <a:lnTo>
                    <a:pt x="908" y="683"/>
                  </a:lnTo>
                  <a:lnTo>
                    <a:pt x="917" y="693"/>
                  </a:lnTo>
                  <a:lnTo>
                    <a:pt x="917" y="674"/>
                  </a:lnTo>
                  <a:lnTo>
                    <a:pt x="927" y="683"/>
                  </a:lnTo>
                  <a:lnTo>
                    <a:pt x="927" y="693"/>
                  </a:lnTo>
                  <a:lnTo>
                    <a:pt x="947" y="693"/>
                  </a:lnTo>
                  <a:lnTo>
                    <a:pt x="947" y="674"/>
                  </a:lnTo>
                  <a:lnTo>
                    <a:pt x="947" y="644"/>
                  </a:lnTo>
                  <a:lnTo>
                    <a:pt x="937" y="625"/>
                  </a:lnTo>
                  <a:lnTo>
                    <a:pt x="937" y="615"/>
                  </a:lnTo>
                  <a:lnTo>
                    <a:pt x="937" y="605"/>
                  </a:lnTo>
                  <a:lnTo>
                    <a:pt x="937" y="576"/>
                  </a:lnTo>
                  <a:lnTo>
                    <a:pt x="927" y="566"/>
                  </a:lnTo>
                  <a:lnTo>
                    <a:pt x="927" y="547"/>
                  </a:lnTo>
                  <a:lnTo>
                    <a:pt x="937" y="547"/>
                  </a:lnTo>
                  <a:lnTo>
                    <a:pt x="947" y="557"/>
                  </a:lnTo>
                  <a:lnTo>
                    <a:pt x="956" y="566"/>
                  </a:lnTo>
                  <a:lnTo>
                    <a:pt x="966" y="566"/>
                  </a:lnTo>
                  <a:lnTo>
                    <a:pt x="995" y="576"/>
                  </a:lnTo>
                  <a:lnTo>
                    <a:pt x="1015" y="566"/>
                  </a:lnTo>
                  <a:lnTo>
                    <a:pt x="1025" y="557"/>
                  </a:lnTo>
                  <a:lnTo>
                    <a:pt x="1025" y="537"/>
                  </a:lnTo>
                  <a:lnTo>
                    <a:pt x="1034" y="537"/>
                  </a:lnTo>
                  <a:lnTo>
                    <a:pt x="1034" y="517"/>
                  </a:lnTo>
                  <a:lnTo>
                    <a:pt x="1054" y="508"/>
                  </a:lnTo>
                  <a:lnTo>
                    <a:pt x="1073" y="508"/>
                  </a:lnTo>
                  <a:lnTo>
                    <a:pt x="1083" y="517"/>
                  </a:lnTo>
                  <a:lnTo>
                    <a:pt x="1093" y="508"/>
                  </a:lnTo>
                  <a:lnTo>
                    <a:pt x="1103" y="517"/>
                  </a:lnTo>
                  <a:lnTo>
                    <a:pt x="1122" y="517"/>
                  </a:lnTo>
                  <a:lnTo>
                    <a:pt x="1132" y="517"/>
                  </a:lnTo>
                  <a:lnTo>
                    <a:pt x="1132" y="527"/>
                  </a:lnTo>
                  <a:lnTo>
                    <a:pt x="1142" y="527"/>
                  </a:lnTo>
                  <a:lnTo>
                    <a:pt x="1151" y="517"/>
                  </a:lnTo>
                  <a:lnTo>
                    <a:pt x="1142" y="517"/>
                  </a:lnTo>
                  <a:lnTo>
                    <a:pt x="1151" y="508"/>
                  </a:lnTo>
                  <a:lnTo>
                    <a:pt x="1171" y="508"/>
                  </a:lnTo>
                  <a:lnTo>
                    <a:pt x="1181" y="517"/>
                  </a:lnTo>
                  <a:lnTo>
                    <a:pt x="1181" y="508"/>
                  </a:lnTo>
                  <a:lnTo>
                    <a:pt x="1181" y="498"/>
                  </a:lnTo>
                  <a:lnTo>
                    <a:pt x="1161" y="498"/>
                  </a:lnTo>
                  <a:lnTo>
                    <a:pt x="1151" y="498"/>
                  </a:lnTo>
                  <a:lnTo>
                    <a:pt x="1132" y="508"/>
                  </a:lnTo>
                  <a:lnTo>
                    <a:pt x="1132" y="498"/>
                  </a:lnTo>
                  <a:lnTo>
                    <a:pt x="1132" y="478"/>
                  </a:lnTo>
                  <a:lnTo>
                    <a:pt x="1132" y="469"/>
                  </a:lnTo>
                  <a:lnTo>
                    <a:pt x="1142" y="469"/>
                  </a:lnTo>
                  <a:lnTo>
                    <a:pt x="1142" y="459"/>
                  </a:lnTo>
                  <a:lnTo>
                    <a:pt x="1151" y="459"/>
                  </a:lnTo>
                  <a:lnTo>
                    <a:pt x="1171" y="469"/>
                  </a:lnTo>
                  <a:lnTo>
                    <a:pt x="1181" y="459"/>
                  </a:lnTo>
                  <a:lnTo>
                    <a:pt x="1190" y="449"/>
                  </a:lnTo>
                  <a:lnTo>
                    <a:pt x="1190" y="439"/>
                  </a:lnTo>
                  <a:lnTo>
                    <a:pt x="1181" y="439"/>
                  </a:lnTo>
                  <a:lnTo>
                    <a:pt x="1161" y="430"/>
                  </a:lnTo>
                  <a:lnTo>
                    <a:pt x="1151" y="420"/>
                  </a:lnTo>
                  <a:lnTo>
                    <a:pt x="1142" y="420"/>
                  </a:lnTo>
                  <a:lnTo>
                    <a:pt x="1142" y="410"/>
                  </a:lnTo>
                  <a:lnTo>
                    <a:pt x="1142" y="400"/>
                  </a:lnTo>
                  <a:lnTo>
                    <a:pt x="1142" y="391"/>
                  </a:lnTo>
                  <a:lnTo>
                    <a:pt x="1151" y="381"/>
                  </a:lnTo>
                  <a:lnTo>
                    <a:pt x="1142" y="381"/>
                  </a:lnTo>
                  <a:lnTo>
                    <a:pt x="1132" y="381"/>
                  </a:lnTo>
                  <a:lnTo>
                    <a:pt x="1132" y="391"/>
                  </a:lnTo>
                  <a:lnTo>
                    <a:pt x="1122" y="400"/>
                  </a:lnTo>
                  <a:lnTo>
                    <a:pt x="1112" y="400"/>
                  </a:lnTo>
                  <a:lnTo>
                    <a:pt x="1112" y="391"/>
                  </a:lnTo>
                  <a:lnTo>
                    <a:pt x="1112" y="371"/>
                  </a:lnTo>
                  <a:lnTo>
                    <a:pt x="1112" y="361"/>
                  </a:lnTo>
                  <a:lnTo>
                    <a:pt x="1112" y="352"/>
                  </a:lnTo>
                  <a:lnTo>
                    <a:pt x="1132" y="352"/>
                  </a:lnTo>
                  <a:lnTo>
                    <a:pt x="1132" y="342"/>
                  </a:lnTo>
                  <a:lnTo>
                    <a:pt x="1151" y="332"/>
                  </a:lnTo>
                  <a:lnTo>
                    <a:pt x="1142" y="322"/>
                  </a:lnTo>
                  <a:lnTo>
                    <a:pt x="1142" y="313"/>
                  </a:lnTo>
                  <a:lnTo>
                    <a:pt x="1132" y="313"/>
                  </a:lnTo>
                  <a:lnTo>
                    <a:pt x="1122" y="303"/>
                  </a:lnTo>
                  <a:lnTo>
                    <a:pt x="1132" y="293"/>
                  </a:lnTo>
                  <a:lnTo>
                    <a:pt x="1142" y="293"/>
                  </a:lnTo>
                  <a:lnTo>
                    <a:pt x="1161" y="293"/>
                  </a:lnTo>
                  <a:lnTo>
                    <a:pt x="1190" y="274"/>
                  </a:lnTo>
                  <a:lnTo>
                    <a:pt x="1229" y="254"/>
                  </a:lnTo>
                  <a:lnTo>
                    <a:pt x="1259" y="244"/>
                  </a:lnTo>
                  <a:lnTo>
                    <a:pt x="1288" y="225"/>
                  </a:lnTo>
                  <a:lnTo>
                    <a:pt x="1317" y="215"/>
                  </a:lnTo>
                  <a:lnTo>
                    <a:pt x="1337" y="215"/>
                  </a:lnTo>
                  <a:lnTo>
                    <a:pt x="1317" y="235"/>
                  </a:lnTo>
                  <a:lnTo>
                    <a:pt x="1298" y="244"/>
                  </a:lnTo>
                  <a:lnTo>
                    <a:pt x="1288" y="254"/>
                  </a:lnTo>
                  <a:lnTo>
                    <a:pt x="1278" y="254"/>
                  </a:lnTo>
                  <a:lnTo>
                    <a:pt x="1269" y="264"/>
                  </a:lnTo>
                  <a:lnTo>
                    <a:pt x="1278" y="274"/>
                  </a:lnTo>
                  <a:lnTo>
                    <a:pt x="1269" y="283"/>
                  </a:lnTo>
                  <a:lnTo>
                    <a:pt x="1278" y="293"/>
                  </a:lnTo>
                  <a:lnTo>
                    <a:pt x="1288" y="283"/>
                  </a:lnTo>
                  <a:lnTo>
                    <a:pt x="1288" y="264"/>
                  </a:lnTo>
                  <a:lnTo>
                    <a:pt x="1308" y="244"/>
                  </a:lnTo>
                  <a:lnTo>
                    <a:pt x="1327" y="235"/>
                  </a:lnTo>
                  <a:lnTo>
                    <a:pt x="1347" y="235"/>
                  </a:lnTo>
                  <a:lnTo>
                    <a:pt x="1347" y="244"/>
                  </a:lnTo>
                  <a:lnTo>
                    <a:pt x="1347" y="264"/>
                  </a:lnTo>
                  <a:lnTo>
                    <a:pt x="1347" y="283"/>
                  </a:lnTo>
                  <a:lnTo>
                    <a:pt x="1337" y="264"/>
                  </a:lnTo>
                  <a:lnTo>
                    <a:pt x="1337" y="254"/>
                  </a:lnTo>
                  <a:lnTo>
                    <a:pt x="1327" y="264"/>
                  </a:lnTo>
                  <a:lnTo>
                    <a:pt x="1317" y="254"/>
                  </a:lnTo>
                  <a:lnTo>
                    <a:pt x="1308" y="254"/>
                  </a:lnTo>
                  <a:lnTo>
                    <a:pt x="1317" y="274"/>
                  </a:lnTo>
                  <a:lnTo>
                    <a:pt x="1337" y="274"/>
                  </a:lnTo>
                  <a:lnTo>
                    <a:pt x="1337" y="283"/>
                  </a:lnTo>
                  <a:lnTo>
                    <a:pt x="1337" y="293"/>
                  </a:lnTo>
                  <a:lnTo>
                    <a:pt x="1317" y="293"/>
                  </a:lnTo>
                  <a:lnTo>
                    <a:pt x="1317" y="303"/>
                  </a:lnTo>
                  <a:lnTo>
                    <a:pt x="1327" y="303"/>
                  </a:lnTo>
                  <a:lnTo>
                    <a:pt x="1337" y="322"/>
                  </a:lnTo>
                  <a:lnTo>
                    <a:pt x="1347" y="313"/>
                  </a:lnTo>
                  <a:lnTo>
                    <a:pt x="1356" y="303"/>
                  </a:lnTo>
                  <a:lnTo>
                    <a:pt x="1356" y="274"/>
                  </a:lnTo>
                  <a:lnTo>
                    <a:pt x="1356" y="244"/>
                  </a:lnTo>
                  <a:lnTo>
                    <a:pt x="1347" y="235"/>
                  </a:lnTo>
                  <a:lnTo>
                    <a:pt x="1347" y="205"/>
                  </a:lnTo>
                  <a:lnTo>
                    <a:pt x="1386" y="186"/>
                  </a:lnTo>
                  <a:lnTo>
                    <a:pt x="1405" y="176"/>
                  </a:lnTo>
                  <a:lnTo>
                    <a:pt x="1444" y="176"/>
                  </a:lnTo>
                  <a:lnTo>
                    <a:pt x="1464" y="176"/>
                  </a:lnTo>
                  <a:lnTo>
                    <a:pt x="1464" y="186"/>
                  </a:lnTo>
                  <a:lnTo>
                    <a:pt x="1464" y="205"/>
                  </a:lnTo>
                  <a:lnTo>
                    <a:pt x="1454" y="205"/>
                  </a:lnTo>
                  <a:lnTo>
                    <a:pt x="1444" y="196"/>
                  </a:lnTo>
                  <a:lnTo>
                    <a:pt x="1444" y="215"/>
                  </a:lnTo>
                  <a:lnTo>
                    <a:pt x="1444" y="225"/>
                  </a:lnTo>
                  <a:lnTo>
                    <a:pt x="1464" y="215"/>
                  </a:lnTo>
                  <a:lnTo>
                    <a:pt x="1483" y="196"/>
                  </a:lnTo>
                  <a:lnTo>
                    <a:pt x="1493" y="205"/>
                  </a:lnTo>
                  <a:lnTo>
                    <a:pt x="1493" y="215"/>
                  </a:lnTo>
                  <a:lnTo>
                    <a:pt x="1503" y="205"/>
                  </a:lnTo>
                  <a:lnTo>
                    <a:pt x="1512" y="196"/>
                  </a:lnTo>
                  <a:lnTo>
                    <a:pt x="1522" y="215"/>
                  </a:lnTo>
                  <a:lnTo>
                    <a:pt x="1532" y="205"/>
                  </a:lnTo>
                  <a:lnTo>
                    <a:pt x="1532" y="196"/>
                  </a:lnTo>
                  <a:lnTo>
                    <a:pt x="1542" y="186"/>
                  </a:lnTo>
                  <a:lnTo>
                    <a:pt x="1571" y="196"/>
                  </a:lnTo>
                  <a:lnTo>
                    <a:pt x="1590" y="205"/>
                  </a:lnTo>
                  <a:lnTo>
                    <a:pt x="1590" y="215"/>
                  </a:lnTo>
                  <a:lnTo>
                    <a:pt x="1600" y="205"/>
                  </a:lnTo>
                  <a:lnTo>
                    <a:pt x="1629" y="196"/>
                  </a:lnTo>
                  <a:lnTo>
                    <a:pt x="1639" y="186"/>
                  </a:lnTo>
                  <a:lnTo>
                    <a:pt x="1639" y="176"/>
                  </a:lnTo>
                  <a:lnTo>
                    <a:pt x="1649" y="166"/>
                  </a:lnTo>
                  <a:lnTo>
                    <a:pt x="1659" y="156"/>
                  </a:lnTo>
                  <a:lnTo>
                    <a:pt x="1668" y="117"/>
                  </a:lnTo>
                  <a:lnTo>
                    <a:pt x="1688" y="98"/>
                  </a:lnTo>
                  <a:lnTo>
                    <a:pt x="1707" y="78"/>
                  </a:lnTo>
                  <a:lnTo>
                    <a:pt x="1727" y="59"/>
                  </a:lnTo>
                  <a:lnTo>
                    <a:pt x="1737" y="49"/>
                  </a:lnTo>
                  <a:lnTo>
                    <a:pt x="1776" y="30"/>
                  </a:lnTo>
                  <a:lnTo>
                    <a:pt x="1805" y="20"/>
                  </a:lnTo>
                  <a:lnTo>
                    <a:pt x="1825" y="20"/>
                  </a:lnTo>
                  <a:lnTo>
                    <a:pt x="1854" y="20"/>
                  </a:lnTo>
                  <a:lnTo>
                    <a:pt x="1854" y="30"/>
                  </a:lnTo>
                  <a:lnTo>
                    <a:pt x="1873" y="30"/>
                  </a:lnTo>
                  <a:lnTo>
                    <a:pt x="1883" y="39"/>
                  </a:lnTo>
                  <a:lnTo>
                    <a:pt x="1883" y="49"/>
                  </a:lnTo>
                  <a:lnTo>
                    <a:pt x="1893" y="59"/>
                  </a:lnTo>
                  <a:lnTo>
                    <a:pt x="1893" y="69"/>
                  </a:lnTo>
                  <a:lnTo>
                    <a:pt x="1903" y="69"/>
                  </a:lnTo>
                  <a:lnTo>
                    <a:pt x="1912" y="69"/>
                  </a:lnTo>
                  <a:lnTo>
                    <a:pt x="1932" y="69"/>
                  </a:lnTo>
                  <a:lnTo>
                    <a:pt x="1951" y="59"/>
                  </a:lnTo>
                  <a:lnTo>
                    <a:pt x="1971" y="69"/>
                  </a:lnTo>
                  <a:lnTo>
                    <a:pt x="1981" y="69"/>
                  </a:lnTo>
                  <a:lnTo>
                    <a:pt x="1981" y="59"/>
                  </a:lnTo>
                  <a:lnTo>
                    <a:pt x="1981" y="49"/>
                  </a:lnTo>
                  <a:lnTo>
                    <a:pt x="1990" y="49"/>
                  </a:lnTo>
                  <a:lnTo>
                    <a:pt x="2000" y="49"/>
                  </a:lnTo>
                  <a:lnTo>
                    <a:pt x="1990" y="30"/>
                  </a:lnTo>
                  <a:lnTo>
                    <a:pt x="1990" y="20"/>
                  </a:lnTo>
                  <a:lnTo>
                    <a:pt x="1990" y="0"/>
                  </a:lnTo>
                  <a:lnTo>
                    <a:pt x="2000" y="10"/>
                  </a:lnTo>
                  <a:lnTo>
                    <a:pt x="2010" y="30"/>
                  </a:lnTo>
                  <a:lnTo>
                    <a:pt x="2020" y="20"/>
                  </a:lnTo>
                  <a:lnTo>
                    <a:pt x="2039" y="30"/>
                  </a:lnTo>
                  <a:lnTo>
                    <a:pt x="2039" y="39"/>
                  </a:lnTo>
                  <a:lnTo>
                    <a:pt x="2068" y="49"/>
                  </a:lnTo>
                  <a:lnTo>
                    <a:pt x="2068" y="59"/>
                  </a:lnTo>
                  <a:lnTo>
                    <a:pt x="2088" y="69"/>
                  </a:lnTo>
                  <a:lnTo>
                    <a:pt x="2107" y="69"/>
                  </a:lnTo>
                  <a:lnTo>
                    <a:pt x="2107" y="88"/>
                  </a:lnTo>
                  <a:lnTo>
                    <a:pt x="2098" y="98"/>
                  </a:lnTo>
                  <a:lnTo>
                    <a:pt x="2078" y="117"/>
                  </a:lnTo>
                  <a:lnTo>
                    <a:pt x="2078" y="137"/>
                  </a:lnTo>
                  <a:lnTo>
                    <a:pt x="2078" y="166"/>
                  </a:lnTo>
                  <a:lnTo>
                    <a:pt x="2059" y="186"/>
                  </a:lnTo>
                  <a:lnTo>
                    <a:pt x="2059" y="196"/>
                  </a:lnTo>
                  <a:lnTo>
                    <a:pt x="2049" y="205"/>
                  </a:lnTo>
                  <a:lnTo>
                    <a:pt x="2029" y="235"/>
                  </a:lnTo>
                  <a:lnTo>
                    <a:pt x="2029" y="244"/>
                  </a:lnTo>
                  <a:lnTo>
                    <a:pt x="2029" y="264"/>
                  </a:lnTo>
                  <a:lnTo>
                    <a:pt x="2049" y="264"/>
                  </a:lnTo>
                  <a:lnTo>
                    <a:pt x="2039" y="293"/>
                  </a:lnTo>
                  <a:lnTo>
                    <a:pt x="2049" y="303"/>
                  </a:lnTo>
                  <a:lnTo>
                    <a:pt x="2078" y="313"/>
                  </a:lnTo>
                  <a:lnTo>
                    <a:pt x="2117" y="303"/>
                  </a:lnTo>
                  <a:lnTo>
                    <a:pt x="2146" y="303"/>
                  </a:lnTo>
                  <a:lnTo>
                    <a:pt x="2156" y="322"/>
                  </a:lnTo>
                  <a:lnTo>
                    <a:pt x="2166" y="352"/>
                  </a:lnTo>
                  <a:lnTo>
                    <a:pt x="2176" y="361"/>
                  </a:lnTo>
                  <a:lnTo>
                    <a:pt x="2185" y="371"/>
                  </a:lnTo>
                  <a:lnTo>
                    <a:pt x="2195" y="381"/>
                  </a:lnTo>
                  <a:lnTo>
                    <a:pt x="2185" y="400"/>
                  </a:lnTo>
                  <a:lnTo>
                    <a:pt x="2185" y="439"/>
                  </a:lnTo>
                  <a:lnTo>
                    <a:pt x="2146" y="439"/>
                  </a:lnTo>
                  <a:lnTo>
                    <a:pt x="2146" y="449"/>
                  </a:lnTo>
                  <a:lnTo>
                    <a:pt x="2146" y="459"/>
                  </a:lnTo>
                  <a:lnTo>
                    <a:pt x="2137" y="469"/>
                  </a:lnTo>
                  <a:lnTo>
                    <a:pt x="2107" y="488"/>
                  </a:lnTo>
                  <a:lnTo>
                    <a:pt x="2098" y="488"/>
                  </a:lnTo>
                  <a:lnTo>
                    <a:pt x="2098" y="508"/>
                  </a:lnTo>
                  <a:lnTo>
                    <a:pt x="2068" y="508"/>
                  </a:lnTo>
                  <a:lnTo>
                    <a:pt x="2068" y="517"/>
                  </a:lnTo>
                  <a:lnTo>
                    <a:pt x="2078" y="527"/>
                  </a:lnTo>
                  <a:lnTo>
                    <a:pt x="2098" y="537"/>
                  </a:lnTo>
                  <a:lnTo>
                    <a:pt x="2098" y="557"/>
                  </a:lnTo>
                  <a:lnTo>
                    <a:pt x="2078" y="566"/>
                  </a:lnTo>
                  <a:lnTo>
                    <a:pt x="2068" y="576"/>
                  </a:lnTo>
                  <a:lnTo>
                    <a:pt x="2107" y="596"/>
                  </a:lnTo>
                  <a:lnTo>
                    <a:pt x="2107" y="615"/>
                  </a:lnTo>
                  <a:lnTo>
                    <a:pt x="2098" y="625"/>
                  </a:lnTo>
                  <a:lnTo>
                    <a:pt x="2088" y="635"/>
                  </a:lnTo>
                  <a:lnTo>
                    <a:pt x="2088" y="654"/>
                  </a:lnTo>
                  <a:lnTo>
                    <a:pt x="2098" y="674"/>
                  </a:lnTo>
                  <a:lnTo>
                    <a:pt x="2127" y="683"/>
                  </a:lnTo>
                  <a:lnTo>
                    <a:pt x="2137" y="693"/>
                  </a:lnTo>
                  <a:lnTo>
                    <a:pt x="2137" y="722"/>
                  </a:lnTo>
                  <a:lnTo>
                    <a:pt x="2146" y="732"/>
                  </a:lnTo>
                  <a:lnTo>
                    <a:pt x="2146" y="742"/>
                  </a:lnTo>
                  <a:lnTo>
                    <a:pt x="2127" y="742"/>
                  </a:lnTo>
                  <a:lnTo>
                    <a:pt x="2117" y="791"/>
                  </a:lnTo>
                  <a:lnTo>
                    <a:pt x="2107" y="791"/>
                  </a:lnTo>
                  <a:lnTo>
                    <a:pt x="2098" y="800"/>
                  </a:lnTo>
                  <a:lnTo>
                    <a:pt x="2098" y="810"/>
                  </a:lnTo>
                  <a:lnTo>
                    <a:pt x="2088" y="830"/>
                  </a:lnTo>
                  <a:lnTo>
                    <a:pt x="2068" y="820"/>
                  </a:lnTo>
                  <a:lnTo>
                    <a:pt x="2068" y="810"/>
                  </a:lnTo>
                  <a:lnTo>
                    <a:pt x="2049" y="810"/>
                  </a:lnTo>
                  <a:lnTo>
                    <a:pt x="2049" y="830"/>
                  </a:lnTo>
                  <a:lnTo>
                    <a:pt x="2039" y="839"/>
                  </a:lnTo>
                  <a:lnTo>
                    <a:pt x="2020" y="839"/>
                  </a:lnTo>
                  <a:lnTo>
                    <a:pt x="2010" y="849"/>
                  </a:lnTo>
                  <a:lnTo>
                    <a:pt x="2000" y="849"/>
                  </a:lnTo>
                  <a:lnTo>
                    <a:pt x="1990" y="849"/>
                  </a:lnTo>
                  <a:lnTo>
                    <a:pt x="1990" y="859"/>
                  </a:lnTo>
                  <a:lnTo>
                    <a:pt x="2000" y="869"/>
                  </a:lnTo>
                  <a:lnTo>
                    <a:pt x="2010" y="869"/>
                  </a:lnTo>
                  <a:lnTo>
                    <a:pt x="2020" y="898"/>
                  </a:lnTo>
                  <a:lnTo>
                    <a:pt x="2020" y="908"/>
                  </a:lnTo>
                  <a:lnTo>
                    <a:pt x="2010" y="918"/>
                  </a:lnTo>
                  <a:lnTo>
                    <a:pt x="2000" y="908"/>
                  </a:lnTo>
                  <a:lnTo>
                    <a:pt x="1981" y="908"/>
                  </a:lnTo>
                  <a:lnTo>
                    <a:pt x="1981" y="927"/>
                  </a:lnTo>
                  <a:lnTo>
                    <a:pt x="1961" y="927"/>
                  </a:lnTo>
                  <a:lnTo>
                    <a:pt x="1951" y="937"/>
                  </a:lnTo>
                  <a:lnTo>
                    <a:pt x="1942" y="947"/>
                  </a:lnTo>
                  <a:lnTo>
                    <a:pt x="1942" y="966"/>
                  </a:lnTo>
                  <a:lnTo>
                    <a:pt x="1951" y="976"/>
                  </a:lnTo>
                  <a:lnTo>
                    <a:pt x="1942" y="996"/>
                  </a:lnTo>
                  <a:lnTo>
                    <a:pt x="1942" y="1005"/>
                  </a:lnTo>
                  <a:lnTo>
                    <a:pt x="1951" y="1025"/>
                  </a:lnTo>
                  <a:lnTo>
                    <a:pt x="1971" y="1064"/>
                  </a:lnTo>
                  <a:lnTo>
                    <a:pt x="1981" y="1083"/>
                  </a:lnTo>
                  <a:lnTo>
                    <a:pt x="2000" y="1093"/>
                  </a:lnTo>
                  <a:lnTo>
                    <a:pt x="2000" y="1103"/>
                  </a:lnTo>
                  <a:lnTo>
                    <a:pt x="2020" y="1122"/>
                  </a:lnTo>
                  <a:lnTo>
                    <a:pt x="2010" y="1132"/>
                  </a:lnTo>
                  <a:lnTo>
                    <a:pt x="2029" y="1152"/>
                  </a:lnTo>
                  <a:lnTo>
                    <a:pt x="2029" y="1181"/>
                  </a:lnTo>
                  <a:lnTo>
                    <a:pt x="2020" y="1191"/>
                  </a:lnTo>
                  <a:lnTo>
                    <a:pt x="2020" y="1210"/>
                  </a:lnTo>
                  <a:lnTo>
                    <a:pt x="2020" y="1230"/>
                  </a:lnTo>
                  <a:lnTo>
                    <a:pt x="2010" y="1230"/>
                  </a:lnTo>
                  <a:lnTo>
                    <a:pt x="2010" y="1220"/>
                  </a:lnTo>
                  <a:lnTo>
                    <a:pt x="2000" y="1210"/>
                  </a:lnTo>
                  <a:lnTo>
                    <a:pt x="1990" y="1220"/>
                  </a:lnTo>
                  <a:lnTo>
                    <a:pt x="1990" y="1230"/>
                  </a:lnTo>
                  <a:lnTo>
                    <a:pt x="1981" y="1239"/>
                  </a:lnTo>
                  <a:lnTo>
                    <a:pt x="1971" y="1220"/>
                  </a:lnTo>
                  <a:lnTo>
                    <a:pt x="1951" y="1239"/>
                  </a:lnTo>
                  <a:lnTo>
                    <a:pt x="1961" y="1259"/>
                  </a:lnTo>
                  <a:lnTo>
                    <a:pt x="1951" y="1269"/>
                  </a:lnTo>
                  <a:lnTo>
                    <a:pt x="1932" y="1279"/>
                  </a:lnTo>
                  <a:lnTo>
                    <a:pt x="1912" y="1269"/>
                  </a:lnTo>
                  <a:lnTo>
                    <a:pt x="1893" y="1279"/>
                  </a:lnTo>
                  <a:lnTo>
                    <a:pt x="1873" y="1269"/>
                  </a:lnTo>
                  <a:lnTo>
                    <a:pt x="1854" y="1269"/>
                  </a:lnTo>
                  <a:lnTo>
                    <a:pt x="1844" y="1279"/>
                  </a:lnTo>
                  <a:lnTo>
                    <a:pt x="1834" y="1279"/>
                  </a:lnTo>
                  <a:lnTo>
                    <a:pt x="1825" y="1269"/>
                  </a:lnTo>
                  <a:lnTo>
                    <a:pt x="1815" y="1279"/>
                  </a:lnTo>
                  <a:lnTo>
                    <a:pt x="1825" y="1288"/>
                  </a:lnTo>
                  <a:lnTo>
                    <a:pt x="1815" y="1308"/>
                  </a:lnTo>
                  <a:lnTo>
                    <a:pt x="1825" y="1347"/>
                  </a:lnTo>
                  <a:lnTo>
                    <a:pt x="1834" y="1357"/>
                  </a:lnTo>
                  <a:lnTo>
                    <a:pt x="1834" y="1386"/>
                  </a:lnTo>
                  <a:lnTo>
                    <a:pt x="1825" y="1405"/>
                  </a:lnTo>
                  <a:lnTo>
                    <a:pt x="1815" y="1425"/>
                  </a:lnTo>
                  <a:lnTo>
                    <a:pt x="1815" y="1444"/>
                  </a:lnTo>
                  <a:lnTo>
                    <a:pt x="1805" y="1454"/>
                  </a:lnTo>
                  <a:lnTo>
                    <a:pt x="1805" y="1483"/>
                  </a:lnTo>
                  <a:lnTo>
                    <a:pt x="1805" y="1513"/>
                  </a:lnTo>
                  <a:lnTo>
                    <a:pt x="1834" y="1532"/>
                  </a:lnTo>
                  <a:lnTo>
                    <a:pt x="1844" y="1571"/>
                  </a:lnTo>
                  <a:lnTo>
                    <a:pt x="1854" y="1581"/>
                  </a:lnTo>
                  <a:lnTo>
                    <a:pt x="1873" y="1591"/>
                  </a:lnTo>
                  <a:lnTo>
                    <a:pt x="1873" y="1610"/>
                  </a:lnTo>
                  <a:lnTo>
                    <a:pt x="1873" y="1620"/>
                  </a:lnTo>
                  <a:lnTo>
                    <a:pt x="1864" y="1630"/>
                  </a:lnTo>
                  <a:lnTo>
                    <a:pt x="1864" y="1659"/>
                  </a:lnTo>
                  <a:lnTo>
                    <a:pt x="1854" y="1679"/>
                  </a:lnTo>
                  <a:lnTo>
                    <a:pt x="1834" y="1698"/>
                  </a:lnTo>
                  <a:lnTo>
                    <a:pt x="1815" y="1698"/>
                  </a:lnTo>
                  <a:lnTo>
                    <a:pt x="1805" y="1708"/>
                  </a:lnTo>
                  <a:lnTo>
                    <a:pt x="1785" y="1708"/>
                  </a:lnTo>
                  <a:lnTo>
                    <a:pt x="1776" y="1708"/>
                  </a:lnTo>
                  <a:lnTo>
                    <a:pt x="1766" y="1727"/>
                  </a:lnTo>
                  <a:lnTo>
                    <a:pt x="1766" y="1747"/>
                  </a:lnTo>
                  <a:lnTo>
                    <a:pt x="1766" y="1757"/>
                  </a:lnTo>
                  <a:lnTo>
                    <a:pt x="1756" y="1766"/>
                  </a:lnTo>
                  <a:lnTo>
                    <a:pt x="1737" y="1776"/>
                  </a:lnTo>
                  <a:lnTo>
                    <a:pt x="1727" y="1776"/>
                  </a:lnTo>
                  <a:lnTo>
                    <a:pt x="1717" y="1796"/>
                  </a:lnTo>
                  <a:lnTo>
                    <a:pt x="1698" y="1786"/>
                  </a:lnTo>
                  <a:lnTo>
                    <a:pt x="1688" y="1796"/>
                  </a:lnTo>
                  <a:lnTo>
                    <a:pt x="1668" y="1796"/>
                  </a:lnTo>
                  <a:lnTo>
                    <a:pt x="1649" y="1805"/>
                  </a:lnTo>
                  <a:lnTo>
                    <a:pt x="1649" y="1835"/>
                  </a:lnTo>
                  <a:lnTo>
                    <a:pt x="1649" y="1854"/>
                  </a:lnTo>
                  <a:lnTo>
                    <a:pt x="1639" y="1864"/>
                  </a:lnTo>
                  <a:lnTo>
                    <a:pt x="1649" y="1913"/>
                  </a:lnTo>
                  <a:lnTo>
                    <a:pt x="1639" y="1913"/>
                  </a:lnTo>
                  <a:lnTo>
                    <a:pt x="1639" y="1922"/>
                  </a:lnTo>
                  <a:lnTo>
                    <a:pt x="1649" y="1932"/>
                  </a:lnTo>
                  <a:lnTo>
                    <a:pt x="1649" y="1942"/>
                  </a:lnTo>
                  <a:lnTo>
                    <a:pt x="1649" y="1952"/>
                  </a:lnTo>
                  <a:lnTo>
                    <a:pt x="1649" y="1961"/>
                  </a:lnTo>
                  <a:lnTo>
                    <a:pt x="1629" y="1961"/>
                  </a:lnTo>
                  <a:lnTo>
                    <a:pt x="1620" y="1961"/>
                  </a:lnTo>
                  <a:lnTo>
                    <a:pt x="1629" y="1971"/>
                  </a:lnTo>
                  <a:lnTo>
                    <a:pt x="1649" y="1981"/>
                  </a:lnTo>
                  <a:lnTo>
                    <a:pt x="1659" y="1991"/>
                  </a:lnTo>
                  <a:lnTo>
                    <a:pt x="1678" y="2001"/>
                  </a:lnTo>
                  <a:lnTo>
                    <a:pt x="1668" y="2020"/>
                  </a:lnTo>
                  <a:lnTo>
                    <a:pt x="1659" y="2049"/>
                  </a:lnTo>
                  <a:lnTo>
                    <a:pt x="1659" y="2069"/>
                  </a:lnTo>
                  <a:lnTo>
                    <a:pt x="1678" y="2069"/>
                  </a:lnTo>
                  <a:lnTo>
                    <a:pt x="1698" y="2088"/>
                  </a:lnTo>
                  <a:lnTo>
                    <a:pt x="1707" y="2098"/>
                  </a:lnTo>
                  <a:lnTo>
                    <a:pt x="1707" y="2108"/>
                  </a:lnTo>
                  <a:lnTo>
                    <a:pt x="1707" y="2127"/>
                  </a:lnTo>
                  <a:lnTo>
                    <a:pt x="1698" y="2137"/>
                  </a:lnTo>
                  <a:lnTo>
                    <a:pt x="1698" y="2157"/>
                  </a:lnTo>
                  <a:lnTo>
                    <a:pt x="1698" y="2166"/>
                  </a:lnTo>
                  <a:lnTo>
                    <a:pt x="1688" y="2186"/>
                  </a:lnTo>
                  <a:lnTo>
                    <a:pt x="1688" y="2205"/>
                  </a:lnTo>
                  <a:lnTo>
                    <a:pt x="1707" y="2225"/>
                  </a:lnTo>
                  <a:lnTo>
                    <a:pt x="1659" y="2244"/>
                  </a:lnTo>
                  <a:lnTo>
                    <a:pt x="1629" y="2254"/>
                  </a:lnTo>
                  <a:lnTo>
                    <a:pt x="1590" y="2274"/>
                  </a:lnTo>
                  <a:lnTo>
                    <a:pt x="1590" y="2293"/>
                  </a:lnTo>
                  <a:lnTo>
                    <a:pt x="1600" y="2303"/>
                  </a:lnTo>
                  <a:lnTo>
                    <a:pt x="1590" y="2313"/>
                  </a:lnTo>
                  <a:lnTo>
                    <a:pt x="1551" y="2322"/>
                  </a:lnTo>
                  <a:lnTo>
                    <a:pt x="1532" y="2322"/>
                  </a:lnTo>
                  <a:lnTo>
                    <a:pt x="1522" y="2322"/>
                  </a:lnTo>
                  <a:lnTo>
                    <a:pt x="1512" y="2322"/>
                  </a:lnTo>
                  <a:lnTo>
                    <a:pt x="1512" y="2342"/>
                  </a:lnTo>
                  <a:lnTo>
                    <a:pt x="1493" y="2342"/>
                  </a:lnTo>
                  <a:lnTo>
                    <a:pt x="1493" y="2332"/>
                  </a:lnTo>
                  <a:lnTo>
                    <a:pt x="1483" y="2342"/>
                  </a:lnTo>
                  <a:lnTo>
                    <a:pt x="1473" y="2342"/>
                  </a:lnTo>
                  <a:lnTo>
                    <a:pt x="1454" y="2342"/>
                  </a:lnTo>
                  <a:lnTo>
                    <a:pt x="1444" y="2362"/>
                  </a:lnTo>
                  <a:lnTo>
                    <a:pt x="1425" y="2362"/>
                  </a:lnTo>
                  <a:lnTo>
                    <a:pt x="1415" y="2352"/>
                  </a:lnTo>
                  <a:lnTo>
                    <a:pt x="1405" y="2342"/>
                  </a:lnTo>
                  <a:lnTo>
                    <a:pt x="1395" y="2352"/>
                  </a:lnTo>
                  <a:lnTo>
                    <a:pt x="1386" y="2352"/>
                  </a:lnTo>
                  <a:lnTo>
                    <a:pt x="1356" y="2352"/>
                  </a:lnTo>
                  <a:lnTo>
                    <a:pt x="1327" y="2362"/>
                  </a:lnTo>
                  <a:lnTo>
                    <a:pt x="1308" y="2371"/>
                  </a:lnTo>
                  <a:lnTo>
                    <a:pt x="1298" y="2362"/>
                  </a:lnTo>
                  <a:lnTo>
                    <a:pt x="1278" y="2342"/>
                  </a:lnTo>
                  <a:lnTo>
                    <a:pt x="1259" y="2332"/>
                  </a:lnTo>
                  <a:lnTo>
                    <a:pt x="1239" y="2332"/>
                  </a:lnTo>
                  <a:lnTo>
                    <a:pt x="1220" y="2332"/>
                  </a:lnTo>
                  <a:lnTo>
                    <a:pt x="1190" y="2332"/>
                  </a:lnTo>
                  <a:lnTo>
                    <a:pt x="1181" y="2332"/>
                  </a:lnTo>
                  <a:lnTo>
                    <a:pt x="1181" y="2352"/>
                  </a:lnTo>
                  <a:lnTo>
                    <a:pt x="1161" y="2352"/>
                  </a:lnTo>
                  <a:lnTo>
                    <a:pt x="1142" y="2342"/>
                  </a:lnTo>
                  <a:lnTo>
                    <a:pt x="1132" y="2322"/>
                  </a:lnTo>
                  <a:lnTo>
                    <a:pt x="1112" y="2342"/>
                  </a:lnTo>
                  <a:lnTo>
                    <a:pt x="1093" y="2332"/>
                  </a:lnTo>
                  <a:lnTo>
                    <a:pt x="1083" y="2322"/>
                  </a:lnTo>
                  <a:lnTo>
                    <a:pt x="1064" y="2322"/>
                  </a:lnTo>
                  <a:lnTo>
                    <a:pt x="1044" y="2322"/>
                  </a:lnTo>
                  <a:lnTo>
                    <a:pt x="1015" y="2332"/>
                  </a:lnTo>
                  <a:lnTo>
                    <a:pt x="1005" y="2342"/>
                  </a:lnTo>
                  <a:lnTo>
                    <a:pt x="995" y="2352"/>
                  </a:lnTo>
                  <a:lnTo>
                    <a:pt x="976" y="2342"/>
                  </a:lnTo>
                  <a:lnTo>
                    <a:pt x="947" y="2303"/>
                  </a:lnTo>
                  <a:lnTo>
                    <a:pt x="947" y="2283"/>
                  </a:lnTo>
                  <a:lnTo>
                    <a:pt x="937" y="2283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8" name="Freeform 89"/>
            <p:cNvSpPr>
              <a:spLocks/>
            </p:cNvSpPr>
            <p:nvPr/>
          </p:nvSpPr>
          <p:spPr bwMode="auto">
            <a:xfrm>
              <a:off x="7551" y="1220"/>
              <a:ext cx="839" cy="1046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97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9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3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5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20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3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29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87"/>
                  </a:lnTo>
                  <a:lnTo>
                    <a:pt x="117" y="48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58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97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4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83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29"/>
                  </a:lnTo>
                  <a:lnTo>
                    <a:pt x="64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90" y="38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819" y="23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7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39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5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09" name="Group 86"/>
            <p:cNvGrpSpPr>
              <a:grpSpLocks/>
            </p:cNvGrpSpPr>
            <p:nvPr/>
          </p:nvGrpSpPr>
          <p:grpSpPr bwMode="auto">
            <a:xfrm>
              <a:off x="7549" y="1220"/>
              <a:ext cx="839" cy="1044"/>
              <a:chOff x="7550" y="1220"/>
              <a:chExt cx="839" cy="1044"/>
            </a:xfrm>
          </p:grpSpPr>
          <p:sp>
            <p:nvSpPr>
              <p:cNvPr id="680" name="Freeform 88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  <a:lnTo>
                      <a:pt x="253" y="48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1" name="Freeform 87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10" name="Freeform 85"/>
            <p:cNvSpPr>
              <a:spLocks/>
            </p:cNvSpPr>
            <p:nvPr/>
          </p:nvSpPr>
          <p:spPr bwMode="auto">
            <a:xfrm>
              <a:off x="8136" y="2139"/>
              <a:ext cx="7" cy="16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11" name="Group 82"/>
            <p:cNvGrpSpPr>
              <a:grpSpLocks/>
            </p:cNvGrpSpPr>
            <p:nvPr/>
          </p:nvGrpSpPr>
          <p:grpSpPr bwMode="auto">
            <a:xfrm>
              <a:off x="8134" y="2137"/>
              <a:ext cx="10" cy="19"/>
              <a:chOff x="8135" y="2137"/>
              <a:chExt cx="10" cy="19"/>
            </a:xfrm>
          </p:grpSpPr>
          <p:sp>
            <p:nvSpPr>
              <p:cNvPr id="678" name="Freeform 84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9" name="Freeform 83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12" name="Freeform 81"/>
            <p:cNvSpPr>
              <a:spLocks/>
            </p:cNvSpPr>
            <p:nvPr/>
          </p:nvSpPr>
          <p:spPr bwMode="auto">
            <a:xfrm>
              <a:off x="8632" y="1737"/>
              <a:ext cx="489" cy="771"/>
            </a:xfrm>
            <a:custGeom>
              <a:avLst/>
              <a:gdLst>
                <a:gd name="T0" fmla="*/ 29 w 487"/>
                <a:gd name="T1" fmla="*/ 449 h 770"/>
                <a:gd name="T2" fmla="*/ 5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8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5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3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5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61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58" y="31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51" y="283"/>
                  </a:lnTo>
                  <a:lnTo>
                    <a:pt x="35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8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51"/>
                  </a:lnTo>
                  <a:lnTo>
                    <a:pt x="448" y="75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3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13" name="Group 78"/>
            <p:cNvGrpSpPr>
              <a:grpSpLocks/>
            </p:cNvGrpSpPr>
            <p:nvPr/>
          </p:nvGrpSpPr>
          <p:grpSpPr bwMode="auto">
            <a:xfrm>
              <a:off x="8632" y="1737"/>
              <a:ext cx="487" cy="770"/>
              <a:chOff x="8633" y="1737"/>
              <a:chExt cx="487" cy="770"/>
            </a:xfrm>
          </p:grpSpPr>
          <p:sp>
            <p:nvSpPr>
              <p:cNvPr id="676" name="Freeform 80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7" name="Freeform 79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14" name="Freeform 77"/>
            <p:cNvSpPr>
              <a:spLocks/>
            </p:cNvSpPr>
            <p:nvPr/>
          </p:nvSpPr>
          <p:spPr bwMode="auto">
            <a:xfrm>
              <a:off x="2997" y="1171"/>
              <a:ext cx="946" cy="635"/>
            </a:xfrm>
            <a:custGeom>
              <a:avLst/>
              <a:gdLst/>
              <a:ahLst/>
              <a:cxnLst>
                <a:cxn ang="0">
                  <a:pos x="282" y="390"/>
                </a:cxn>
                <a:cxn ang="0">
                  <a:pos x="370" y="429"/>
                </a:cxn>
                <a:cxn ang="0">
                  <a:pos x="497" y="527"/>
                </a:cxn>
                <a:cxn ang="0">
                  <a:pos x="663" y="634"/>
                </a:cxn>
                <a:cxn ang="0">
                  <a:pos x="741" y="614"/>
                </a:cxn>
                <a:cxn ang="0">
                  <a:pos x="790" y="595"/>
                </a:cxn>
                <a:cxn ang="0">
                  <a:pos x="838" y="585"/>
                </a:cxn>
                <a:cxn ang="0">
                  <a:pos x="897" y="585"/>
                </a:cxn>
                <a:cxn ang="0">
                  <a:pos x="907" y="517"/>
                </a:cxn>
                <a:cxn ang="0">
                  <a:pos x="946" y="517"/>
                </a:cxn>
                <a:cxn ang="0">
                  <a:pos x="946" y="497"/>
                </a:cxn>
                <a:cxn ang="0">
                  <a:pos x="916" y="439"/>
                </a:cxn>
                <a:cxn ang="0">
                  <a:pos x="829" y="361"/>
                </a:cxn>
                <a:cxn ang="0">
                  <a:pos x="780" y="371"/>
                </a:cxn>
                <a:cxn ang="0">
                  <a:pos x="770" y="419"/>
                </a:cxn>
                <a:cxn ang="0">
                  <a:pos x="731" y="458"/>
                </a:cxn>
                <a:cxn ang="0">
                  <a:pos x="702" y="458"/>
                </a:cxn>
                <a:cxn ang="0">
                  <a:pos x="673" y="458"/>
                </a:cxn>
                <a:cxn ang="0">
                  <a:pos x="702" y="429"/>
                </a:cxn>
                <a:cxn ang="0">
                  <a:pos x="712" y="400"/>
                </a:cxn>
                <a:cxn ang="0">
                  <a:pos x="673" y="400"/>
                </a:cxn>
                <a:cxn ang="0">
                  <a:pos x="653" y="390"/>
                </a:cxn>
                <a:cxn ang="0">
                  <a:pos x="624" y="400"/>
                </a:cxn>
                <a:cxn ang="0">
                  <a:pos x="585" y="361"/>
                </a:cxn>
                <a:cxn ang="0">
                  <a:pos x="526" y="341"/>
                </a:cxn>
                <a:cxn ang="0">
                  <a:pos x="497" y="341"/>
                </a:cxn>
                <a:cxn ang="0">
                  <a:pos x="458" y="312"/>
                </a:cxn>
                <a:cxn ang="0">
                  <a:pos x="497" y="312"/>
                </a:cxn>
                <a:cxn ang="0">
                  <a:pos x="517" y="273"/>
                </a:cxn>
                <a:cxn ang="0">
                  <a:pos x="507" y="253"/>
                </a:cxn>
                <a:cxn ang="0">
                  <a:pos x="448" y="263"/>
                </a:cxn>
                <a:cxn ang="0">
                  <a:pos x="419" y="283"/>
                </a:cxn>
                <a:cxn ang="0">
                  <a:pos x="409" y="244"/>
                </a:cxn>
                <a:cxn ang="0">
                  <a:pos x="321" y="234"/>
                </a:cxn>
                <a:cxn ang="0">
                  <a:pos x="263" y="224"/>
                </a:cxn>
                <a:cxn ang="0">
                  <a:pos x="214" y="214"/>
                </a:cxn>
                <a:cxn ang="0">
                  <a:pos x="156" y="253"/>
                </a:cxn>
                <a:cxn ang="0">
                  <a:pos x="87" y="205"/>
                </a:cxn>
                <a:cxn ang="0">
                  <a:pos x="107" y="156"/>
                </a:cxn>
                <a:cxn ang="0">
                  <a:pos x="136" y="136"/>
                </a:cxn>
                <a:cxn ang="0">
                  <a:pos x="185" y="146"/>
                </a:cxn>
                <a:cxn ang="0">
                  <a:pos x="224" y="117"/>
                </a:cxn>
                <a:cxn ang="0">
                  <a:pos x="224" y="58"/>
                </a:cxn>
                <a:cxn ang="0">
                  <a:pos x="185" y="0"/>
                </a:cxn>
                <a:cxn ang="0">
                  <a:pos x="165" y="29"/>
                </a:cxn>
                <a:cxn ang="0">
                  <a:pos x="126" y="68"/>
                </a:cxn>
                <a:cxn ang="0">
                  <a:pos x="97" y="88"/>
                </a:cxn>
                <a:cxn ang="0">
                  <a:pos x="58" y="117"/>
                </a:cxn>
                <a:cxn ang="0">
                  <a:pos x="48" y="166"/>
                </a:cxn>
                <a:cxn ang="0">
                  <a:pos x="0" y="185"/>
                </a:cxn>
                <a:cxn ang="0">
                  <a:pos x="29" y="302"/>
                </a:cxn>
                <a:cxn ang="0">
                  <a:pos x="97" y="332"/>
                </a:cxn>
              </a:cxnLst>
              <a:rect l="0" t="0" r="r" b="b"/>
              <a:pathLst>
                <a:path w="946" h="634">
                  <a:moveTo>
                    <a:pt x="136" y="361"/>
                  </a:moveTo>
                  <a:lnTo>
                    <a:pt x="185" y="371"/>
                  </a:lnTo>
                  <a:lnTo>
                    <a:pt x="253" y="380"/>
                  </a:lnTo>
                  <a:lnTo>
                    <a:pt x="282" y="390"/>
                  </a:lnTo>
                  <a:lnTo>
                    <a:pt x="302" y="380"/>
                  </a:lnTo>
                  <a:lnTo>
                    <a:pt x="331" y="390"/>
                  </a:lnTo>
                  <a:lnTo>
                    <a:pt x="351" y="410"/>
                  </a:lnTo>
                  <a:lnTo>
                    <a:pt x="370" y="429"/>
                  </a:lnTo>
                  <a:lnTo>
                    <a:pt x="409" y="458"/>
                  </a:lnTo>
                  <a:lnTo>
                    <a:pt x="419" y="478"/>
                  </a:lnTo>
                  <a:lnTo>
                    <a:pt x="438" y="488"/>
                  </a:lnTo>
                  <a:lnTo>
                    <a:pt x="497" y="527"/>
                  </a:lnTo>
                  <a:lnTo>
                    <a:pt x="546" y="556"/>
                  </a:lnTo>
                  <a:lnTo>
                    <a:pt x="595" y="595"/>
                  </a:lnTo>
                  <a:lnTo>
                    <a:pt x="643" y="634"/>
                  </a:lnTo>
                  <a:lnTo>
                    <a:pt x="663" y="634"/>
                  </a:lnTo>
                  <a:lnTo>
                    <a:pt x="682" y="634"/>
                  </a:lnTo>
                  <a:lnTo>
                    <a:pt x="702" y="634"/>
                  </a:lnTo>
                  <a:lnTo>
                    <a:pt x="721" y="624"/>
                  </a:lnTo>
                  <a:lnTo>
                    <a:pt x="741" y="614"/>
                  </a:lnTo>
                  <a:lnTo>
                    <a:pt x="751" y="614"/>
                  </a:lnTo>
                  <a:lnTo>
                    <a:pt x="760" y="595"/>
                  </a:lnTo>
                  <a:lnTo>
                    <a:pt x="770" y="595"/>
                  </a:lnTo>
                  <a:lnTo>
                    <a:pt x="790" y="595"/>
                  </a:lnTo>
                  <a:lnTo>
                    <a:pt x="799" y="605"/>
                  </a:lnTo>
                  <a:lnTo>
                    <a:pt x="819" y="605"/>
                  </a:lnTo>
                  <a:lnTo>
                    <a:pt x="819" y="595"/>
                  </a:lnTo>
                  <a:lnTo>
                    <a:pt x="838" y="585"/>
                  </a:lnTo>
                  <a:lnTo>
                    <a:pt x="848" y="575"/>
                  </a:lnTo>
                  <a:lnTo>
                    <a:pt x="858" y="575"/>
                  </a:lnTo>
                  <a:lnTo>
                    <a:pt x="887" y="575"/>
                  </a:lnTo>
                  <a:lnTo>
                    <a:pt x="897" y="585"/>
                  </a:lnTo>
                  <a:lnTo>
                    <a:pt x="907" y="575"/>
                  </a:lnTo>
                  <a:lnTo>
                    <a:pt x="916" y="556"/>
                  </a:lnTo>
                  <a:lnTo>
                    <a:pt x="916" y="536"/>
                  </a:lnTo>
                  <a:lnTo>
                    <a:pt x="907" y="517"/>
                  </a:lnTo>
                  <a:lnTo>
                    <a:pt x="916" y="507"/>
                  </a:lnTo>
                  <a:lnTo>
                    <a:pt x="936" y="517"/>
                  </a:lnTo>
                  <a:lnTo>
                    <a:pt x="946" y="517"/>
                  </a:lnTo>
                  <a:lnTo>
                    <a:pt x="946" y="507"/>
                  </a:lnTo>
                  <a:lnTo>
                    <a:pt x="926" y="497"/>
                  </a:lnTo>
                  <a:lnTo>
                    <a:pt x="946" y="497"/>
                  </a:lnTo>
                  <a:lnTo>
                    <a:pt x="926" y="478"/>
                  </a:lnTo>
                  <a:lnTo>
                    <a:pt x="926" y="458"/>
                  </a:lnTo>
                  <a:lnTo>
                    <a:pt x="916" y="458"/>
                  </a:lnTo>
                  <a:lnTo>
                    <a:pt x="916" y="439"/>
                  </a:lnTo>
                  <a:lnTo>
                    <a:pt x="877" y="410"/>
                  </a:lnTo>
                  <a:lnTo>
                    <a:pt x="848" y="380"/>
                  </a:lnTo>
                  <a:lnTo>
                    <a:pt x="848" y="371"/>
                  </a:lnTo>
                  <a:lnTo>
                    <a:pt x="829" y="361"/>
                  </a:lnTo>
                  <a:lnTo>
                    <a:pt x="819" y="361"/>
                  </a:lnTo>
                  <a:lnTo>
                    <a:pt x="809" y="371"/>
                  </a:lnTo>
                  <a:lnTo>
                    <a:pt x="799" y="361"/>
                  </a:lnTo>
                  <a:lnTo>
                    <a:pt x="780" y="371"/>
                  </a:lnTo>
                  <a:lnTo>
                    <a:pt x="780" y="390"/>
                  </a:lnTo>
                  <a:lnTo>
                    <a:pt x="780" y="400"/>
                  </a:lnTo>
                  <a:lnTo>
                    <a:pt x="770" y="410"/>
                  </a:lnTo>
                  <a:lnTo>
                    <a:pt x="770" y="419"/>
                  </a:lnTo>
                  <a:lnTo>
                    <a:pt x="780" y="429"/>
                  </a:lnTo>
                  <a:lnTo>
                    <a:pt x="770" y="439"/>
                  </a:lnTo>
                  <a:lnTo>
                    <a:pt x="770" y="449"/>
                  </a:lnTo>
                  <a:lnTo>
                    <a:pt x="731" y="458"/>
                  </a:lnTo>
                  <a:lnTo>
                    <a:pt x="721" y="439"/>
                  </a:lnTo>
                  <a:lnTo>
                    <a:pt x="712" y="439"/>
                  </a:lnTo>
                  <a:lnTo>
                    <a:pt x="702" y="449"/>
                  </a:lnTo>
                  <a:lnTo>
                    <a:pt x="702" y="458"/>
                  </a:lnTo>
                  <a:lnTo>
                    <a:pt x="702" y="468"/>
                  </a:lnTo>
                  <a:lnTo>
                    <a:pt x="682" y="468"/>
                  </a:lnTo>
                  <a:lnTo>
                    <a:pt x="673" y="458"/>
                  </a:lnTo>
                  <a:lnTo>
                    <a:pt x="673" y="449"/>
                  </a:lnTo>
                  <a:lnTo>
                    <a:pt x="673" y="429"/>
                  </a:lnTo>
                  <a:lnTo>
                    <a:pt x="692" y="429"/>
                  </a:lnTo>
                  <a:lnTo>
                    <a:pt x="702" y="429"/>
                  </a:lnTo>
                  <a:lnTo>
                    <a:pt x="702" y="419"/>
                  </a:lnTo>
                  <a:lnTo>
                    <a:pt x="702" y="400"/>
                  </a:lnTo>
                  <a:lnTo>
                    <a:pt x="712" y="400"/>
                  </a:lnTo>
                  <a:lnTo>
                    <a:pt x="702" y="390"/>
                  </a:lnTo>
                  <a:lnTo>
                    <a:pt x="682" y="380"/>
                  </a:lnTo>
                  <a:lnTo>
                    <a:pt x="673" y="380"/>
                  </a:lnTo>
                  <a:lnTo>
                    <a:pt x="673" y="400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53" y="390"/>
                  </a:lnTo>
                  <a:lnTo>
                    <a:pt x="643" y="400"/>
                  </a:lnTo>
                  <a:lnTo>
                    <a:pt x="643" y="390"/>
                  </a:lnTo>
                  <a:lnTo>
                    <a:pt x="634" y="390"/>
                  </a:lnTo>
                  <a:lnTo>
                    <a:pt x="624" y="400"/>
                  </a:lnTo>
                  <a:lnTo>
                    <a:pt x="614" y="390"/>
                  </a:lnTo>
                  <a:lnTo>
                    <a:pt x="604" y="380"/>
                  </a:lnTo>
                  <a:lnTo>
                    <a:pt x="595" y="371"/>
                  </a:lnTo>
                  <a:lnTo>
                    <a:pt x="585" y="361"/>
                  </a:lnTo>
                  <a:lnTo>
                    <a:pt x="575" y="351"/>
                  </a:lnTo>
                  <a:lnTo>
                    <a:pt x="565" y="351"/>
                  </a:lnTo>
                  <a:lnTo>
                    <a:pt x="546" y="341"/>
                  </a:lnTo>
                  <a:lnTo>
                    <a:pt x="526" y="341"/>
                  </a:lnTo>
                  <a:lnTo>
                    <a:pt x="517" y="351"/>
                  </a:lnTo>
                  <a:lnTo>
                    <a:pt x="507" y="361"/>
                  </a:lnTo>
                  <a:lnTo>
                    <a:pt x="497" y="361"/>
                  </a:lnTo>
                  <a:lnTo>
                    <a:pt x="497" y="341"/>
                  </a:lnTo>
                  <a:lnTo>
                    <a:pt x="478" y="341"/>
                  </a:lnTo>
                  <a:lnTo>
                    <a:pt x="468" y="332"/>
                  </a:lnTo>
                  <a:lnTo>
                    <a:pt x="458" y="312"/>
                  </a:lnTo>
                  <a:lnTo>
                    <a:pt x="468" y="312"/>
                  </a:lnTo>
                  <a:lnTo>
                    <a:pt x="478" y="312"/>
                  </a:lnTo>
                  <a:lnTo>
                    <a:pt x="487" y="322"/>
                  </a:lnTo>
                  <a:lnTo>
                    <a:pt x="497" y="312"/>
                  </a:lnTo>
                  <a:lnTo>
                    <a:pt x="497" y="302"/>
                  </a:lnTo>
                  <a:lnTo>
                    <a:pt x="517" y="283"/>
                  </a:lnTo>
                  <a:lnTo>
                    <a:pt x="517" y="273"/>
                  </a:lnTo>
                  <a:lnTo>
                    <a:pt x="536" y="283"/>
                  </a:lnTo>
                  <a:lnTo>
                    <a:pt x="546" y="283"/>
                  </a:lnTo>
                  <a:lnTo>
                    <a:pt x="526" y="263"/>
                  </a:lnTo>
                  <a:lnTo>
                    <a:pt x="507" y="253"/>
                  </a:lnTo>
                  <a:lnTo>
                    <a:pt x="458" y="253"/>
                  </a:lnTo>
                  <a:lnTo>
                    <a:pt x="448" y="253"/>
                  </a:lnTo>
                  <a:lnTo>
                    <a:pt x="458" y="263"/>
                  </a:lnTo>
                  <a:lnTo>
                    <a:pt x="448" y="263"/>
                  </a:lnTo>
                  <a:lnTo>
                    <a:pt x="458" y="283"/>
                  </a:lnTo>
                  <a:lnTo>
                    <a:pt x="448" y="283"/>
                  </a:lnTo>
                  <a:lnTo>
                    <a:pt x="438" y="283"/>
                  </a:lnTo>
                  <a:lnTo>
                    <a:pt x="419" y="283"/>
                  </a:lnTo>
                  <a:lnTo>
                    <a:pt x="438" y="273"/>
                  </a:lnTo>
                  <a:lnTo>
                    <a:pt x="438" y="253"/>
                  </a:lnTo>
                  <a:lnTo>
                    <a:pt x="419" y="253"/>
                  </a:lnTo>
                  <a:lnTo>
                    <a:pt x="409" y="244"/>
                  </a:lnTo>
                  <a:lnTo>
                    <a:pt x="390" y="244"/>
                  </a:lnTo>
                  <a:lnTo>
                    <a:pt x="380" y="234"/>
                  </a:lnTo>
                  <a:lnTo>
                    <a:pt x="360" y="234"/>
                  </a:lnTo>
                  <a:lnTo>
                    <a:pt x="321" y="234"/>
                  </a:lnTo>
                  <a:lnTo>
                    <a:pt x="292" y="234"/>
                  </a:lnTo>
                  <a:lnTo>
                    <a:pt x="273" y="224"/>
                  </a:lnTo>
                  <a:lnTo>
                    <a:pt x="273" y="214"/>
                  </a:lnTo>
                  <a:lnTo>
                    <a:pt x="263" y="224"/>
                  </a:lnTo>
                  <a:lnTo>
                    <a:pt x="263" y="234"/>
                  </a:lnTo>
                  <a:lnTo>
                    <a:pt x="243" y="224"/>
                  </a:lnTo>
                  <a:lnTo>
                    <a:pt x="234" y="214"/>
                  </a:lnTo>
                  <a:lnTo>
                    <a:pt x="214" y="214"/>
                  </a:lnTo>
                  <a:lnTo>
                    <a:pt x="214" y="224"/>
                  </a:lnTo>
                  <a:lnTo>
                    <a:pt x="175" y="234"/>
                  </a:lnTo>
                  <a:lnTo>
                    <a:pt x="175" y="253"/>
                  </a:lnTo>
                  <a:lnTo>
                    <a:pt x="156" y="253"/>
                  </a:lnTo>
                  <a:lnTo>
                    <a:pt x="146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87" y="205"/>
                  </a:lnTo>
                  <a:lnTo>
                    <a:pt x="97" y="195"/>
                  </a:lnTo>
                  <a:lnTo>
                    <a:pt x="97" y="185"/>
                  </a:lnTo>
                  <a:lnTo>
                    <a:pt x="107" y="175"/>
                  </a:lnTo>
                  <a:lnTo>
                    <a:pt x="107" y="156"/>
                  </a:lnTo>
                  <a:lnTo>
                    <a:pt x="107" y="146"/>
                  </a:lnTo>
                  <a:lnTo>
                    <a:pt x="117" y="136"/>
                  </a:lnTo>
                  <a:lnTo>
                    <a:pt x="136" y="136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75" y="136"/>
                  </a:lnTo>
                  <a:lnTo>
                    <a:pt x="185" y="146"/>
                  </a:lnTo>
                  <a:lnTo>
                    <a:pt x="195" y="166"/>
                  </a:lnTo>
                  <a:lnTo>
                    <a:pt x="204" y="146"/>
                  </a:lnTo>
                  <a:lnTo>
                    <a:pt x="21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24" y="88"/>
                  </a:lnTo>
                  <a:lnTo>
                    <a:pt x="224" y="7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195" y="29"/>
                  </a:lnTo>
                  <a:lnTo>
                    <a:pt x="185" y="19"/>
                  </a:lnTo>
                  <a:lnTo>
                    <a:pt x="185" y="0"/>
                  </a:lnTo>
                  <a:lnTo>
                    <a:pt x="175" y="0"/>
                  </a:lnTo>
                  <a:lnTo>
                    <a:pt x="165" y="10"/>
                  </a:lnTo>
                  <a:lnTo>
                    <a:pt x="165" y="29"/>
                  </a:lnTo>
                  <a:lnTo>
                    <a:pt x="165" y="49"/>
                  </a:lnTo>
                  <a:lnTo>
                    <a:pt x="156" y="58"/>
                  </a:lnTo>
                  <a:lnTo>
                    <a:pt x="136" y="58"/>
                  </a:lnTo>
                  <a:lnTo>
                    <a:pt x="126" y="68"/>
                  </a:lnTo>
                  <a:lnTo>
                    <a:pt x="136" y="78"/>
                  </a:lnTo>
                  <a:lnTo>
                    <a:pt x="117" y="78"/>
                  </a:lnTo>
                  <a:lnTo>
                    <a:pt x="107" y="88"/>
                  </a:lnTo>
                  <a:lnTo>
                    <a:pt x="97" y="88"/>
                  </a:lnTo>
                  <a:lnTo>
                    <a:pt x="78" y="97"/>
                  </a:lnTo>
                  <a:lnTo>
                    <a:pt x="68" y="107"/>
                  </a:lnTo>
                  <a:lnTo>
                    <a:pt x="58" y="107"/>
                  </a:lnTo>
                  <a:lnTo>
                    <a:pt x="58" y="117"/>
                  </a:lnTo>
                  <a:lnTo>
                    <a:pt x="68" y="127"/>
                  </a:lnTo>
                  <a:lnTo>
                    <a:pt x="58" y="136"/>
                  </a:lnTo>
                  <a:lnTo>
                    <a:pt x="58" y="156"/>
                  </a:lnTo>
                  <a:lnTo>
                    <a:pt x="48" y="166"/>
                  </a:lnTo>
                  <a:lnTo>
                    <a:pt x="39" y="166"/>
                  </a:lnTo>
                  <a:lnTo>
                    <a:pt x="29" y="175"/>
                  </a:lnTo>
                  <a:lnTo>
                    <a:pt x="19" y="185"/>
                  </a:lnTo>
                  <a:lnTo>
                    <a:pt x="0" y="185"/>
                  </a:lnTo>
                  <a:lnTo>
                    <a:pt x="9" y="214"/>
                  </a:lnTo>
                  <a:lnTo>
                    <a:pt x="19" y="253"/>
                  </a:lnTo>
                  <a:lnTo>
                    <a:pt x="29" y="273"/>
                  </a:lnTo>
                  <a:lnTo>
                    <a:pt x="29" y="302"/>
                  </a:lnTo>
                  <a:lnTo>
                    <a:pt x="39" y="322"/>
                  </a:lnTo>
                  <a:lnTo>
                    <a:pt x="48" y="322"/>
                  </a:lnTo>
                  <a:lnTo>
                    <a:pt x="68" y="341"/>
                  </a:lnTo>
                  <a:lnTo>
                    <a:pt x="97" y="332"/>
                  </a:lnTo>
                  <a:lnTo>
                    <a:pt x="117" y="351"/>
                  </a:lnTo>
                  <a:lnTo>
                    <a:pt x="136" y="361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5" name="Freeform 76"/>
            <p:cNvSpPr>
              <a:spLocks/>
            </p:cNvSpPr>
            <p:nvPr/>
          </p:nvSpPr>
          <p:spPr bwMode="auto">
            <a:xfrm>
              <a:off x="772" y="2870"/>
              <a:ext cx="177" cy="134"/>
            </a:xfrm>
            <a:custGeom>
              <a:avLst/>
              <a:gdLst/>
              <a:ahLst/>
              <a:cxnLst>
                <a:cxn ang="0">
                  <a:pos x="68" y="137"/>
                </a:cxn>
                <a:cxn ang="0">
                  <a:pos x="97" y="127"/>
                </a:cxn>
                <a:cxn ang="0">
                  <a:pos x="107" y="127"/>
                </a:cxn>
                <a:cxn ang="0">
                  <a:pos x="146" y="127"/>
                </a:cxn>
                <a:cxn ang="0">
                  <a:pos x="146" y="108"/>
                </a:cxn>
                <a:cxn ang="0">
                  <a:pos x="146" y="98"/>
                </a:cxn>
                <a:cxn ang="0">
                  <a:pos x="136" y="88"/>
                </a:cxn>
                <a:cxn ang="0">
                  <a:pos x="136" y="79"/>
                </a:cxn>
                <a:cxn ang="0">
                  <a:pos x="136" y="79"/>
                </a:cxn>
                <a:cxn ang="0">
                  <a:pos x="156" y="79"/>
                </a:cxn>
                <a:cxn ang="0">
                  <a:pos x="175" y="79"/>
                </a:cxn>
                <a:cxn ang="0">
                  <a:pos x="175" y="59"/>
                </a:cxn>
                <a:cxn ang="0">
                  <a:pos x="165" y="49"/>
                </a:cxn>
                <a:cxn ang="0">
                  <a:pos x="156" y="49"/>
                </a:cxn>
                <a:cxn ang="0">
                  <a:pos x="146" y="30"/>
                </a:cxn>
                <a:cxn ang="0">
                  <a:pos x="146" y="10"/>
                </a:cxn>
                <a:cxn ang="0">
                  <a:pos x="126" y="10"/>
                </a:cxn>
                <a:cxn ang="0">
                  <a:pos x="126" y="30"/>
                </a:cxn>
                <a:cxn ang="0">
                  <a:pos x="97" y="30"/>
                </a:cxn>
                <a:cxn ang="0">
                  <a:pos x="87" y="40"/>
                </a:cxn>
                <a:cxn ang="0">
                  <a:pos x="78" y="30"/>
                </a:cxn>
                <a:cxn ang="0">
                  <a:pos x="87" y="10"/>
                </a:cxn>
                <a:cxn ang="0">
                  <a:pos x="68" y="0"/>
                </a:cxn>
                <a:cxn ang="0">
                  <a:pos x="48" y="0"/>
                </a:cxn>
                <a:cxn ang="0">
                  <a:pos x="29" y="0"/>
                </a:cxn>
                <a:cxn ang="0">
                  <a:pos x="0" y="20"/>
                </a:cxn>
                <a:cxn ang="0">
                  <a:pos x="9" y="40"/>
                </a:cxn>
                <a:cxn ang="0">
                  <a:pos x="19" y="59"/>
                </a:cxn>
                <a:cxn ang="0">
                  <a:pos x="29" y="79"/>
                </a:cxn>
                <a:cxn ang="0">
                  <a:pos x="29" y="98"/>
                </a:cxn>
                <a:cxn ang="0">
                  <a:pos x="39" y="108"/>
                </a:cxn>
                <a:cxn ang="0">
                  <a:pos x="48" y="108"/>
                </a:cxn>
                <a:cxn ang="0">
                  <a:pos x="58" y="118"/>
                </a:cxn>
                <a:cxn ang="0">
                  <a:pos x="68" y="137"/>
                </a:cxn>
              </a:cxnLst>
              <a:rect l="0" t="0" r="r" b="b"/>
              <a:pathLst>
                <a:path w="175" h="137">
                  <a:moveTo>
                    <a:pt x="68" y="137"/>
                  </a:moveTo>
                  <a:lnTo>
                    <a:pt x="97" y="127"/>
                  </a:lnTo>
                  <a:lnTo>
                    <a:pt x="107" y="127"/>
                  </a:lnTo>
                  <a:lnTo>
                    <a:pt x="146" y="127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36" y="88"/>
                  </a:lnTo>
                  <a:lnTo>
                    <a:pt x="136" y="79"/>
                  </a:lnTo>
                  <a:lnTo>
                    <a:pt x="156" y="79"/>
                  </a:lnTo>
                  <a:lnTo>
                    <a:pt x="175" y="79"/>
                  </a:lnTo>
                  <a:lnTo>
                    <a:pt x="175" y="59"/>
                  </a:lnTo>
                  <a:lnTo>
                    <a:pt x="165" y="49"/>
                  </a:lnTo>
                  <a:lnTo>
                    <a:pt x="156" y="49"/>
                  </a:lnTo>
                  <a:lnTo>
                    <a:pt x="146" y="30"/>
                  </a:lnTo>
                  <a:lnTo>
                    <a:pt x="146" y="10"/>
                  </a:lnTo>
                  <a:lnTo>
                    <a:pt x="126" y="10"/>
                  </a:lnTo>
                  <a:lnTo>
                    <a:pt x="126" y="30"/>
                  </a:lnTo>
                  <a:lnTo>
                    <a:pt x="97" y="30"/>
                  </a:lnTo>
                  <a:lnTo>
                    <a:pt x="87" y="40"/>
                  </a:lnTo>
                  <a:lnTo>
                    <a:pt x="78" y="3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48" y="0"/>
                  </a:lnTo>
                  <a:lnTo>
                    <a:pt x="29" y="0"/>
                  </a:lnTo>
                  <a:lnTo>
                    <a:pt x="0" y="20"/>
                  </a:lnTo>
                  <a:lnTo>
                    <a:pt x="9" y="40"/>
                  </a:lnTo>
                  <a:lnTo>
                    <a:pt x="19" y="59"/>
                  </a:lnTo>
                  <a:lnTo>
                    <a:pt x="29" y="79"/>
                  </a:lnTo>
                  <a:lnTo>
                    <a:pt x="29" y="98"/>
                  </a:lnTo>
                  <a:lnTo>
                    <a:pt x="39" y="108"/>
                  </a:lnTo>
                  <a:lnTo>
                    <a:pt x="48" y="108"/>
                  </a:lnTo>
                  <a:lnTo>
                    <a:pt x="58" y="118"/>
                  </a:lnTo>
                  <a:lnTo>
                    <a:pt x="68" y="13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6" name="Freeform 75"/>
            <p:cNvSpPr>
              <a:spLocks/>
            </p:cNvSpPr>
            <p:nvPr/>
          </p:nvSpPr>
          <p:spPr bwMode="auto">
            <a:xfrm>
              <a:off x="2741" y="2069"/>
              <a:ext cx="218" cy="322"/>
            </a:xfrm>
            <a:custGeom>
              <a:avLst/>
              <a:gdLst>
                <a:gd name="T0" fmla="*/ 58 w 215"/>
                <a:gd name="T1" fmla="*/ 157 h 322"/>
                <a:gd name="T2" fmla="*/ 68 w 215"/>
                <a:gd name="T3" fmla="*/ 157 h 322"/>
                <a:gd name="T4" fmla="*/ 88 w 215"/>
                <a:gd name="T5" fmla="*/ 137 h 322"/>
                <a:gd name="T6" fmla="*/ 97 w 215"/>
                <a:gd name="T7" fmla="*/ 127 h 322"/>
                <a:gd name="T8" fmla="*/ 97 w 215"/>
                <a:gd name="T9" fmla="*/ 108 h 322"/>
                <a:gd name="T10" fmla="*/ 78 w 215"/>
                <a:gd name="T11" fmla="*/ 108 h 322"/>
                <a:gd name="T12" fmla="*/ 58 w 215"/>
                <a:gd name="T13" fmla="*/ 78 h 322"/>
                <a:gd name="T14" fmla="*/ 49 w 215"/>
                <a:gd name="T15" fmla="*/ 69 h 322"/>
                <a:gd name="T16" fmla="*/ 68 w 215"/>
                <a:gd name="T17" fmla="*/ 59 h 322"/>
                <a:gd name="T18" fmla="*/ 68 w 215"/>
                <a:gd name="T19" fmla="*/ 20 h 322"/>
                <a:gd name="T20" fmla="*/ 78 w 215"/>
                <a:gd name="T21" fmla="*/ 0 h 322"/>
                <a:gd name="T22" fmla="*/ 97 w 215"/>
                <a:gd name="T23" fmla="*/ 10 h 322"/>
                <a:gd name="T24" fmla="*/ 107 w 215"/>
                <a:gd name="T25" fmla="*/ 10 h 322"/>
                <a:gd name="T26" fmla="*/ 117 w 215"/>
                <a:gd name="T27" fmla="*/ 20 h 322"/>
                <a:gd name="T28" fmla="*/ 136 w 215"/>
                <a:gd name="T29" fmla="*/ 10 h 322"/>
                <a:gd name="T30" fmla="*/ 166 w 215"/>
                <a:gd name="T31" fmla="*/ 30 h 322"/>
                <a:gd name="T32" fmla="*/ 156 w 215"/>
                <a:gd name="T33" fmla="*/ 49 h 322"/>
                <a:gd name="T34" fmla="*/ 166 w 215"/>
                <a:gd name="T35" fmla="*/ 69 h 322"/>
                <a:gd name="T36" fmla="*/ 185 w 215"/>
                <a:gd name="T37" fmla="*/ 59 h 322"/>
                <a:gd name="T38" fmla="*/ 215 w 215"/>
                <a:gd name="T39" fmla="*/ 108 h 322"/>
                <a:gd name="T40" fmla="*/ 215 w 215"/>
                <a:gd name="T41" fmla="*/ 127 h 322"/>
                <a:gd name="T42" fmla="*/ 205 w 215"/>
                <a:gd name="T43" fmla="*/ 127 h 322"/>
                <a:gd name="T44" fmla="*/ 195 w 215"/>
                <a:gd name="T45" fmla="*/ 137 h 322"/>
                <a:gd name="T46" fmla="*/ 185 w 215"/>
                <a:gd name="T47" fmla="*/ 147 h 322"/>
                <a:gd name="T48" fmla="*/ 195 w 215"/>
                <a:gd name="T49" fmla="*/ 157 h 322"/>
                <a:gd name="T50" fmla="*/ 185 w 215"/>
                <a:gd name="T51" fmla="*/ 187 h 322"/>
                <a:gd name="T52" fmla="*/ 185 w 215"/>
                <a:gd name="T53" fmla="*/ 197 h 322"/>
                <a:gd name="T54" fmla="*/ 185 w 215"/>
                <a:gd name="T55" fmla="*/ 207 h 322"/>
                <a:gd name="T56" fmla="*/ 176 w 215"/>
                <a:gd name="T57" fmla="*/ 216 h 322"/>
                <a:gd name="T58" fmla="*/ 166 w 215"/>
                <a:gd name="T59" fmla="*/ 207 h 322"/>
                <a:gd name="T60" fmla="*/ 166 w 215"/>
                <a:gd name="T61" fmla="*/ 216 h 322"/>
                <a:gd name="T62" fmla="*/ 156 w 215"/>
                <a:gd name="T63" fmla="*/ 226 h 322"/>
                <a:gd name="T64" fmla="*/ 156 w 215"/>
                <a:gd name="T65" fmla="*/ 236 h 322"/>
                <a:gd name="T66" fmla="*/ 146 w 215"/>
                <a:gd name="T67" fmla="*/ 246 h 322"/>
                <a:gd name="T68" fmla="*/ 136 w 215"/>
                <a:gd name="T69" fmla="*/ 246 h 322"/>
                <a:gd name="T70" fmla="*/ 136 w 215"/>
                <a:gd name="T71" fmla="*/ 255 h 322"/>
                <a:gd name="T72" fmla="*/ 136 w 215"/>
                <a:gd name="T73" fmla="*/ 265 h 322"/>
                <a:gd name="T74" fmla="*/ 127 w 215"/>
                <a:gd name="T75" fmla="*/ 275 h 322"/>
                <a:gd name="T76" fmla="*/ 127 w 215"/>
                <a:gd name="T77" fmla="*/ 285 h 322"/>
                <a:gd name="T78" fmla="*/ 146 w 215"/>
                <a:gd name="T79" fmla="*/ 304 h 322"/>
                <a:gd name="T80" fmla="*/ 146 w 215"/>
                <a:gd name="T81" fmla="*/ 314 h 322"/>
                <a:gd name="T82" fmla="*/ 146 w 215"/>
                <a:gd name="T83" fmla="*/ 324 h 322"/>
                <a:gd name="T84" fmla="*/ 136 w 215"/>
                <a:gd name="T85" fmla="*/ 333 h 322"/>
                <a:gd name="T86" fmla="*/ 127 w 215"/>
                <a:gd name="T87" fmla="*/ 324 h 322"/>
                <a:gd name="T88" fmla="*/ 107 w 215"/>
                <a:gd name="T89" fmla="*/ 324 h 322"/>
                <a:gd name="T90" fmla="*/ 78 w 215"/>
                <a:gd name="T91" fmla="*/ 324 h 322"/>
                <a:gd name="T92" fmla="*/ 58 w 215"/>
                <a:gd name="T93" fmla="*/ 294 h 322"/>
                <a:gd name="T94" fmla="*/ 49 w 215"/>
                <a:gd name="T95" fmla="*/ 304 h 322"/>
                <a:gd name="T96" fmla="*/ 49 w 215"/>
                <a:gd name="T97" fmla="*/ 314 h 322"/>
                <a:gd name="T98" fmla="*/ 19 w 215"/>
                <a:gd name="T99" fmla="*/ 314 h 322"/>
                <a:gd name="T100" fmla="*/ 10 w 215"/>
                <a:gd name="T101" fmla="*/ 304 h 322"/>
                <a:gd name="T102" fmla="*/ 0 w 215"/>
                <a:gd name="T103" fmla="*/ 275 h 322"/>
                <a:gd name="T104" fmla="*/ 0 w 215"/>
                <a:gd name="T105" fmla="*/ 255 h 322"/>
                <a:gd name="T106" fmla="*/ 10 w 215"/>
                <a:gd name="T107" fmla="*/ 236 h 322"/>
                <a:gd name="T108" fmla="*/ 19 w 215"/>
                <a:gd name="T109" fmla="*/ 226 h 322"/>
                <a:gd name="T110" fmla="*/ 10 w 215"/>
                <a:gd name="T111" fmla="*/ 216 h 322"/>
                <a:gd name="T112" fmla="*/ 10 w 215"/>
                <a:gd name="T113" fmla="*/ 207 h 322"/>
                <a:gd name="T114" fmla="*/ 19 w 215"/>
                <a:gd name="T115" fmla="*/ 197 h 322"/>
                <a:gd name="T116" fmla="*/ 58 w 215"/>
                <a:gd name="T117" fmla="*/ 157 h 3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5"/>
                <a:gd name="T178" fmla="*/ 0 h 322"/>
                <a:gd name="T179" fmla="*/ 215 w 215"/>
                <a:gd name="T180" fmla="*/ 322 h 3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5" h="322">
                  <a:moveTo>
                    <a:pt x="58" y="157"/>
                  </a:moveTo>
                  <a:lnTo>
                    <a:pt x="68" y="157"/>
                  </a:lnTo>
                  <a:lnTo>
                    <a:pt x="88" y="137"/>
                  </a:lnTo>
                  <a:lnTo>
                    <a:pt x="97" y="127"/>
                  </a:lnTo>
                  <a:lnTo>
                    <a:pt x="97" y="108"/>
                  </a:lnTo>
                  <a:lnTo>
                    <a:pt x="78" y="108"/>
                  </a:lnTo>
                  <a:lnTo>
                    <a:pt x="58" y="78"/>
                  </a:lnTo>
                  <a:lnTo>
                    <a:pt x="49" y="69"/>
                  </a:lnTo>
                  <a:lnTo>
                    <a:pt x="68" y="59"/>
                  </a:lnTo>
                  <a:lnTo>
                    <a:pt x="68" y="2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10"/>
                  </a:lnTo>
                  <a:lnTo>
                    <a:pt x="117" y="20"/>
                  </a:lnTo>
                  <a:lnTo>
                    <a:pt x="136" y="10"/>
                  </a:lnTo>
                  <a:lnTo>
                    <a:pt x="166" y="30"/>
                  </a:lnTo>
                  <a:lnTo>
                    <a:pt x="156" y="49"/>
                  </a:lnTo>
                  <a:lnTo>
                    <a:pt x="166" y="69"/>
                  </a:lnTo>
                  <a:lnTo>
                    <a:pt x="185" y="59"/>
                  </a:lnTo>
                  <a:lnTo>
                    <a:pt x="215" y="108"/>
                  </a:lnTo>
                  <a:lnTo>
                    <a:pt x="215" y="127"/>
                  </a:lnTo>
                  <a:lnTo>
                    <a:pt x="205" y="127"/>
                  </a:lnTo>
                  <a:lnTo>
                    <a:pt x="195" y="137"/>
                  </a:lnTo>
                  <a:lnTo>
                    <a:pt x="185" y="147"/>
                  </a:lnTo>
                  <a:lnTo>
                    <a:pt x="195" y="157"/>
                  </a:lnTo>
                  <a:lnTo>
                    <a:pt x="185" y="176"/>
                  </a:lnTo>
                  <a:lnTo>
                    <a:pt x="185" y="186"/>
                  </a:lnTo>
                  <a:lnTo>
                    <a:pt x="185" y="196"/>
                  </a:lnTo>
                  <a:lnTo>
                    <a:pt x="176" y="205"/>
                  </a:lnTo>
                  <a:lnTo>
                    <a:pt x="166" y="196"/>
                  </a:lnTo>
                  <a:lnTo>
                    <a:pt x="166" y="205"/>
                  </a:lnTo>
                  <a:lnTo>
                    <a:pt x="156" y="215"/>
                  </a:lnTo>
                  <a:lnTo>
                    <a:pt x="156" y="225"/>
                  </a:lnTo>
                  <a:lnTo>
                    <a:pt x="146" y="235"/>
                  </a:lnTo>
                  <a:lnTo>
                    <a:pt x="136" y="235"/>
                  </a:lnTo>
                  <a:lnTo>
                    <a:pt x="136" y="244"/>
                  </a:lnTo>
                  <a:lnTo>
                    <a:pt x="136" y="254"/>
                  </a:lnTo>
                  <a:lnTo>
                    <a:pt x="127" y="264"/>
                  </a:lnTo>
                  <a:lnTo>
                    <a:pt x="127" y="274"/>
                  </a:lnTo>
                  <a:lnTo>
                    <a:pt x="146" y="293"/>
                  </a:lnTo>
                  <a:lnTo>
                    <a:pt x="146" y="303"/>
                  </a:lnTo>
                  <a:lnTo>
                    <a:pt x="146" y="313"/>
                  </a:lnTo>
                  <a:lnTo>
                    <a:pt x="136" y="322"/>
                  </a:lnTo>
                  <a:lnTo>
                    <a:pt x="127" y="313"/>
                  </a:lnTo>
                  <a:lnTo>
                    <a:pt x="107" y="313"/>
                  </a:lnTo>
                  <a:lnTo>
                    <a:pt x="78" y="313"/>
                  </a:lnTo>
                  <a:lnTo>
                    <a:pt x="58" y="283"/>
                  </a:lnTo>
                  <a:lnTo>
                    <a:pt x="49" y="293"/>
                  </a:lnTo>
                  <a:lnTo>
                    <a:pt x="49" y="303"/>
                  </a:lnTo>
                  <a:lnTo>
                    <a:pt x="19" y="303"/>
                  </a:lnTo>
                  <a:lnTo>
                    <a:pt x="10" y="293"/>
                  </a:lnTo>
                  <a:lnTo>
                    <a:pt x="0" y="264"/>
                  </a:lnTo>
                  <a:lnTo>
                    <a:pt x="0" y="244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10" y="205"/>
                  </a:lnTo>
                  <a:lnTo>
                    <a:pt x="10" y="196"/>
                  </a:lnTo>
                  <a:lnTo>
                    <a:pt x="19" y="186"/>
                  </a:lnTo>
                  <a:lnTo>
                    <a:pt x="58" y="157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7" name="Freeform 74"/>
            <p:cNvSpPr>
              <a:spLocks/>
            </p:cNvSpPr>
            <p:nvPr/>
          </p:nvSpPr>
          <p:spPr bwMode="auto">
            <a:xfrm>
              <a:off x="4156" y="3845"/>
              <a:ext cx="428" cy="388"/>
            </a:xfrm>
            <a:custGeom>
              <a:avLst/>
              <a:gdLst>
                <a:gd name="T0" fmla="*/ 282 w 429"/>
                <a:gd name="T1" fmla="*/ 29 h 390"/>
                <a:gd name="T2" fmla="*/ 311 w 429"/>
                <a:gd name="T3" fmla="*/ 20 h 390"/>
                <a:gd name="T4" fmla="*/ 340 w 429"/>
                <a:gd name="T5" fmla="*/ 49 h 390"/>
                <a:gd name="T6" fmla="*/ 321 w 429"/>
                <a:gd name="T7" fmla="*/ 68 h 390"/>
                <a:gd name="T8" fmla="*/ 301 w 429"/>
                <a:gd name="T9" fmla="*/ 78 h 390"/>
                <a:gd name="T10" fmla="*/ 301 w 429"/>
                <a:gd name="T11" fmla="*/ 98 h 390"/>
                <a:gd name="T12" fmla="*/ 301 w 429"/>
                <a:gd name="T13" fmla="*/ 117 h 390"/>
                <a:gd name="T14" fmla="*/ 321 w 429"/>
                <a:gd name="T15" fmla="*/ 147 h 390"/>
                <a:gd name="T16" fmla="*/ 360 w 429"/>
                <a:gd name="T17" fmla="*/ 147 h 390"/>
                <a:gd name="T18" fmla="*/ 360 w 429"/>
                <a:gd name="T19" fmla="*/ 166 h 390"/>
                <a:gd name="T20" fmla="*/ 360 w 429"/>
                <a:gd name="T21" fmla="*/ 195 h 390"/>
                <a:gd name="T22" fmla="*/ 389 w 429"/>
                <a:gd name="T23" fmla="*/ 223 h 390"/>
                <a:gd name="T24" fmla="*/ 418 w 429"/>
                <a:gd name="T25" fmla="*/ 272 h 390"/>
                <a:gd name="T26" fmla="*/ 399 w 429"/>
                <a:gd name="T27" fmla="*/ 262 h 390"/>
                <a:gd name="T28" fmla="*/ 389 w 429"/>
                <a:gd name="T29" fmla="*/ 272 h 390"/>
                <a:gd name="T30" fmla="*/ 360 w 429"/>
                <a:gd name="T31" fmla="*/ 282 h 390"/>
                <a:gd name="T32" fmla="*/ 379 w 429"/>
                <a:gd name="T33" fmla="*/ 292 h 390"/>
                <a:gd name="T34" fmla="*/ 389 w 429"/>
                <a:gd name="T35" fmla="*/ 311 h 390"/>
                <a:gd name="T36" fmla="*/ 389 w 429"/>
                <a:gd name="T37" fmla="*/ 321 h 390"/>
                <a:gd name="T38" fmla="*/ 399 w 429"/>
                <a:gd name="T39" fmla="*/ 331 h 390"/>
                <a:gd name="T40" fmla="*/ 389 w 429"/>
                <a:gd name="T41" fmla="*/ 350 h 390"/>
                <a:gd name="T42" fmla="*/ 340 w 429"/>
                <a:gd name="T43" fmla="*/ 360 h 390"/>
                <a:gd name="T44" fmla="*/ 282 w 429"/>
                <a:gd name="T45" fmla="*/ 360 h 390"/>
                <a:gd name="T46" fmla="*/ 262 w 429"/>
                <a:gd name="T47" fmla="*/ 379 h 390"/>
                <a:gd name="T48" fmla="*/ 223 w 429"/>
                <a:gd name="T49" fmla="*/ 379 h 390"/>
                <a:gd name="T50" fmla="*/ 205 w 429"/>
                <a:gd name="T51" fmla="*/ 379 h 390"/>
                <a:gd name="T52" fmla="*/ 186 w 429"/>
                <a:gd name="T53" fmla="*/ 360 h 390"/>
                <a:gd name="T54" fmla="*/ 176 w 429"/>
                <a:gd name="T55" fmla="*/ 321 h 390"/>
                <a:gd name="T56" fmla="*/ 176 w 429"/>
                <a:gd name="T57" fmla="*/ 311 h 390"/>
                <a:gd name="T58" fmla="*/ 176 w 429"/>
                <a:gd name="T59" fmla="*/ 301 h 390"/>
                <a:gd name="T60" fmla="*/ 147 w 429"/>
                <a:gd name="T61" fmla="*/ 311 h 390"/>
                <a:gd name="T62" fmla="*/ 108 w 429"/>
                <a:gd name="T63" fmla="*/ 311 h 390"/>
                <a:gd name="T64" fmla="*/ 78 w 429"/>
                <a:gd name="T65" fmla="*/ 301 h 390"/>
                <a:gd name="T66" fmla="*/ 59 w 429"/>
                <a:gd name="T67" fmla="*/ 292 h 390"/>
                <a:gd name="T68" fmla="*/ 49 w 429"/>
                <a:gd name="T69" fmla="*/ 262 h 390"/>
                <a:gd name="T70" fmla="*/ 49 w 429"/>
                <a:gd name="T71" fmla="*/ 243 h 390"/>
                <a:gd name="T72" fmla="*/ 30 w 429"/>
                <a:gd name="T73" fmla="*/ 214 h 390"/>
                <a:gd name="T74" fmla="*/ 10 w 429"/>
                <a:gd name="T75" fmla="*/ 204 h 390"/>
                <a:gd name="T76" fmla="*/ 10 w 429"/>
                <a:gd name="T77" fmla="*/ 176 h 390"/>
                <a:gd name="T78" fmla="*/ 10 w 429"/>
                <a:gd name="T79" fmla="*/ 166 h 390"/>
                <a:gd name="T80" fmla="*/ 30 w 429"/>
                <a:gd name="T81" fmla="*/ 156 h 390"/>
                <a:gd name="T82" fmla="*/ 30 w 429"/>
                <a:gd name="T83" fmla="*/ 137 h 390"/>
                <a:gd name="T84" fmla="*/ 10 w 429"/>
                <a:gd name="T85" fmla="*/ 107 h 390"/>
                <a:gd name="T86" fmla="*/ 39 w 429"/>
                <a:gd name="T87" fmla="*/ 107 h 390"/>
                <a:gd name="T88" fmla="*/ 98 w 429"/>
                <a:gd name="T89" fmla="*/ 88 h 390"/>
                <a:gd name="T90" fmla="*/ 147 w 429"/>
                <a:gd name="T91" fmla="*/ 78 h 390"/>
                <a:gd name="T92" fmla="*/ 166 w 429"/>
                <a:gd name="T93" fmla="*/ 49 h 390"/>
                <a:gd name="T94" fmla="*/ 195 w 429"/>
                <a:gd name="T95" fmla="*/ 39 h 390"/>
                <a:gd name="T96" fmla="*/ 214 w 429"/>
                <a:gd name="T97" fmla="*/ 29 h 390"/>
                <a:gd name="T98" fmla="*/ 223 w 429"/>
                <a:gd name="T99" fmla="*/ 20 h 390"/>
                <a:gd name="T100" fmla="*/ 243 w 429"/>
                <a:gd name="T101" fmla="*/ 0 h 390"/>
                <a:gd name="T102" fmla="*/ 262 w 429"/>
                <a:gd name="T103" fmla="*/ 10 h 3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9"/>
                <a:gd name="T157" fmla="*/ 0 h 390"/>
                <a:gd name="T158" fmla="*/ 429 w 429"/>
                <a:gd name="T159" fmla="*/ 390 h 3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9" h="390">
                  <a:moveTo>
                    <a:pt x="273" y="10"/>
                  </a:moveTo>
                  <a:lnTo>
                    <a:pt x="293" y="29"/>
                  </a:lnTo>
                  <a:lnTo>
                    <a:pt x="312" y="20"/>
                  </a:lnTo>
                  <a:lnTo>
                    <a:pt x="322" y="20"/>
                  </a:lnTo>
                  <a:lnTo>
                    <a:pt x="342" y="39"/>
                  </a:lnTo>
                  <a:lnTo>
                    <a:pt x="351" y="49"/>
                  </a:lnTo>
                  <a:lnTo>
                    <a:pt x="342" y="68"/>
                  </a:lnTo>
                  <a:lnTo>
                    <a:pt x="332" y="68"/>
                  </a:lnTo>
                  <a:lnTo>
                    <a:pt x="322" y="68"/>
                  </a:lnTo>
                  <a:lnTo>
                    <a:pt x="312" y="78"/>
                  </a:lnTo>
                  <a:lnTo>
                    <a:pt x="303" y="88"/>
                  </a:lnTo>
                  <a:lnTo>
                    <a:pt x="312" y="98"/>
                  </a:lnTo>
                  <a:lnTo>
                    <a:pt x="322" y="107"/>
                  </a:lnTo>
                  <a:lnTo>
                    <a:pt x="312" y="117"/>
                  </a:lnTo>
                  <a:lnTo>
                    <a:pt x="312" y="127"/>
                  </a:lnTo>
                  <a:lnTo>
                    <a:pt x="332" y="147"/>
                  </a:lnTo>
                  <a:lnTo>
                    <a:pt x="351" y="137"/>
                  </a:lnTo>
                  <a:lnTo>
                    <a:pt x="371" y="147"/>
                  </a:lnTo>
                  <a:lnTo>
                    <a:pt x="371" y="156"/>
                  </a:lnTo>
                  <a:lnTo>
                    <a:pt x="371" y="166"/>
                  </a:lnTo>
                  <a:lnTo>
                    <a:pt x="361" y="186"/>
                  </a:lnTo>
                  <a:lnTo>
                    <a:pt x="371" y="205"/>
                  </a:lnTo>
                  <a:lnTo>
                    <a:pt x="381" y="215"/>
                  </a:lnTo>
                  <a:lnTo>
                    <a:pt x="400" y="234"/>
                  </a:lnTo>
                  <a:lnTo>
                    <a:pt x="420" y="264"/>
                  </a:lnTo>
                  <a:lnTo>
                    <a:pt x="429" y="283"/>
                  </a:lnTo>
                  <a:lnTo>
                    <a:pt x="420" y="283"/>
                  </a:lnTo>
                  <a:lnTo>
                    <a:pt x="410" y="273"/>
                  </a:lnTo>
                  <a:lnTo>
                    <a:pt x="400" y="273"/>
                  </a:lnTo>
                  <a:lnTo>
                    <a:pt x="400" y="283"/>
                  </a:lnTo>
                  <a:lnTo>
                    <a:pt x="390" y="283"/>
                  </a:lnTo>
                  <a:lnTo>
                    <a:pt x="371" y="293"/>
                  </a:lnTo>
                  <a:lnTo>
                    <a:pt x="371" y="303"/>
                  </a:lnTo>
                  <a:lnTo>
                    <a:pt x="390" y="303"/>
                  </a:lnTo>
                  <a:lnTo>
                    <a:pt x="400" y="312"/>
                  </a:lnTo>
                  <a:lnTo>
                    <a:pt x="400" y="322"/>
                  </a:lnTo>
                  <a:lnTo>
                    <a:pt x="400" y="332"/>
                  </a:lnTo>
                  <a:lnTo>
                    <a:pt x="410" y="342"/>
                  </a:lnTo>
                  <a:lnTo>
                    <a:pt x="410" y="351"/>
                  </a:lnTo>
                  <a:lnTo>
                    <a:pt x="400" y="361"/>
                  </a:lnTo>
                  <a:lnTo>
                    <a:pt x="381" y="361"/>
                  </a:lnTo>
                  <a:lnTo>
                    <a:pt x="351" y="371"/>
                  </a:lnTo>
                  <a:lnTo>
                    <a:pt x="312" y="371"/>
                  </a:lnTo>
                  <a:lnTo>
                    <a:pt x="293" y="371"/>
                  </a:lnTo>
                  <a:lnTo>
                    <a:pt x="283" y="371"/>
                  </a:lnTo>
                  <a:lnTo>
                    <a:pt x="273" y="390"/>
                  </a:lnTo>
                  <a:lnTo>
                    <a:pt x="254" y="390"/>
                  </a:lnTo>
                  <a:lnTo>
                    <a:pt x="234" y="390"/>
                  </a:lnTo>
                  <a:lnTo>
                    <a:pt x="205" y="390"/>
                  </a:lnTo>
                  <a:lnTo>
                    <a:pt x="195" y="371"/>
                  </a:lnTo>
                  <a:lnTo>
                    <a:pt x="186" y="371"/>
                  </a:lnTo>
                  <a:lnTo>
                    <a:pt x="186" y="351"/>
                  </a:lnTo>
                  <a:lnTo>
                    <a:pt x="176" y="332"/>
                  </a:lnTo>
                  <a:lnTo>
                    <a:pt x="166" y="332"/>
                  </a:lnTo>
                  <a:lnTo>
                    <a:pt x="176" y="322"/>
                  </a:lnTo>
                  <a:lnTo>
                    <a:pt x="186" y="312"/>
                  </a:lnTo>
                  <a:lnTo>
                    <a:pt x="176" y="312"/>
                  </a:lnTo>
                  <a:lnTo>
                    <a:pt x="156" y="322"/>
                  </a:lnTo>
                  <a:lnTo>
                    <a:pt x="147" y="322"/>
                  </a:lnTo>
                  <a:lnTo>
                    <a:pt x="127" y="332"/>
                  </a:lnTo>
                  <a:lnTo>
                    <a:pt x="108" y="322"/>
                  </a:lnTo>
                  <a:lnTo>
                    <a:pt x="98" y="312"/>
                  </a:lnTo>
                  <a:lnTo>
                    <a:pt x="78" y="312"/>
                  </a:lnTo>
                  <a:lnTo>
                    <a:pt x="69" y="312"/>
                  </a:lnTo>
                  <a:lnTo>
                    <a:pt x="59" y="303"/>
                  </a:lnTo>
                  <a:lnTo>
                    <a:pt x="59" y="283"/>
                  </a:lnTo>
                  <a:lnTo>
                    <a:pt x="49" y="273"/>
                  </a:lnTo>
                  <a:lnTo>
                    <a:pt x="49" y="264"/>
                  </a:lnTo>
                  <a:lnTo>
                    <a:pt x="49" y="254"/>
                  </a:lnTo>
                  <a:lnTo>
                    <a:pt x="39" y="244"/>
                  </a:lnTo>
                  <a:lnTo>
                    <a:pt x="30" y="225"/>
                  </a:lnTo>
                  <a:lnTo>
                    <a:pt x="10" y="225"/>
                  </a:lnTo>
                  <a:lnTo>
                    <a:pt x="10" y="215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166"/>
                  </a:lnTo>
                  <a:lnTo>
                    <a:pt x="10" y="166"/>
                  </a:lnTo>
                  <a:lnTo>
                    <a:pt x="20" y="156"/>
                  </a:lnTo>
                  <a:lnTo>
                    <a:pt x="30" y="156"/>
                  </a:lnTo>
                  <a:lnTo>
                    <a:pt x="30" y="137"/>
                  </a:lnTo>
                  <a:lnTo>
                    <a:pt x="10" y="127"/>
                  </a:lnTo>
                  <a:lnTo>
                    <a:pt x="10" y="107"/>
                  </a:lnTo>
                  <a:lnTo>
                    <a:pt x="39" y="107"/>
                  </a:lnTo>
                  <a:lnTo>
                    <a:pt x="69" y="98"/>
                  </a:lnTo>
                  <a:lnTo>
                    <a:pt x="98" y="88"/>
                  </a:lnTo>
                  <a:lnTo>
                    <a:pt x="117" y="78"/>
                  </a:lnTo>
                  <a:lnTo>
                    <a:pt x="147" y="78"/>
                  </a:lnTo>
                  <a:lnTo>
                    <a:pt x="166" y="59"/>
                  </a:lnTo>
                  <a:lnTo>
                    <a:pt x="166" y="49"/>
                  </a:lnTo>
                  <a:lnTo>
                    <a:pt x="176" y="39"/>
                  </a:lnTo>
                  <a:lnTo>
                    <a:pt x="195" y="39"/>
                  </a:lnTo>
                  <a:lnTo>
                    <a:pt x="205" y="39"/>
                  </a:lnTo>
                  <a:lnTo>
                    <a:pt x="215" y="29"/>
                  </a:lnTo>
                  <a:lnTo>
                    <a:pt x="234" y="29"/>
                  </a:lnTo>
                  <a:lnTo>
                    <a:pt x="234" y="20"/>
                  </a:lnTo>
                  <a:lnTo>
                    <a:pt x="234" y="0"/>
                  </a:lnTo>
                  <a:lnTo>
                    <a:pt x="254" y="0"/>
                  </a:lnTo>
                  <a:lnTo>
                    <a:pt x="273" y="10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8" name="Freeform 73"/>
            <p:cNvSpPr>
              <a:spLocks/>
            </p:cNvSpPr>
            <p:nvPr/>
          </p:nvSpPr>
          <p:spPr bwMode="auto">
            <a:xfrm>
              <a:off x="3239" y="1944"/>
              <a:ext cx="1318" cy="1025"/>
            </a:xfrm>
            <a:custGeom>
              <a:avLst/>
              <a:gdLst>
                <a:gd name="T0" fmla="*/ 673 w 1317"/>
                <a:gd name="T1" fmla="*/ 996 h 1024"/>
                <a:gd name="T2" fmla="*/ 732 w 1317"/>
                <a:gd name="T3" fmla="*/ 957 h 1024"/>
                <a:gd name="T4" fmla="*/ 771 w 1317"/>
                <a:gd name="T5" fmla="*/ 918 h 1024"/>
                <a:gd name="T6" fmla="*/ 810 w 1317"/>
                <a:gd name="T7" fmla="*/ 869 h 1024"/>
                <a:gd name="T8" fmla="*/ 849 w 1317"/>
                <a:gd name="T9" fmla="*/ 850 h 1024"/>
                <a:gd name="T10" fmla="*/ 888 w 1317"/>
                <a:gd name="T11" fmla="*/ 869 h 1024"/>
                <a:gd name="T12" fmla="*/ 976 w 1317"/>
                <a:gd name="T13" fmla="*/ 918 h 1024"/>
                <a:gd name="T14" fmla="*/ 1025 w 1317"/>
                <a:gd name="T15" fmla="*/ 908 h 1024"/>
                <a:gd name="T16" fmla="*/ 1064 w 1317"/>
                <a:gd name="T17" fmla="*/ 947 h 1024"/>
                <a:gd name="T18" fmla="*/ 1103 w 1317"/>
                <a:gd name="T19" fmla="*/ 947 h 1024"/>
                <a:gd name="T20" fmla="*/ 1181 w 1317"/>
                <a:gd name="T21" fmla="*/ 937 h 1024"/>
                <a:gd name="T22" fmla="*/ 1249 w 1317"/>
                <a:gd name="T23" fmla="*/ 947 h 1024"/>
                <a:gd name="T24" fmla="*/ 1317 w 1317"/>
                <a:gd name="T25" fmla="*/ 889 h 1024"/>
                <a:gd name="T26" fmla="*/ 1259 w 1317"/>
                <a:gd name="T27" fmla="*/ 840 h 1024"/>
                <a:gd name="T28" fmla="*/ 1249 w 1317"/>
                <a:gd name="T29" fmla="*/ 762 h 1024"/>
                <a:gd name="T30" fmla="*/ 1190 w 1317"/>
                <a:gd name="T31" fmla="*/ 733 h 1024"/>
                <a:gd name="T32" fmla="*/ 1142 w 1317"/>
                <a:gd name="T33" fmla="*/ 723 h 1024"/>
                <a:gd name="T34" fmla="*/ 1103 w 1317"/>
                <a:gd name="T35" fmla="*/ 664 h 1024"/>
                <a:gd name="T36" fmla="*/ 1054 w 1317"/>
                <a:gd name="T37" fmla="*/ 684 h 1024"/>
                <a:gd name="T38" fmla="*/ 1005 w 1317"/>
                <a:gd name="T39" fmla="*/ 694 h 1024"/>
                <a:gd name="T40" fmla="*/ 927 w 1317"/>
                <a:gd name="T41" fmla="*/ 674 h 1024"/>
                <a:gd name="T42" fmla="*/ 898 w 1317"/>
                <a:gd name="T43" fmla="*/ 606 h 1024"/>
                <a:gd name="T44" fmla="*/ 820 w 1317"/>
                <a:gd name="T45" fmla="*/ 567 h 1024"/>
                <a:gd name="T46" fmla="*/ 742 w 1317"/>
                <a:gd name="T47" fmla="*/ 528 h 1024"/>
                <a:gd name="T48" fmla="*/ 703 w 1317"/>
                <a:gd name="T49" fmla="*/ 487 h 1024"/>
                <a:gd name="T50" fmla="*/ 654 w 1317"/>
                <a:gd name="T51" fmla="*/ 468 h 1024"/>
                <a:gd name="T52" fmla="*/ 654 w 1317"/>
                <a:gd name="T53" fmla="*/ 429 h 1024"/>
                <a:gd name="T54" fmla="*/ 664 w 1317"/>
                <a:gd name="T55" fmla="*/ 351 h 1024"/>
                <a:gd name="T56" fmla="*/ 634 w 1317"/>
                <a:gd name="T57" fmla="*/ 331 h 1024"/>
                <a:gd name="T58" fmla="*/ 586 w 1317"/>
                <a:gd name="T59" fmla="*/ 292 h 1024"/>
                <a:gd name="T60" fmla="*/ 547 w 1317"/>
                <a:gd name="T61" fmla="*/ 292 h 1024"/>
                <a:gd name="T62" fmla="*/ 478 w 1317"/>
                <a:gd name="T63" fmla="*/ 263 h 1024"/>
                <a:gd name="T64" fmla="*/ 478 w 1317"/>
                <a:gd name="T65" fmla="*/ 224 h 1024"/>
                <a:gd name="T66" fmla="*/ 400 w 1317"/>
                <a:gd name="T67" fmla="*/ 185 h 1024"/>
                <a:gd name="T68" fmla="*/ 342 w 1317"/>
                <a:gd name="T69" fmla="*/ 165 h 1024"/>
                <a:gd name="T70" fmla="*/ 303 w 1317"/>
                <a:gd name="T71" fmla="*/ 126 h 1024"/>
                <a:gd name="T72" fmla="*/ 361 w 1317"/>
                <a:gd name="T73" fmla="*/ 58 h 1024"/>
                <a:gd name="T74" fmla="*/ 371 w 1317"/>
                <a:gd name="T75" fmla="*/ 0 h 1024"/>
                <a:gd name="T76" fmla="*/ 283 w 1317"/>
                <a:gd name="T77" fmla="*/ 29 h 1024"/>
                <a:gd name="T78" fmla="*/ 215 w 1317"/>
                <a:gd name="T79" fmla="*/ 9 h 1024"/>
                <a:gd name="T80" fmla="*/ 186 w 1317"/>
                <a:gd name="T81" fmla="*/ 58 h 1024"/>
                <a:gd name="T82" fmla="*/ 137 w 1317"/>
                <a:gd name="T83" fmla="*/ 126 h 1024"/>
                <a:gd name="T84" fmla="*/ 49 w 1317"/>
                <a:gd name="T85" fmla="*/ 224 h 1024"/>
                <a:gd name="T86" fmla="*/ 0 w 1317"/>
                <a:gd name="T87" fmla="*/ 292 h 1024"/>
                <a:gd name="T88" fmla="*/ 10 w 1317"/>
                <a:gd name="T89" fmla="*/ 331 h 1024"/>
                <a:gd name="T90" fmla="*/ 108 w 1317"/>
                <a:gd name="T91" fmla="*/ 458 h 1024"/>
                <a:gd name="T92" fmla="*/ 78 w 1317"/>
                <a:gd name="T93" fmla="*/ 567 h 1024"/>
                <a:gd name="T94" fmla="*/ 78 w 1317"/>
                <a:gd name="T95" fmla="*/ 694 h 1024"/>
                <a:gd name="T96" fmla="*/ 108 w 1317"/>
                <a:gd name="T97" fmla="*/ 801 h 1024"/>
                <a:gd name="T98" fmla="*/ 186 w 1317"/>
                <a:gd name="T99" fmla="*/ 801 h 1024"/>
                <a:gd name="T100" fmla="*/ 254 w 1317"/>
                <a:gd name="T101" fmla="*/ 811 h 1024"/>
                <a:gd name="T102" fmla="*/ 313 w 1317"/>
                <a:gd name="T103" fmla="*/ 801 h 1024"/>
                <a:gd name="T104" fmla="*/ 361 w 1317"/>
                <a:gd name="T105" fmla="*/ 762 h 1024"/>
                <a:gd name="T106" fmla="*/ 410 w 1317"/>
                <a:gd name="T107" fmla="*/ 791 h 1024"/>
                <a:gd name="T108" fmla="*/ 498 w 1317"/>
                <a:gd name="T109" fmla="*/ 879 h 1024"/>
                <a:gd name="T110" fmla="*/ 517 w 1317"/>
                <a:gd name="T111" fmla="*/ 937 h 1024"/>
                <a:gd name="T112" fmla="*/ 537 w 1317"/>
                <a:gd name="T113" fmla="*/ 986 h 10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7"/>
                <a:gd name="T172" fmla="*/ 0 h 1024"/>
                <a:gd name="T173" fmla="*/ 1317 w 1317"/>
                <a:gd name="T174" fmla="*/ 1024 h 10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7" h="1024">
                  <a:moveTo>
                    <a:pt x="625" y="1024"/>
                  </a:moveTo>
                  <a:lnTo>
                    <a:pt x="654" y="1014"/>
                  </a:lnTo>
                  <a:lnTo>
                    <a:pt x="673" y="1005"/>
                  </a:lnTo>
                  <a:lnTo>
                    <a:pt x="673" y="985"/>
                  </a:lnTo>
                  <a:lnTo>
                    <a:pt x="683" y="975"/>
                  </a:lnTo>
                  <a:lnTo>
                    <a:pt x="703" y="966"/>
                  </a:lnTo>
                  <a:lnTo>
                    <a:pt x="703" y="956"/>
                  </a:lnTo>
                  <a:lnTo>
                    <a:pt x="732" y="946"/>
                  </a:lnTo>
                  <a:lnTo>
                    <a:pt x="751" y="946"/>
                  </a:lnTo>
                  <a:lnTo>
                    <a:pt x="761" y="946"/>
                  </a:lnTo>
                  <a:lnTo>
                    <a:pt x="771" y="936"/>
                  </a:lnTo>
                  <a:lnTo>
                    <a:pt x="771" y="907"/>
                  </a:lnTo>
                  <a:lnTo>
                    <a:pt x="790" y="887"/>
                  </a:lnTo>
                  <a:lnTo>
                    <a:pt x="790" y="868"/>
                  </a:lnTo>
                  <a:lnTo>
                    <a:pt x="800" y="858"/>
                  </a:lnTo>
                  <a:lnTo>
                    <a:pt x="810" y="858"/>
                  </a:lnTo>
                  <a:lnTo>
                    <a:pt x="810" y="839"/>
                  </a:lnTo>
                  <a:lnTo>
                    <a:pt x="830" y="829"/>
                  </a:lnTo>
                  <a:lnTo>
                    <a:pt x="830" y="839"/>
                  </a:lnTo>
                  <a:lnTo>
                    <a:pt x="849" y="839"/>
                  </a:lnTo>
                  <a:lnTo>
                    <a:pt x="859" y="848"/>
                  </a:lnTo>
                  <a:lnTo>
                    <a:pt x="859" y="858"/>
                  </a:lnTo>
                  <a:lnTo>
                    <a:pt x="869" y="848"/>
                  </a:lnTo>
                  <a:lnTo>
                    <a:pt x="888" y="858"/>
                  </a:lnTo>
                  <a:lnTo>
                    <a:pt x="917" y="868"/>
                  </a:lnTo>
                  <a:lnTo>
                    <a:pt x="927" y="887"/>
                  </a:lnTo>
                  <a:lnTo>
                    <a:pt x="956" y="907"/>
                  </a:lnTo>
                  <a:lnTo>
                    <a:pt x="976" y="907"/>
                  </a:lnTo>
                  <a:lnTo>
                    <a:pt x="986" y="907"/>
                  </a:lnTo>
                  <a:lnTo>
                    <a:pt x="1005" y="897"/>
                  </a:lnTo>
                  <a:lnTo>
                    <a:pt x="1015" y="897"/>
                  </a:lnTo>
                  <a:lnTo>
                    <a:pt x="1025" y="897"/>
                  </a:lnTo>
                  <a:lnTo>
                    <a:pt x="1025" y="926"/>
                  </a:lnTo>
                  <a:lnTo>
                    <a:pt x="1034" y="926"/>
                  </a:lnTo>
                  <a:lnTo>
                    <a:pt x="1054" y="926"/>
                  </a:lnTo>
                  <a:lnTo>
                    <a:pt x="1064" y="936"/>
                  </a:lnTo>
                  <a:lnTo>
                    <a:pt x="1073" y="946"/>
                  </a:lnTo>
                  <a:lnTo>
                    <a:pt x="1093" y="946"/>
                  </a:lnTo>
                  <a:lnTo>
                    <a:pt x="1103" y="946"/>
                  </a:lnTo>
                  <a:lnTo>
                    <a:pt x="1103" y="936"/>
                  </a:lnTo>
                  <a:lnTo>
                    <a:pt x="1122" y="926"/>
                  </a:lnTo>
                  <a:lnTo>
                    <a:pt x="1142" y="926"/>
                  </a:lnTo>
                  <a:lnTo>
                    <a:pt x="1161" y="926"/>
                  </a:lnTo>
                  <a:lnTo>
                    <a:pt x="1181" y="926"/>
                  </a:lnTo>
                  <a:lnTo>
                    <a:pt x="1190" y="936"/>
                  </a:lnTo>
                  <a:lnTo>
                    <a:pt x="1210" y="946"/>
                  </a:lnTo>
                  <a:lnTo>
                    <a:pt x="1249" y="936"/>
                  </a:lnTo>
                  <a:lnTo>
                    <a:pt x="1307" y="926"/>
                  </a:lnTo>
                  <a:lnTo>
                    <a:pt x="1307" y="907"/>
                  </a:lnTo>
                  <a:lnTo>
                    <a:pt x="1317" y="897"/>
                  </a:lnTo>
                  <a:lnTo>
                    <a:pt x="1317" y="878"/>
                  </a:lnTo>
                  <a:lnTo>
                    <a:pt x="1307" y="878"/>
                  </a:lnTo>
                  <a:lnTo>
                    <a:pt x="1288" y="868"/>
                  </a:lnTo>
                  <a:lnTo>
                    <a:pt x="1268" y="848"/>
                  </a:lnTo>
                  <a:lnTo>
                    <a:pt x="1259" y="829"/>
                  </a:lnTo>
                  <a:lnTo>
                    <a:pt x="1288" y="790"/>
                  </a:lnTo>
                  <a:lnTo>
                    <a:pt x="1278" y="780"/>
                  </a:lnTo>
                  <a:lnTo>
                    <a:pt x="1259" y="761"/>
                  </a:lnTo>
                  <a:lnTo>
                    <a:pt x="1249" y="751"/>
                  </a:lnTo>
                  <a:lnTo>
                    <a:pt x="1239" y="761"/>
                  </a:lnTo>
                  <a:lnTo>
                    <a:pt x="1220" y="751"/>
                  </a:lnTo>
                  <a:lnTo>
                    <a:pt x="1200" y="731"/>
                  </a:lnTo>
                  <a:lnTo>
                    <a:pt x="1190" y="722"/>
                  </a:lnTo>
                  <a:lnTo>
                    <a:pt x="1181" y="722"/>
                  </a:lnTo>
                  <a:lnTo>
                    <a:pt x="1171" y="712"/>
                  </a:lnTo>
                  <a:lnTo>
                    <a:pt x="1161" y="712"/>
                  </a:lnTo>
                  <a:lnTo>
                    <a:pt x="1142" y="712"/>
                  </a:lnTo>
                  <a:lnTo>
                    <a:pt x="1132" y="702"/>
                  </a:lnTo>
                  <a:lnTo>
                    <a:pt x="1122" y="692"/>
                  </a:lnTo>
                  <a:lnTo>
                    <a:pt x="1112" y="673"/>
                  </a:lnTo>
                  <a:lnTo>
                    <a:pt x="1103" y="653"/>
                  </a:lnTo>
                  <a:lnTo>
                    <a:pt x="1083" y="663"/>
                  </a:lnTo>
                  <a:lnTo>
                    <a:pt x="1064" y="663"/>
                  </a:lnTo>
                  <a:lnTo>
                    <a:pt x="1054" y="673"/>
                  </a:lnTo>
                  <a:lnTo>
                    <a:pt x="1044" y="683"/>
                  </a:lnTo>
                  <a:lnTo>
                    <a:pt x="1034" y="692"/>
                  </a:lnTo>
                  <a:lnTo>
                    <a:pt x="1025" y="692"/>
                  </a:lnTo>
                  <a:lnTo>
                    <a:pt x="1005" y="683"/>
                  </a:lnTo>
                  <a:lnTo>
                    <a:pt x="995" y="673"/>
                  </a:lnTo>
                  <a:lnTo>
                    <a:pt x="976" y="673"/>
                  </a:lnTo>
                  <a:lnTo>
                    <a:pt x="947" y="673"/>
                  </a:lnTo>
                  <a:lnTo>
                    <a:pt x="927" y="663"/>
                  </a:lnTo>
                  <a:lnTo>
                    <a:pt x="908" y="644"/>
                  </a:lnTo>
                  <a:lnTo>
                    <a:pt x="908" y="634"/>
                  </a:lnTo>
                  <a:lnTo>
                    <a:pt x="898" y="605"/>
                  </a:lnTo>
                  <a:lnTo>
                    <a:pt x="898" y="595"/>
                  </a:lnTo>
                  <a:lnTo>
                    <a:pt x="869" y="585"/>
                  </a:lnTo>
                  <a:lnTo>
                    <a:pt x="859" y="565"/>
                  </a:lnTo>
                  <a:lnTo>
                    <a:pt x="849" y="556"/>
                  </a:lnTo>
                  <a:lnTo>
                    <a:pt x="820" y="556"/>
                  </a:lnTo>
                  <a:lnTo>
                    <a:pt x="800" y="546"/>
                  </a:lnTo>
                  <a:lnTo>
                    <a:pt x="781" y="536"/>
                  </a:lnTo>
                  <a:lnTo>
                    <a:pt x="771" y="517"/>
                  </a:lnTo>
                  <a:lnTo>
                    <a:pt x="742" y="517"/>
                  </a:lnTo>
                  <a:lnTo>
                    <a:pt x="732" y="507"/>
                  </a:lnTo>
                  <a:lnTo>
                    <a:pt x="732" y="487"/>
                  </a:lnTo>
                  <a:lnTo>
                    <a:pt x="722" y="478"/>
                  </a:lnTo>
                  <a:lnTo>
                    <a:pt x="703" y="487"/>
                  </a:lnTo>
                  <a:lnTo>
                    <a:pt x="693" y="487"/>
                  </a:lnTo>
                  <a:lnTo>
                    <a:pt x="673" y="478"/>
                  </a:lnTo>
                  <a:lnTo>
                    <a:pt x="654" y="478"/>
                  </a:lnTo>
                  <a:lnTo>
                    <a:pt x="654" y="468"/>
                  </a:lnTo>
                  <a:lnTo>
                    <a:pt x="654" y="458"/>
                  </a:lnTo>
                  <a:lnTo>
                    <a:pt x="664" y="448"/>
                  </a:lnTo>
                  <a:lnTo>
                    <a:pt x="664" y="439"/>
                  </a:lnTo>
                  <a:lnTo>
                    <a:pt x="654" y="429"/>
                  </a:lnTo>
                  <a:lnTo>
                    <a:pt x="654" y="400"/>
                  </a:lnTo>
                  <a:lnTo>
                    <a:pt x="654" y="370"/>
                  </a:lnTo>
                  <a:lnTo>
                    <a:pt x="654" y="361"/>
                  </a:lnTo>
                  <a:lnTo>
                    <a:pt x="664" y="351"/>
                  </a:lnTo>
                  <a:lnTo>
                    <a:pt x="664" y="341"/>
                  </a:lnTo>
                  <a:lnTo>
                    <a:pt x="654" y="341"/>
                  </a:lnTo>
                  <a:lnTo>
                    <a:pt x="644" y="322"/>
                  </a:lnTo>
                  <a:lnTo>
                    <a:pt x="634" y="331"/>
                  </a:lnTo>
                  <a:lnTo>
                    <a:pt x="625" y="322"/>
                  </a:lnTo>
                  <a:lnTo>
                    <a:pt x="605" y="292"/>
                  </a:lnTo>
                  <a:lnTo>
                    <a:pt x="595" y="292"/>
                  </a:lnTo>
                  <a:lnTo>
                    <a:pt x="586" y="292"/>
                  </a:lnTo>
                  <a:lnTo>
                    <a:pt x="566" y="302"/>
                  </a:lnTo>
                  <a:lnTo>
                    <a:pt x="556" y="292"/>
                  </a:lnTo>
                  <a:lnTo>
                    <a:pt x="547" y="292"/>
                  </a:lnTo>
                  <a:lnTo>
                    <a:pt x="517" y="292"/>
                  </a:lnTo>
                  <a:lnTo>
                    <a:pt x="498" y="292"/>
                  </a:lnTo>
                  <a:lnTo>
                    <a:pt x="478" y="283"/>
                  </a:lnTo>
                  <a:lnTo>
                    <a:pt x="478" y="263"/>
                  </a:lnTo>
                  <a:lnTo>
                    <a:pt x="488" y="244"/>
                  </a:lnTo>
                  <a:lnTo>
                    <a:pt x="498" y="234"/>
                  </a:lnTo>
                  <a:lnTo>
                    <a:pt x="498" y="224"/>
                  </a:lnTo>
                  <a:lnTo>
                    <a:pt x="478" y="224"/>
                  </a:lnTo>
                  <a:lnTo>
                    <a:pt x="459" y="204"/>
                  </a:lnTo>
                  <a:lnTo>
                    <a:pt x="439" y="204"/>
                  </a:lnTo>
                  <a:lnTo>
                    <a:pt x="430" y="195"/>
                  </a:lnTo>
                  <a:lnTo>
                    <a:pt x="400" y="185"/>
                  </a:lnTo>
                  <a:lnTo>
                    <a:pt x="361" y="185"/>
                  </a:lnTo>
                  <a:lnTo>
                    <a:pt x="352" y="185"/>
                  </a:lnTo>
                  <a:lnTo>
                    <a:pt x="342" y="185"/>
                  </a:lnTo>
                  <a:lnTo>
                    <a:pt x="342" y="165"/>
                  </a:lnTo>
                  <a:lnTo>
                    <a:pt x="332" y="146"/>
                  </a:lnTo>
                  <a:lnTo>
                    <a:pt x="322" y="146"/>
                  </a:lnTo>
                  <a:lnTo>
                    <a:pt x="303" y="136"/>
                  </a:lnTo>
                  <a:lnTo>
                    <a:pt x="303" y="126"/>
                  </a:lnTo>
                  <a:lnTo>
                    <a:pt x="322" y="117"/>
                  </a:lnTo>
                  <a:lnTo>
                    <a:pt x="342" y="97"/>
                  </a:lnTo>
                  <a:lnTo>
                    <a:pt x="352" y="78"/>
                  </a:lnTo>
                  <a:lnTo>
                    <a:pt x="361" y="58"/>
                  </a:lnTo>
                  <a:lnTo>
                    <a:pt x="352" y="48"/>
                  </a:lnTo>
                  <a:lnTo>
                    <a:pt x="361" y="29"/>
                  </a:lnTo>
                  <a:lnTo>
                    <a:pt x="361" y="19"/>
                  </a:lnTo>
                  <a:lnTo>
                    <a:pt x="371" y="0"/>
                  </a:lnTo>
                  <a:lnTo>
                    <a:pt x="342" y="0"/>
                  </a:lnTo>
                  <a:lnTo>
                    <a:pt x="313" y="9"/>
                  </a:lnTo>
                  <a:lnTo>
                    <a:pt x="293" y="29"/>
                  </a:lnTo>
                  <a:lnTo>
                    <a:pt x="283" y="29"/>
                  </a:lnTo>
                  <a:lnTo>
                    <a:pt x="254" y="29"/>
                  </a:lnTo>
                  <a:lnTo>
                    <a:pt x="244" y="19"/>
                  </a:lnTo>
                  <a:lnTo>
                    <a:pt x="235" y="9"/>
                  </a:lnTo>
                  <a:lnTo>
                    <a:pt x="215" y="9"/>
                  </a:lnTo>
                  <a:lnTo>
                    <a:pt x="195" y="19"/>
                  </a:lnTo>
                  <a:lnTo>
                    <a:pt x="195" y="39"/>
                  </a:lnTo>
                  <a:lnTo>
                    <a:pt x="195" y="4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66" y="97"/>
                  </a:lnTo>
                  <a:lnTo>
                    <a:pt x="147" y="107"/>
                  </a:lnTo>
                  <a:lnTo>
                    <a:pt x="137" y="126"/>
                  </a:lnTo>
                  <a:lnTo>
                    <a:pt x="88" y="156"/>
                  </a:lnTo>
                  <a:lnTo>
                    <a:pt x="69" y="175"/>
                  </a:lnTo>
                  <a:lnTo>
                    <a:pt x="69" y="204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39" y="244"/>
                  </a:lnTo>
                  <a:lnTo>
                    <a:pt x="20" y="263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10" y="312"/>
                  </a:lnTo>
                  <a:lnTo>
                    <a:pt x="10" y="331"/>
                  </a:lnTo>
                  <a:lnTo>
                    <a:pt x="39" y="341"/>
                  </a:lnTo>
                  <a:lnTo>
                    <a:pt x="78" y="380"/>
                  </a:lnTo>
                  <a:lnTo>
                    <a:pt x="98" y="429"/>
                  </a:lnTo>
                  <a:lnTo>
                    <a:pt x="108" y="458"/>
                  </a:lnTo>
                  <a:lnTo>
                    <a:pt x="108" y="478"/>
                  </a:lnTo>
                  <a:lnTo>
                    <a:pt x="88" y="507"/>
                  </a:lnTo>
                  <a:lnTo>
                    <a:pt x="88" y="517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69" y="624"/>
                  </a:lnTo>
                  <a:lnTo>
                    <a:pt x="59" y="653"/>
                  </a:lnTo>
                  <a:lnTo>
                    <a:pt x="78" y="683"/>
                  </a:lnTo>
                  <a:lnTo>
                    <a:pt x="108" y="702"/>
                  </a:lnTo>
                  <a:lnTo>
                    <a:pt x="108" y="712"/>
                  </a:lnTo>
                  <a:lnTo>
                    <a:pt x="108" y="751"/>
                  </a:lnTo>
                  <a:lnTo>
                    <a:pt x="108" y="790"/>
                  </a:lnTo>
                  <a:lnTo>
                    <a:pt x="147" y="819"/>
                  </a:lnTo>
                  <a:lnTo>
                    <a:pt x="166" y="819"/>
                  </a:lnTo>
                  <a:lnTo>
                    <a:pt x="166" y="800"/>
                  </a:lnTo>
                  <a:lnTo>
                    <a:pt x="186" y="790"/>
                  </a:lnTo>
                  <a:lnTo>
                    <a:pt x="195" y="790"/>
                  </a:lnTo>
                  <a:lnTo>
                    <a:pt x="215" y="800"/>
                  </a:lnTo>
                  <a:lnTo>
                    <a:pt x="235" y="800"/>
                  </a:lnTo>
                  <a:lnTo>
                    <a:pt x="254" y="800"/>
                  </a:lnTo>
                  <a:lnTo>
                    <a:pt x="264" y="809"/>
                  </a:lnTo>
                  <a:lnTo>
                    <a:pt x="293" y="809"/>
                  </a:lnTo>
                  <a:lnTo>
                    <a:pt x="293" y="790"/>
                  </a:lnTo>
                  <a:lnTo>
                    <a:pt x="313" y="790"/>
                  </a:lnTo>
                  <a:lnTo>
                    <a:pt x="342" y="770"/>
                  </a:lnTo>
                  <a:lnTo>
                    <a:pt x="352" y="761"/>
                  </a:lnTo>
                  <a:lnTo>
                    <a:pt x="352" y="751"/>
                  </a:lnTo>
                  <a:lnTo>
                    <a:pt x="361" y="751"/>
                  </a:lnTo>
                  <a:lnTo>
                    <a:pt x="381" y="751"/>
                  </a:lnTo>
                  <a:lnTo>
                    <a:pt x="381" y="770"/>
                  </a:lnTo>
                  <a:lnTo>
                    <a:pt x="400" y="770"/>
                  </a:lnTo>
                  <a:lnTo>
                    <a:pt x="410" y="780"/>
                  </a:lnTo>
                  <a:lnTo>
                    <a:pt x="430" y="790"/>
                  </a:lnTo>
                  <a:lnTo>
                    <a:pt x="449" y="809"/>
                  </a:lnTo>
                  <a:lnTo>
                    <a:pt x="469" y="819"/>
                  </a:lnTo>
                  <a:lnTo>
                    <a:pt x="498" y="868"/>
                  </a:lnTo>
                  <a:lnTo>
                    <a:pt x="498" y="887"/>
                  </a:lnTo>
                  <a:lnTo>
                    <a:pt x="498" y="907"/>
                  </a:lnTo>
                  <a:lnTo>
                    <a:pt x="498" y="926"/>
                  </a:lnTo>
                  <a:lnTo>
                    <a:pt x="517" y="926"/>
                  </a:lnTo>
                  <a:lnTo>
                    <a:pt x="508" y="936"/>
                  </a:lnTo>
                  <a:lnTo>
                    <a:pt x="517" y="956"/>
                  </a:lnTo>
                  <a:lnTo>
                    <a:pt x="537" y="975"/>
                  </a:lnTo>
                  <a:lnTo>
                    <a:pt x="556" y="985"/>
                  </a:lnTo>
                  <a:lnTo>
                    <a:pt x="586" y="1005"/>
                  </a:lnTo>
                  <a:lnTo>
                    <a:pt x="625" y="1024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9" name="Freeform 72"/>
            <p:cNvSpPr>
              <a:spLocks/>
            </p:cNvSpPr>
            <p:nvPr/>
          </p:nvSpPr>
          <p:spPr bwMode="auto">
            <a:xfrm>
              <a:off x="1972" y="1394"/>
              <a:ext cx="653" cy="595"/>
            </a:xfrm>
            <a:custGeom>
              <a:avLst/>
              <a:gdLst/>
              <a:ahLst/>
              <a:cxnLst>
                <a:cxn ang="0">
                  <a:pos x="400" y="527"/>
                </a:cxn>
                <a:cxn ang="0">
                  <a:pos x="371" y="469"/>
                </a:cxn>
                <a:cxn ang="0">
                  <a:pos x="332" y="439"/>
                </a:cxn>
                <a:cxn ang="0">
                  <a:pos x="312" y="400"/>
                </a:cxn>
                <a:cxn ang="0">
                  <a:pos x="283" y="420"/>
                </a:cxn>
                <a:cxn ang="0">
                  <a:pos x="215" y="410"/>
                </a:cxn>
                <a:cxn ang="0">
                  <a:pos x="186" y="390"/>
                </a:cxn>
                <a:cxn ang="0">
                  <a:pos x="186" y="332"/>
                </a:cxn>
                <a:cxn ang="0">
                  <a:pos x="156" y="312"/>
                </a:cxn>
                <a:cxn ang="0">
                  <a:pos x="117" y="283"/>
                </a:cxn>
                <a:cxn ang="0">
                  <a:pos x="78" y="273"/>
                </a:cxn>
                <a:cxn ang="0">
                  <a:pos x="69" y="254"/>
                </a:cxn>
                <a:cxn ang="0">
                  <a:pos x="59" y="205"/>
                </a:cxn>
                <a:cxn ang="0">
                  <a:pos x="20" y="205"/>
                </a:cxn>
                <a:cxn ang="0">
                  <a:pos x="20" y="137"/>
                </a:cxn>
                <a:cxn ang="0">
                  <a:pos x="10" y="108"/>
                </a:cxn>
                <a:cxn ang="0">
                  <a:pos x="30" y="88"/>
                </a:cxn>
                <a:cxn ang="0">
                  <a:pos x="88" y="88"/>
                </a:cxn>
                <a:cxn ang="0">
                  <a:pos x="127" y="39"/>
                </a:cxn>
                <a:cxn ang="0">
                  <a:pos x="195" y="0"/>
                </a:cxn>
                <a:cxn ang="0">
                  <a:pos x="244" y="10"/>
                </a:cxn>
                <a:cxn ang="0">
                  <a:pos x="312" y="10"/>
                </a:cxn>
                <a:cxn ang="0">
                  <a:pos x="342" y="29"/>
                </a:cxn>
                <a:cxn ang="0">
                  <a:pos x="351" y="59"/>
                </a:cxn>
                <a:cxn ang="0">
                  <a:pos x="342" y="108"/>
                </a:cxn>
                <a:cxn ang="0">
                  <a:pos x="322" y="166"/>
                </a:cxn>
                <a:cxn ang="0">
                  <a:pos x="351" y="225"/>
                </a:cxn>
                <a:cxn ang="0">
                  <a:pos x="391" y="244"/>
                </a:cxn>
                <a:cxn ang="0">
                  <a:pos x="430" y="273"/>
                </a:cxn>
                <a:cxn ang="0">
                  <a:pos x="449" y="303"/>
                </a:cxn>
                <a:cxn ang="0">
                  <a:pos x="478" y="332"/>
                </a:cxn>
                <a:cxn ang="0">
                  <a:pos x="537" y="361"/>
                </a:cxn>
                <a:cxn ang="0">
                  <a:pos x="556" y="390"/>
                </a:cxn>
                <a:cxn ang="0">
                  <a:pos x="595" y="400"/>
                </a:cxn>
                <a:cxn ang="0">
                  <a:pos x="615" y="430"/>
                </a:cxn>
                <a:cxn ang="0">
                  <a:pos x="644" y="459"/>
                </a:cxn>
                <a:cxn ang="0">
                  <a:pos x="644" y="508"/>
                </a:cxn>
                <a:cxn ang="0">
                  <a:pos x="605" y="517"/>
                </a:cxn>
                <a:cxn ang="0">
                  <a:pos x="566" y="508"/>
                </a:cxn>
                <a:cxn ang="0">
                  <a:pos x="566" y="537"/>
                </a:cxn>
                <a:cxn ang="0">
                  <a:pos x="566" y="576"/>
                </a:cxn>
                <a:cxn ang="0">
                  <a:pos x="527" y="576"/>
                </a:cxn>
                <a:cxn ang="0">
                  <a:pos x="488" y="586"/>
                </a:cxn>
                <a:cxn ang="0">
                  <a:pos x="430" y="576"/>
                </a:cxn>
              </a:cxnLst>
              <a:rect l="0" t="0" r="r" b="b"/>
              <a:pathLst>
                <a:path w="654" h="595">
                  <a:moveTo>
                    <a:pt x="430" y="556"/>
                  </a:moveTo>
                  <a:lnTo>
                    <a:pt x="410" y="547"/>
                  </a:lnTo>
                  <a:lnTo>
                    <a:pt x="400" y="527"/>
                  </a:lnTo>
                  <a:lnTo>
                    <a:pt x="381" y="498"/>
                  </a:lnTo>
                  <a:lnTo>
                    <a:pt x="371" y="488"/>
                  </a:lnTo>
                  <a:lnTo>
                    <a:pt x="371" y="469"/>
                  </a:lnTo>
                  <a:lnTo>
                    <a:pt x="361" y="449"/>
                  </a:lnTo>
                  <a:lnTo>
                    <a:pt x="351" y="439"/>
                  </a:lnTo>
                  <a:lnTo>
                    <a:pt x="332" y="439"/>
                  </a:lnTo>
                  <a:lnTo>
                    <a:pt x="332" y="420"/>
                  </a:lnTo>
                  <a:lnTo>
                    <a:pt x="322" y="420"/>
                  </a:lnTo>
                  <a:lnTo>
                    <a:pt x="312" y="400"/>
                  </a:lnTo>
                  <a:lnTo>
                    <a:pt x="303" y="390"/>
                  </a:lnTo>
                  <a:lnTo>
                    <a:pt x="303" y="410"/>
                  </a:lnTo>
                  <a:lnTo>
                    <a:pt x="283" y="420"/>
                  </a:lnTo>
                  <a:lnTo>
                    <a:pt x="244" y="390"/>
                  </a:lnTo>
                  <a:lnTo>
                    <a:pt x="225" y="400"/>
                  </a:lnTo>
                  <a:lnTo>
                    <a:pt x="215" y="410"/>
                  </a:lnTo>
                  <a:lnTo>
                    <a:pt x="195" y="410"/>
                  </a:lnTo>
                  <a:lnTo>
                    <a:pt x="195" y="400"/>
                  </a:lnTo>
                  <a:lnTo>
                    <a:pt x="186" y="390"/>
                  </a:lnTo>
                  <a:lnTo>
                    <a:pt x="176" y="381"/>
                  </a:lnTo>
                  <a:lnTo>
                    <a:pt x="186" y="351"/>
                  </a:lnTo>
                  <a:lnTo>
                    <a:pt x="186" y="332"/>
                  </a:lnTo>
                  <a:lnTo>
                    <a:pt x="176" y="312"/>
                  </a:lnTo>
                  <a:lnTo>
                    <a:pt x="166" y="303"/>
                  </a:lnTo>
                  <a:lnTo>
                    <a:pt x="156" y="312"/>
                  </a:lnTo>
                  <a:lnTo>
                    <a:pt x="147" y="303"/>
                  </a:lnTo>
                  <a:lnTo>
                    <a:pt x="137" y="293"/>
                  </a:lnTo>
                  <a:lnTo>
                    <a:pt x="117" y="283"/>
                  </a:lnTo>
                  <a:lnTo>
                    <a:pt x="98" y="273"/>
                  </a:lnTo>
                  <a:lnTo>
                    <a:pt x="88" y="264"/>
                  </a:lnTo>
                  <a:lnTo>
                    <a:pt x="78" y="273"/>
                  </a:lnTo>
                  <a:lnTo>
                    <a:pt x="69" y="273"/>
                  </a:lnTo>
                  <a:lnTo>
                    <a:pt x="59" y="264"/>
                  </a:lnTo>
                  <a:lnTo>
                    <a:pt x="69" y="254"/>
                  </a:lnTo>
                  <a:lnTo>
                    <a:pt x="69" y="244"/>
                  </a:lnTo>
                  <a:lnTo>
                    <a:pt x="78" y="225"/>
                  </a:lnTo>
                  <a:lnTo>
                    <a:pt x="59" y="205"/>
                  </a:lnTo>
                  <a:lnTo>
                    <a:pt x="39" y="205"/>
                  </a:lnTo>
                  <a:lnTo>
                    <a:pt x="30" y="205"/>
                  </a:lnTo>
                  <a:lnTo>
                    <a:pt x="20" y="205"/>
                  </a:lnTo>
                  <a:lnTo>
                    <a:pt x="30" y="176"/>
                  </a:lnTo>
                  <a:lnTo>
                    <a:pt x="30" y="147"/>
                  </a:lnTo>
                  <a:lnTo>
                    <a:pt x="20" y="137"/>
                  </a:lnTo>
                  <a:lnTo>
                    <a:pt x="0" y="12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0" y="98"/>
                  </a:lnTo>
                  <a:lnTo>
                    <a:pt x="20" y="88"/>
                  </a:lnTo>
                  <a:lnTo>
                    <a:pt x="30" y="88"/>
                  </a:lnTo>
                  <a:lnTo>
                    <a:pt x="49" y="88"/>
                  </a:lnTo>
                  <a:lnTo>
                    <a:pt x="69" y="108"/>
                  </a:lnTo>
                  <a:lnTo>
                    <a:pt x="88" y="88"/>
                  </a:lnTo>
                  <a:lnTo>
                    <a:pt x="108" y="69"/>
                  </a:lnTo>
                  <a:lnTo>
                    <a:pt x="127" y="49"/>
                  </a:lnTo>
                  <a:lnTo>
                    <a:pt x="127" y="39"/>
                  </a:lnTo>
                  <a:lnTo>
                    <a:pt x="166" y="29"/>
                  </a:lnTo>
                  <a:lnTo>
                    <a:pt x="186" y="10"/>
                  </a:lnTo>
                  <a:lnTo>
                    <a:pt x="195" y="0"/>
                  </a:lnTo>
                  <a:lnTo>
                    <a:pt x="205" y="0"/>
                  </a:lnTo>
                  <a:lnTo>
                    <a:pt x="225" y="0"/>
                  </a:lnTo>
                  <a:lnTo>
                    <a:pt x="244" y="10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312" y="10"/>
                  </a:lnTo>
                  <a:lnTo>
                    <a:pt x="322" y="10"/>
                  </a:lnTo>
                  <a:lnTo>
                    <a:pt x="322" y="29"/>
                  </a:lnTo>
                  <a:lnTo>
                    <a:pt x="342" y="29"/>
                  </a:lnTo>
                  <a:lnTo>
                    <a:pt x="342" y="39"/>
                  </a:lnTo>
                  <a:lnTo>
                    <a:pt x="342" y="49"/>
                  </a:lnTo>
                  <a:lnTo>
                    <a:pt x="351" y="59"/>
                  </a:lnTo>
                  <a:lnTo>
                    <a:pt x="351" y="69"/>
                  </a:lnTo>
                  <a:lnTo>
                    <a:pt x="342" y="88"/>
                  </a:lnTo>
                  <a:lnTo>
                    <a:pt x="342" y="108"/>
                  </a:lnTo>
                  <a:lnTo>
                    <a:pt x="322" y="117"/>
                  </a:lnTo>
                  <a:lnTo>
                    <a:pt x="322" y="147"/>
                  </a:lnTo>
                  <a:lnTo>
                    <a:pt x="322" y="166"/>
                  </a:lnTo>
                  <a:lnTo>
                    <a:pt x="332" y="186"/>
                  </a:lnTo>
                  <a:lnTo>
                    <a:pt x="342" y="195"/>
                  </a:lnTo>
                  <a:lnTo>
                    <a:pt x="351" y="225"/>
                  </a:lnTo>
                  <a:lnTo>
                    <a:pt x="371" y="225"/>
                  </a:lnTo>
                  <a:lnTo>
                    <a:pt x="381" y="234"/>
                  </a:lnTo>
                  <a:lnTo>
                    <a:pt x="391" y="244"/>
                  </a:lnTo>
                  <a:lnTo>
                    <a:pt x="400" y="273"/>
                  </a:lnTo>
                  <a:lnTo>
                    <a:pt x="410" y="273"/>
                  </a:lnTo>
                  <a:lnTo>
                    <a:pt x="430" y="273"/>
                  </a:lnTo>
                  <a:lnTo>
                    <a:pt x="449" y="283"/>
                  </a:lnTo>
                  <a:lnTo>
                    <a:pt x="459" y="293"/>
                  </a:lnTo>
                  <a:lnTo>
                    <a:pt x="449" y="303"/>
                  </a:lnTo>
                  <a:lnTo>
                    <a:pt x="459" y="312"/>
                  </a:lnTo>
                  <a:lnTo>
                    <a:pt x="469" y="322"/>
                  </a:lnTo>
                  <a:lnTo>
                    <a:pt x="478" y="332"/>
                  </a:lnTo>
                  <a:lnTo>
                    <a:pt x="508" y="361"/>
                  </a:lnTo>
                  <a:lnTo>
                    <a:pt x="527" y="361"/>
                  </a:lnTo>
                  <a:lnTo>
                    <a:pt x="537" y="361"/>
                  </a:lnTo>
                  <a:lnTo>
                    <a:pt x="556" y="371"/>
                  </a:lnTo>
                  <a:lnTo>
                    <a:pt x="547" y="381"/>
                  </a:lnTo>
                  <a:lnTo>
                    <a:pt x="556" y="390"/>
                  </a:lnTo>
                  <a:lnTo>
                    <a:pt x="566" y="410"/>
                  </a:lnTo>
                  <a:lnTo>
                    <a:pt x="576" y="420"/>
                  </a:lnTo>
                  <a:lnTo>
                    <a:pt x="595" y="400"/>
                  </a:lnTo>
                  <a:lnTo>
                    <a:pt x="615" y="400"/>
                  </a:lnTo>
                  <a:lnTo>
                    <a:pt x="625" y="420"/>
                  </a:lnTo>
                  <a:lnTo>
                    <a:pt x="615" y="430"/>
                  </a:lnTo>
                  <a:lnTo>
                    <a:pt x="625" y="449"/>
                  </a:lnTo>
                  <a:lnTo>
                    <a:pt x="634" y="459"/>
                  </a:lnTo>
                  <a:lnTo>
                    <a:pt x="644" y="459"/>
                  </a:lnTo>
                  <a:lnTo>
                    <a:pt x="654" y="469"/>
                  </a:lnTo>
                  <a:lnTo>
                    <a:pt x="654" y="488"/>
                  </a:lnTo>
                  <a:lnTo>
                    <a:pt x="644" y="508"/>
                  </a:lnTo>
                  <a:lnTo>
                    <a:pt x="634" y="517"/>
                  </a:lnTo>
                  <a:lnTo>
                    <a:pt x="625" y="517"/>
                  </a:lnTo>
                  <a:lnTo>
                    <a:pt x="605" y="517"/>
                  </a:lnTo>
                  <a:lnTo>
                    <a:pt x="586" y="527"/>
                  </a:lnTo>
                  <a:lnTo>
                    <a:pt x="576" y="517"/>
                  </a:lnTo>
                  <a:lnTo>
                    <a:pt x="566" y="508"/>
                  </a:lnTo>
                  <a:lnTo>
                    <a:pt x="556" y="517"/>
                  </a:lnTo>
                  <a:lnTo>
                    <a:pt x="547" y="527"/>
                  </a:lnTo>
                  <a:lnTo>
                    <a:pt x="566" y="537"/>
                  </a:lnTo>
                  <a:lnTo>
                    <a:pt x="576" y="547"/>
                  </a:lnTo>
                  <a:lnTo>
                    <a:pt x="566" y="556"/>
                  </a:lnTo>
                  <a:lnTo>
                    <a:pt x="566" y="576"/>
                  </a:lnTo>
                  <a:lnTo>
                    <a:pt x="556" y="586"/>
                  </a:lnTo>
                  <a:lnTo>
                    <a:pt x="547" y="595"/>
                  </a:lnTo>
                  <a:lnTo>
                    <a:pt x="527" y="576"/>
                  </a:lnTo>
                  <a:lnTo>
                    <a:pt x="517" y="566"/>
                  </a:lnTo>
                  <a:lnTo>
                    <a:pt x="508" y="566"/>
                  </a:lnTo>
                  <a:lnTo>
                    <a:pt x="488" y="586"/>
                  </a:lnTo>
                  <a:lnTo>
                    <a:pt x="469" y="576"/>
                  </a:lnTo>
                  <a:lnTo>
                    <a:pt x="449" y="586"/>
                  </a:lnTo>
                  <a:lnTo>
                    <a:pt x="430" y="576"/>
                  </a:lnTo>
                  <a:lnTo>
                    <a:pt x="430" y="5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0" name="Freeform 71"/>
            <p:cNvSpPr>
              <a:spLocks/>
            </p:cNvSpPr>
            <p:nvPr/>
          </p:nvSpPr>
          <p:spPr bwMode="auto">
            <a:xfrm>
              <a:off x="3541" y="1378"/>
              <a:ext cx="1091" cy="1344"/>
            </a:xfrm>
            <a:custGeom>
              <a:avLst/>
              <a:gdLst/>
              <a:ahLst/>
              <a:cxnLst>
                <a:cxn ang="0">
                  <a:pos x="0" y="702"/>
                </a:cxn>
                <a:cxn ang="0">
                  <a:pos x="156" y="770"/>
                </a:cxn>
                <a:cxn ang="0">
                  <a:pos x="253" y="858"/>
                </a:cxn>
                <a:cxn ang="0">
                  <a:pos x="361" y="907"/>
                </a:cxn>
                <a:cxn ang="0">
                  <a:pos x="351" y="1034"/>
                </a:cxn>
                <a:cxn ang="0">
                  <a:pos x="497" y="1112"/>
                </a:cxn>
                <a:cxn ang="0">
                  <a:pos x="644" y="1229"/>
                </a:cxn>
                <a:cxn ang="0">
                  <a:pos x="800" y="1219"/>
                </a:cxn>
                <a:cxn ang="0">
                  <a:pos x="897" y="1297"/>
                </a:cxn>
                <a:cxn ang="0">
                  <a:pos x="1043" y="1297"/>
                </a:cxn>
                <a:cxn ang="0">
                  <a:pos x="1043" y="1190"/>
                </a:cxn>
                <a:cxn ang="0">
                  <a:pos x="1063" y="1073"/>
                </a:cxn>
                <a:cxn ang="0">
                  <a:pos x="1043" y="966"/>
                </a:cxn>
                <a:cxn ang="0">
                  <a:pos x="1014" y="888"/>
                </a:cxn>
                <a:cxn ang="0">
                  <a:pos x="1004" y="741"/>
                </a:cxn>
                <a:cxn ang="0">
                  <a:pos x="1063" y="634"/>
                </a:cxn>
                <a:cxn ang="0">
                  <a:pos x="1043" y="546"/>
                </a:cxn>
                <a:cxn ang="0">
                  <a:pos x="956" y="458"/>
                </a:cxn>
                <a:cxn ang="0">
                  <a:pos x="1063" y="351"/>
                </a:cxn>
                <a:cxn ang="0">
                  <a:pos x="1073" y="234"/>
                </a:cxn>
                <a:cxn ang="0">
                  <a:pos x="995" y="205"/>
                </a:cxn>
                <a:cxn ang="0">
                  <a:pos x="965" y="195"/>
                </a:cxn>
                <a:cxn ang="0">
                  <a:pos x="975" y="292"/>
                </a:cxn>
                <a:cxn ang="0">
                  <a:pos x="985" y="341"/>
                </a:cxn>
                <a:cxn ang="0">
                  <a:pos x="887" y="253"/>
                </a:cxn>
                <a:cxn ang="0">
                  <a:pos x="936" y="156"/>
                </a:cxn>
                <a:cxn ang="0">
                  <a:pos x="917" y="127"/>
                </a:cxn>
                <a:cxn ang="0">
                  <a:pos x="809" y="205"/>
                </a:cxn>
                <a:cxn ang="0">
                  <a:pos x="780" y="341"/>
                </a:cxn>
                <a:cxn ang="0">
                  <a:pos x="722" y="468"/>
                </a:cxn>
                <a:cxn ang="0">
                  <a:pos x="839" y="517"/>
                </a:cxn>
                <a:cxn ang="0">
                  <a:pos x="848" y="624"/>
                </a:cxn>
                <a:cxn ang="0">
                  <a:pos x="858" y="692"/>
                </a:cxn>
                <a:cxn ang="0">
                  <a:pos x="800" y="663"/>
                </a:cxn>
                <a:cxn ang="0">
                  <a:pos x="829" y="566"/>
                </a:cxn>
                <a:cxn ang="0">
                  <a:pos x="712" y="546"/>
                </a:cxn>
                <a:cxn ang="0">
                  <a:pos x="605" y="692"/>
                </a:cxn>
                <a:cxn ang="0">
                  <a:pos x="478" y="712"/>
                </a:cxn>
                <a:cxn ang="0">
                  <a:pos x="429" y="644"/>
                </a:cxn>
                <a:cxn ang="0">
                  <a:pos x="458" y="644"/>
                </a:cxn>
                <a:cxn ang="0">
                  <a:pos x="517" y="683"/>
                </a:cxn>
                <a:cxn ang="0">
                  <a:pos x="575" y="634"/>
                </a:cxn>
                <a:cxn ang="0">
                  <a:pos x="634" y="595"/>
                </a:cxn>
                <a:cxn ang="0">
                  <a:pos x="683" y="497"/>
                </a:cxn>
                <a:cxn ang="0">
                  <a:pos x="702" y="390"/>
                </a:cxn>
                <a:cxn ang="0">
                  <a:pos x="761" y="283"/>
                </a:cxn>
                <a:cxn ang="0">
                  <a:pos x="800" y="156"/>
                </a:cxn>
                <a:cxn ang="0">
                  <a:pos x="848" y="58"/>
                </a:cxn>
                <a:cxn ang="0">
                  <a:pos x="761" y="19"/>
                </a:cxn>
                <a:cxn ang="0">
                  <a:pos x="683" y="78"/>
                </a:cxn>
                <a:cxn ang="0">
                  <a:pos x="556" y="156"/>
                </a:cxn>
                <a:cxn ang="0">
                  <a:pos x="546" y="234"/>
                </a:cxn>
                <a:cxn ang="0">
                  <a:pos x="487" y="302"/>
                </a:cxn>
                <a:cxn ang="0">
                  <a:pos x="507" y="341"/>
                </a:cxn>
                <a:cxn ang="0">
                  <a:pos x="468" y="468"/>
                </a:cxn>
                <a:cxn ang="0">
                  <a:pos x="429" y="361"/>
                </a:cxn>
                <a:cxn ang="0">
                  <a:pos x="361" y="302"/>
                </a:cxn>
                <a:cxn ang="0">
                  <a:pos x="361" y="458"/>
                </a:cxn>
                <a:cxn ang="0">
                  <a:pos x="234" y="517"/>
                </a:cxn>
              </a:cxnLst>
              <a:rect l="0" t="0" r="r" b="b"/>
              <a:pathLst>
                <a:path w="1092" h="1346">
                  <a:moveTo>
                    <a:pt x="68" y="566"/>
                  </a:moveTo>
                  <a:lnTo>
                    <a:pt x="58" y="585"/>
                  </a:lnTo>
                  <a:lnTo>
                    <a:pt x="58" y="595"/>
                  </a:lnTo>
                  <a:lnTo>
                    <a:pt x="49" y="614"/>
                  </a:lnTo>
                  <a:lnTo>
                    <a:pt x="58" y="624"/>
                  </a:lnTo>
                  <a:lnTo>
                    <a:pt x="49" y="634"/>
                  </a:lnTo>
                  <a:lnTo>
                    <a:pt x="39" y="663"/>
                  </a:lnTo>
                  <a:lnTo>
                    <a:pt x="19" y="683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19" y="712"/>
                  </a:lnTo>
                  <a:lnTo>
                    <a:pt x="29" y="712"/>
                  </a:lnTo>
                  <a:lnTo>
                    <a:pt x="39" y="731"/>
                  </a:lnTo>
                  <a:lnTo>
                    <a:pt x="39" y="741"/>
                  </a:lnTo>
                  <a:lnTo>
                    <a:pt x="49" y="751"/>
                  </a:lnTo>
                  <a:lnTo>
                    <a:pt x="58" y="741"/>
                  </a:lnTo>
                  <a:lnTo>
                    <a:pt x="97" y="751"/>
                  </a:lnTo>
                  <a:lnTo>
                    <a:pt x="127" y="761"/>
                  </a:lnTo>
                  <a:lnTo>
                    <a:pt x="136" y="761"/>
                  </a:lnTo>
                  <a:lnTo>
                    <a:pt x="156" y="770"/>
                  </a:lnTo>
                  <a:lnTo>
                    <a:pt x="175" y="780"/>
                  </a:lnTo>
                  <a:lnTo>
                    <a:pt x="195" y="790"/>
                  </a:lnTo>
                  <a:lnTo>
                    <a:pt x="195" y="800"/>
                  </a:lnTo>
                  <a:lnTo>
                    <a:pt x="185" y="810"/>
                  </a:lnTo>
                  <a:lnTo>
                    <a:pt x="175" y="819"/>
                  </a:lnTo>
                  <a:lnTo>
                    <a:pt x="175" y="839"/>
                  </a:lnTo>
                  <a:lnTo>
                    <a:pt x="195" y="858"/>
                  </a:lnTo>
                  <a:lnTo>
                    <a:pt x="214" y="858"/>
                  </a:lnTo>
                  <a:lnTo>
                    <a:pt x="244" y="858"/>
                  </a:lnTo>
                  <a:lnTo>
                    <a:pt x="253" y="858"/>
                  </a:lnTo>
                  <a:lnTo>
                    <a:pt x="263" y="868"/>
                  </a:lnTo>
                  <a:lnTo>
                    <a:pt x="283" y="858"/>
                  </a:lnTo>
                  <a:lnTo>
                    <a:pt x="292" y="858"/>
                  </a:lnTo>
                  <a:lnTo>
                    <a:pt x="302" y="858"/>
                  </a:lnTo>
                  <a:lnTo>
                    <a:pt x="322" y="888"/>
                  </a:lnTo>
                  <a:lnTo>
                    <a:pt x="331" y="888"/>
                  </a:lnTo>
                  <a:lnTo>
                    <a:pt x="341" y="888"/>
                  </a:lnTo>
                  <a:lnTo>
                    <a:pt x="341" y="897"/>
                  </a:lnTo>
                  <a:lnTo>
                    <a:pt x="361" y="907"/>
                  </a:lnTo>
                  <a:lnTo>
                    <a:pt x="361" y="917"/>
                  </a:lnTo>
                  <a:lnTo>
                    <a:pt x="351" y="927"/>
                  </a:lnTo>
                  <a:lnTo>
                    <a:pt x="341" y="936"/>
                  </a:lnTo>
                  <a:lnTo>
                    <a:pt x="341" y="966"/>
                  </a:lnTo>
                  <a:lnTo>
                    <a:pt x="341" y="995"/>
                  </a:lnTo>
                  <a:lnTo>
                    <a:pt x="361" y="1005"/>
                  </a:lnTo>
                  <a:lnTo>
                    <a:pt x="361" y="1014"/>
                  </a:lnTo>
                  <a:lnTo>
                    <a:pt x="351" y="1014"/>
                  </a:lnTo>
                  <a:lnTo>
                    <a:pt x="351" y="1024"/>
                  </a:lnTo>
                  <a:lnTo>
                    <a:pt x="351" y="1034"/>
                  </a:lnTo>
                  <a:lnTo>
                    <a:pt x="370" y="1044"/>
                  </a:lnTo>
                  <a:lnTo>
                    <a:pt x="390" y="1053"/>
                  </a:lnTo>
                  <a:lnTo>
                    <a:pt x="400" y="1053"/>
                  </a:lnTo>
                  <a:lnTo>
                    <a:pt x="419" y="1044"/>
                  </a:lnTo>
                  <a:lnTo>
                    <a:pt x="429" y="1053"/>
                  </a:lnTo>
                  <a:lnTo>
                    <a:pt x="429" y="1073"/>
                  </a:lnTo>
                  <a:lnTo>
                    <a:pt x="439" y="1083"/>
                  </a:lnTo>
                  <a:lnTo>
                    <a:pt x="468" y="1083"/>
                  </a:lnTo>
                  <a:lnTo>
                    <a:pt x="478" y="1092"/>
                  </a:lnTo>
                  <a:lnTo>
                    <a:pt x="497" y="1112"/>
                  </a:lnTo>
                  <a:lnTo>
                    <a:pt x="517" y="1122"/>
                  </a:lnTo>
                  <a:lnTo>
                    <a:pt x="546" y="1122"/>
                  </a:lnTo>
                  <a:lnTo>
                    <a:pt x="556" y="1131"/>
                  </a:lnTo>
                  <a:lnTo>
                    <a:pt x="566" y="1151"/>
                  </a:lnTo>
                  <a:lnTo>
                    <a:pt x="595" y="1151"/>
                  </a:lnTo>
                  <a:lnTo>
                    <a:pt x="595" y="1171"/>
                  </a:lnTo>
                  <a:lnTo>
                    <a:pt x="605" y="1200"/>
                  </a:lnTo>
                  <a:lnTo>
                    <a:pt x="605" y="1210"/>
                  </a:lnTo>
                  <a:lnTo>
                    <a:pt x="624" y="1219"/>
                  </a:lnTo>
                  <a:lnTo>
                    <a:pt x="644" y="1229"/>
                  </a:lnTo>
                  <a:lnTo>
                    <a:pt x="673" y="1229"/>
                  </a:lnTo>
                  <a:lnTo>
                    <a:pt x="692" y="1229"/>
                  </a:lnTo>
                  <a:lnTo>
                    <a:pt x="702" y="1249"/>
                  </a:lnTo>
                  <a:lnTo>
                    <a:pt x="722" y="1258"/>
                  </a:lnTo>
                  <a:lnTo>
                    <a:pt x="731" y="1258"/>
                  </a:lnTo>
                  <a:lnTo>
                    <a:pt x="741" y="1249"/>
                  </a:lnTo>
                  <a:lnTo>
                    <a:pt x="751" y="1239"/>
                  </a:lnTo>
                  <a:lnTo>
                    <a:pt x="761" y="1229"/>
                  </a:lnTo>
                  <a:lnTo>
                    <a:pt x="780" y="1219"/>
                  </a:lnTo>
                  <a:lnTo>
                    <a:pt x="800" y="1219"/>
                  </a:lnTo>
                  <a:lnTo>
                    <a:pt x="809" y="1229"/>
                  </a:lnTo>
                  <a:lnTo>
                    <a:pt x="819" y="1258"/>
                  </a:lnTo>
                  <a:lnTo>
                    <a:pt x="829" y="1268"/>
                  </a:lnTo>
                  <a:lnTo>
                    <a:pt x="839" y="1268"/>
                  </a:lnTo>
                  <a:lnTo>
                    <a:pt x="858" y="1268"/>
                  </a:lnTo>
                  <a:lnTo>
                    <a:pt x="868" y="1278"/>
                  </a:lnTo>
                  <a:lnTo>
                    <a:pt x="878" y="1278"/>
                  </a:lnTo>
                  <a:lnTo>
                    <a:pt x="887" y="1278"/>
                  </a:lnTo>
                  <a:lnTo>
                    <a:pt x="897" y="1297"/>
                  </a:lnTo>
                  <a:lnTo>
                    <a:pt x="917" y="1317"/>
                  </a:lnTo>
                  <a:lnTo>
                    <a:pt x="936" y="1327"/>
                  </a:lnTo>
                  <a:lnTo>
                    <a:pt x="946" y="1317"/>
                  </a:lnTo>
                  <a:lnTo>
                    <a:pt x="956" y="1327"/>
                  </a:lnTo>
                  <a:lnTo>
                    <a:pt x="975" y="1346"/>
                  </a:lnTo>
                  <a:lnTo>
                    <a:pt x="985" y="1346"/>
                  </a:lnTo>
                  <a:lnTo>
                    <a:pt x="1004" y="1327"/>
                  </a:lnTo>
                  <a:lnTo>
                    <a:pt x="1004" y="1317"/>
                  </a:lnTo>
                  <a:lnTo>
                    <a:pt x="1024" y="1297"/>
                  </a:lnTo>
                  <a:lnTo>
                    <a:pt x="1043" y="1297"/>
                  </a:lnTo>
                  <a:lnTo>
                    <a:pt x="1053" y="1288"/>
                  </a:lnTo>
                  <a:lnTo>
                    <a:pt x="1043" y="1278"/>
                  </a:lnTo>
                  <a:lnTo>
                    <a:pt x="1053" y="1268"/>
                  </a:lnTo>
                  <a:lnTo>
                    <a:pt x="1053" y="1258"/>
                  </a:lnTo>
                  <a:lnTo>
                    <a:pt x="1043" y="1249"/>
                  </a:lnTo>
                  <a:lnTo>
                    <a:pt x="1043" y="1239"/>
                  </a:lnTo>
                  <a:lnTo>
                    <a:pt x="1034" y="1219"/>
                  </a:lnTo>
                  <a:lnTo>
                    <a:pt x="1034" y="1210"/>
                  </a:lnTo>
                  <a:lnTo>
                    <a:pt x="1043" y="1190"/>
                  </a:lnTo>
                  <a:lnTo>
                    <a:pt x="1063" y="1180"/>
                  </a:lnTo>
                  <a:lnTo>
                    <a:pt x="1083" y="1171"/>
                  </a:lnTo>
                  <a:lnTo>
                    <a:pt x="1092" y="1161"/>
                  </a:lnTo>
                  <a:lnTo>
                    <a:pt x="1092" y="1131"/>
                  </a:lnTo>
                  <a:lnTo>
                    <a:pt x="1092" y="1102"/>
                  </a:lnTo>
                  <a:lnTo>
                    <a:pt x="1092" y="1083"/>
                  </a:lnTo>
                  <a:lnTo>
                    <a:pt x="1083" y="1083"/>
                  </a:lnTo>
                  <a:lnTo>
                    <a:pt x="1063" y="1083"/>
                  </a:lnTo>
                  <a:lnTo>
                    <a:pt x="1053" y="1083"/>
                  </a:lnTo>
                  <a:lnTo>
                    <a:pt x="1063" y="1073"/>
                  </a:lnTo>
                  <a:lnTo>
                    <a:pt x="1053" y="1063"/>
                  </a:lnTo>
                  <a:lnTo>
                    <a:pt x="1034" y="1053"/>
                  </a:lnTo>
                  <a:lnTo>
                    <a:pt x="1024" y="1044"/>
                  </a:lnTo>
                  <a:lnTo>
                    <a:pt x="1034" y="1034"/>
                  </a:lnTo>
                  <a:lnTo>
                    <a:pt x="1043" y="1024"/>
                  </a:lnTo>
                  <a:lnTo>
                    <a:pt x="1043" y="1005"/>
                  </a:lnTo>
                  <a:lnTo>
                    <a:pt x="1043" y="995"/>
                  </a:lnTo>
                  <a:lnTo>
                    <a:pt x="1053" y="975"/>
                  </a:lnTo>
                  <a:lnTo>
                    <a:pt x="1043" y="966"/>
                  </a:lnTo>
                  <a:lnTo>
                    <a:pt x="1034" y="966"/>
                  </a:lnTo>
                  <a:lnTo>
                    <a:pt x="1024" y="966"/>
                  </a:lnTo>
                  <a:lnTo>
                    <a:pt x="1014" y="956"/>
                  </a:lnTo>
                  <a:lnTo>
                    <a:pt x="1014" y="936"/>
                  </a:lnTo>
                  <a:lnTo>
                    <a:pt x="1004" y="936"/>
                  </a:lnTo>
                  <a:lnTo>
                    <a:pt x="1004" y="917"/>
                  </a:lnTo>
                  <a:lnTo>
                    <a:pt x="1024" y="917"/>
                  </a:lnTo>
                  <a:lnTo>
                    <a:pt x="1024" y="907"/>
                  </a:lnTo>
                  <a:lnTo>
                    <a:pt x="1014" y="888"/>
                  </a:lnTo>
                  <a:lnTo>
                    <a:pt x="1004" y="878"/>
                  </a:lnTo>
                  <a:lnTo>
                    <a:pt x="1014" y="858"/>
                  </a:lnTo>
                  <a:lnTo>
                    <a:pt x="1024" y="849"/>
                  </a:lnTo>
                  <a:lnTo>
                    <a:pt x="1024" y="839"/>
                  </a:lnTo>
                  <a:lnTo>
                    <a:pt x="1004" y="810"/>
                  </a:lnTo>
                  <a:lnTo>
                    <a:pt x="995" y="790"/>
                  </a:lnTo>
                  <a:lnTo>
                    <a:pt x="995" y="780"/>
                  </a:lnTo>
                  <a:lnTo>
                    <a:pt x="1004" y="761"/>
                  </a:lnTo>
                  <a:lnTo>
                    <a:pt x="1004" y="741"/>
                  </a:lnTo>
                  <a:lnTo>
                    <a:pt x="1004" y="722"/>
                  </a:lnTo>
                  <a:lnTo>
                    <a:pt x="1004" y="702"/>
                  </a:lnTo>
                  <a:lnTo>
                    <a:pt x="1024" y="702"/>
                  </a:lnTo>
                  <a:lnTo>
                    <a:pt x="1034" y="702"/>
                  </a:lnTo>
                  <a:lnTo>
                    <a:pt x="1063" y="692"/>
                  </a:lnTo>
                  <a:lnTo>
                    <a:pt x="1053" y="663"/>
                  </a:lnTo>
                  <a:lnTo>
                    <a:pt x="1053" y="644"/>
                  </a:lnTo>
                  <a:lnTo>
                    <a:pt x="1053" y="634"/>
                  </a:lnTo>
                  <a:lnTo>
                    <a:pt x="1063" y="634"/>
                  </a:lnTo>
                  <a:lnTo>
                    <a:pt x="1073" y="634"/>
                  </a:lnTo>
                  <a:lnTo>
                    <a:pt x="1063" y="624"/>
                  </a:lnTo>
                  <a:lnTo>
                    <a:pt x="1053" y="614"/>
                  </a:lnTo>
                  <a:lnTo>
                    <a:pt x="1063" y="605"/>
                  </a:lnTo>
                  <a:lnTo>
                    <a:pt x="1063" y="585"/>
                  </a:lnTo>
                  <a:lnTo>
                    <a:pt x="1063" y="575"/>
                  </a:lnTo>
                  <a:lnTo>
                    <a:pt x="1053" y="566"/>
                  </a:lnTo>
                  <a:lnTo>
                    <a:pt x="1063" y="546"/>
                  </a:lnTo>
                  <a:lnTo>
                    <a:pt x="1053" y="536"/>
                  </a:lnTo>
                  <a:lnTo>
                    <a:pt x="1043" y="546"/>
                  </a:lnTo>
                  <a:lnTo>
                    <a:pt x="1034" y="556"/>
                  </a:lnTo>
                  <a:lnTo>
                    <a:pt x="1024" y="556"/>
                  </a:lnTo>
                  <a:lnTo>
                    <a:pt x="1004" y="546"/>
                  </a:lnTo>
                  <a:lnTo>
                    <a:pt x="985" y="527"/>
                  </a:lnTo>
                  <a:lnTo>
                    <a:pt x="975" y="527"/>
                  </a:lnTo>
                  <a:lnTo>
                    <a:pt x="975" y="517"/>
                  </a:lnTo>
                  <a:lnTo>
                    <a:pt x="975" y="497"/>
                  </a:lnTo>
                  <a:lnTo>
                    <a:pt x="965" y="488"/>
                  </a:lnTo>
                  <a:lnTo>
                    <a:pt x="956" y="478"/>
                  </a:lnTo>
                  <a:lnTo>
                    <a:pt x="956" y="458"/>
                  </a:lnTo>
                  <a:lnTo>
                    <a:pt x="965" y="449"/>
                  </a:lnTo>
                  <a:lnTo>
                    <a:pt x="985" y="439"/>
                  </a:lnTo>
                  <a:lnTo>
                    <a:pt x="995" y="439"/>
                  </a:lnTo>
                  <a:lnTo>
                    <a:pt x="1004" y="429"/>
                  </a:lnTo>
                  <a:lnTo>
                    <a:pt x="1014" y="429"/>
                  </a:lnTo>
                  <a:lnTo>
                    <a:pt x="1043" y="419"/>
                  </a:lnTo>
                  <a:lnTo>
                    <a:pt x="1053" y="409"/>
                  </a:lnTo>
                  <a:lnTo>
                    <a:pt x="1053" y="370"/>
                  </a:lnTo>
                  <a:lnTo>
                    <a:pt x="1063" y="351"/>
                  </a:lnTo>
                  <a:lnTo>
                    <a:pt x="1053" y="341"/>
                  </a:lnTo>
                  <a:lnTo>
                    <a:pt x="1043" y="331"/>
                  </a:lnTo>
                  <a:lnTo>
                    <a:pt x="1024" y="302"/>
                  </a:lnTo>
                  <a:lnTo>
                    <a:pt x="1024" y="283"/>
                  </a:lnTo>
                  <a:lnTo>
                    <a:pt x="1034" y="273"/>
                  </a:lnTo>
                  <a:lnTo>
                    <a:pt x="1043" y="273"/>
                  </a:lnTo>
                  <a:lnTo>
                    <a:pt x="1053" y="273"/>
                  </a:lnTo>
                  <a:lnTo>
                    <a:pt x="1083" y="244"/>
                  </a:lnTo>
                  <a:lnTo>
                    <a:pt x="1073" y="234"/>
                  </a:lnTo>
                  <a:lnTo>
                    <a:pt x="1053" y="224"/>
                  </a:lnTo>
                  <a:lnTo>
                    <a:pt x="1043" y="214"/>
                  </a:lnTo>
                  <a:lnTo>
                    <a:pt x="1034" y="195"/>
                  </a:lnTo>
                  <a:lnTo>
                    <a:pt x="1043" y="195"/>
                  </a:lnTo>
                  <a:lnTo>
                    <a:pt x="1043" y="185"/>
                  </a:lnTo>
                  <a:lnTo>
                    <a:pt x="1014" y="185"/>
                  </a:lnTo>
                  <a:lnTo>
                    <a:pt x="1004" y="195"/>
                  </a:lnTo>
                  <a:lnTo>
                    <a:pt x="995" y="195"/>
                  </a:lnTo>
                  <a:lnTo>
                    <a:pt x="995" y="205"/>
                  </a:lnTo>
                  <a:lnTo>
                    <a:pt x="1004" y="205"/>
                  </a:lnTo>
                  <a:lnTo>
                    <a:pt x="1014" y="214"/>
                  </a:lnTo>
                  <a:lnTo>
                    <a:pt x="1014" y="234"/>
                  </a:lnTo>
                  <a:lnTo>
                    <a:pt x="1004" y="234"/>
                  </a:lnTo>
                  <a:lnTo>
                    <a:pt x="985" y="234"/>
                  </a:lnTo>
                  <a:lnTo>
                    <a:pt x="985" y="214"/>
                  </a:lnTo>
                  <a:lnTo>
                    <a:pt x="975" y="214"/>
                  </a:lnTo>
                  <a:lnTo>
                    <a:pt x="975" y="195"/>
                  </a:lnTo>
                  <a:lnTo>
                    <a:pt x="965" y="195"/>
                  </a:lnTo>
                  <a:lnTo>
                    <a:pt x="956" y="195"/>
                  </a:lnTo>
                  <a:lnTo>
                    <a:pt x="936" y="195"/>
                  </a:lnTo>
                  <a:lnTo>
                    <a:pt x="926" y="205"/>
                  </a:lnTo>
                  <a:lnTo>
                    <a:pt x="926" y="224"/>
                  </a:lnTo>
                  <a:lnTo>
                    <a:pt x="926" y="244"/>
                  </a:lnTo>
                  <a:lnTo>
                    <a:pt x="936" y="263"/>
                  </a:lnTo>
                  <a:lnTo>
                    <a:pt x="946" y="273"/>
                  </a:lnTo>
                  <a:lnTo>
                    <a:pt x="956" y="292"/>
                  </a:lnTo>
                  <a:lnTo>
                    <a:pt x="965" y="292"/>
                  </a:lnTo>
                  <a:lnTo>
                    <a:pt x="975" y="292"/>
                  </a:lnTo>
                  <a:lnTo>
                    <a:pt x="985" y="302"/>
                  </a:lnTo>
                  <a:lnTo>
                    <a:pt x="985" y="312"/>
                  </a:lnTo>
                  <a:lnTo>
                    <a:pt x="975" y="322"/>
                  </a:lnTo>
                  <a:lnTo>
                    <a:pt x="985" y="331"/>
                  </a:lnTo>
                  <a:lnTo>
                    <a:pt x="995" y="331"/>
                  </a:lnTo>
                  <a:lnTo>
                    <a:pt x="1004" y="331"/>
                  </a:lnTo>
                  <a:lnTo>
                    <a:pt x="1004" y="341"/>
                  </a:lnTo>
                  <a:lnTo>
                    <a:pt x="1004" y="351"/>
                  </a:lnTo>
                  <a:lnTo>
                    <a:pt x="985" y="341"/>
                  </a:lnTo>
                  <a:lnTo>
                    <a:pt x="975" y="341"/>
                  </a:lnTo>
                  <a:lnTo>
                    <a:pt x="965" y="331"/>
                  </a:lnTo>
                  <a:lnTo>
                    <a:pt x="965" y="312"/>
                  </a:lnTo>
                  <a:lnTo>
                    <a:pt x="956" y="302"/>
                  </a:lnTo>
                  <a:lnTo>
                    <a:pt x="946" y="292"/>
                  </a:lnTo>
                  <a:lnTo>
                    <a:pt x="936" y="292"/>
                  </a:lnTo>
                  <a:lnTo>
                    <a:pt x="926" y="292"/>
                  </a:lnTo>
                  <a:lnTo>
                    <a:pt x="917" y="283"/>
                  </a:lnTo>
                  <a:lnTo>
                    <a:pt x="897" y="273"/>
                  </a:lnTo>
                  <a:lnTo>
                    <a:pt x="887" y="253"/>
                  </a:lnTo>
                  <a:lnTo>
                    <a:pt x="887" y="244"/>
                  </a:lnTo>
                  <a:lnTo>
                    <a:pt x="897" y="234"/>
                  </a:lnTo>
                  <a:lnTo>
                    <a:pt x="897" y="214"/>
                  </a:lnTo>
                  <a:lnTo>
                    <a:pt x="897" y="195"/>
                  </a:lnTo>
                  <a:lnTo>
                    <a:pt x="907" y="185"/>
                  </a:lnTo>
                  <a:lnTo>
                    <a:pt x="917" y="175"/>
                  </a:lnTo>
                  <a:lnTo>
                    <a:pt x="926" y="166"/>
                  </a:lnTo>
                  <a:lnTo>
                    <a:pt x="936" y="156"/>
                  </a:lnTo>
                  <a:lnTo>
                    <a:pt x="936" y="146"/>
                  </a:lnTo>
                  <a:lnTo>
                    <a:pt x="936" y="136"/>
                  </a:lnTo>
                  <a:lnTo>
                    <a:pt x="946" y="127"/>
                  </a:lnTo>
                  <a:lnTo>
                    <a:pt x="946" y="117"/>
                  </a:lnTo>
                  <a:lnTo>
                    <a:pt x="946" y="97"/>
                  </a:lnTo>
                  <a:lnTo>
                    <a:pt x="936" y="88"/>
                  </a:lnTo>
                  <a:lnTo>
                    <a:pt x="926" y="97"/>
                  </a:lnTo>
                  <a:lnTo>
                    <a:pt x="926" y="107"/>
                  </a:lnTo>
                  <a:lnTo>
                    <a:pt x="917" y="127"/>
                  </a:lnTo>
                  <a:lnTo>
                    <a:pt x="917" y="146"/>
                  </a:lnTo>
                  <a:lnTo>
                    <a:pt x="907" y="156"/>
                  </a:lnTo>
                  <a:lnTo>
                    <a:pt x="897" y="175"/>
                  </a:lnTo>
                  <a:lnTo>
                    <a:pt x="878" y="175"/>
                  </a:lnTo>
                  <a:lnTo>
                    <a:pt x="858" y="175"/>
                  </a:lnTo>
                  <a:lnTo>
                    <a:pt x="848" y="175"/>
                  </a:lnTo>
                  <a:lnTo>
                    <a:pt x="839" y="185"/>
                  </a:lnTo>
                  <a:lnTo>
                    <a:pt x="829" y="195"/>
                  </a:lnTo>
                  <a:lnTo>
                    <a:pt x="809" y="205"/>
                  </a:lnTo>
                  <a:lnTo>
                    <a:pt x="800" y="205"/>
                  </a:lnTo>
                  <a:lnTo>
                    <a:pt x="800" y="214"/>
                  </a:lnTo>
                  <a:lnTo>
                    <a:pt x="800" y="224"/>
                  </a:lnTo>
                  <a:lnTo>
                    <a:pt x="809" y="234"/>
                  </a:lnTo>
                  <a:lnTo>
                    <a:pt x="809" y="263"/>
                  </a:lnTo>
                  <a:lnTo>
                    <a:pt x="800" y="283"/>
                  </a:lnTo>
                  <a:lnTo>
                    <a:pt x="809" y="312"/>
                  </a:lnTo>
                  <a:lnTo>
                    <a:pt x="809" y="331"/>
                  </a:lnTo>
                  <a:lnTo>
                    <a:pt x="800" y="331"/>
                  </a:lnTo>
                  <a:lnTo>
                    <a:pt x="780" y="341"/>
                  </a:lnTo>
                  <a:lnTo>
                    <a:pt x="770" y="351"/>
                  </a:lnTo>
                  <a:lnTo>
                    <a:pt x="761" y="361"/>
                  </a:lnTo>
                  <a:lnTo>
                    <a:pt x="761" y="370"/>
                  </a:lnTo>
                  <a:lnTo>
                    <a:pt x="741" y="390"/>
                  </a:lnTo>
                  <a:lnTo>
                    <a:pt x="741" y="409"/>
                  </a:lnTo>
                  <a:lnTo>
                    <a:pt x="741" y="429"/>
                  </a:lnTo>
                  <a:lnTo>
                    <a:pt x="741" y="439"/>
                  </a:lnTo>
                  <a:lnTo>
                    <a:pt x="731" y="449"/>
                  </a:lnTo>
                  <a:lnTo>
                    <a:pt x="722" y="458"/>
                  </a:lnTo>
                  <a:lnTo>
                    <a:pt x="722" y="468"/>
                  </a:lnTo>
                  <a:lnTo>
                    <a:pt x="731" y="468"/>
                  </a:lnTo>
                  <a:lnTo>
                    <a:pt x="741" y="468"/>
                  </a:lnTo>
                  <a:lnTo>
                    <a:pt x="751" y="478"/>
                  </a:lnTo>
                  <a:lnTo>
                    <a:pt x="751" y="488"/>
                  </a:lnTo>
                  <a:lnTo>
                    <a:pt x="770" y="488"/>
                  </a:lnTo>
                  <a:lnTo>
                    <a:pt x="790" y="488"/>
                  </a:lnTo>
                  <a:lnTo>
                    <a:pt x="800" y="488"/>
                  </a:lnTo>
                  <a:lnTo>
                    <a:pt x="809" y="488"/>
                  </a:lnTo>
                  <a:lnTo>
                    <a:pt x="829" y="497"/>
                  </a:lnTo>
                  <a:lnTo>
                    <a:pt x="839" y="517"/>
                  </a:lnTo>
                  <a:lnTo>
                    <a:pt x="848" y="527"/>
                  </a:lnTo>
                  <a:lnTo>
                    <a:pt x="848" y="536"/>
                  </a:lnTo>
                  <a:lnTo>
                    <a:pt x="858" y="546"/>
                  </a:lnTo>
                  <a:lnTo>
                    <a:pt x="858" y="556"/>
                  </a:lnTo>
                  <a:lnTo>
                    <a:pt x="858" y="575"/>
                  </a:lnTo>
                  <a:lnTo>
                    <a:pt x="858" y="585"/>
                  </a:lnTo>
                  <a:lnTo>
                    <a:pt x="868" y="605"/>
                  </a:lnTo>
                  <a:lnTo>
                    <a:pt x="858" y="614"/>
                  </a:lnTo>
                  <a:lnTo>
                    <a:pt x="858" y="624"/>
                  </a:lnTo>
                  <a:lnTo>
                    <a:pt x="848" y="624"/>
                  </a:lnTo>
                  <a:lnTo>
                    <a:pt x="839" y="624"/>
                  </a:lnTo>
                  <a:lnTo>
                    <a:pt x="829" y="634"/>
                  </a:lnTo>
                  <a:lnTo>
                    <a:pt x="819" y="644"/>
                  </a:lnTo>
                  <a:lnTo>
                    <a:pt x="819" y="663"/>
                  </a:lnTo>
                  <a:lnTo>
                    <a:pt x="819" y="673"/>
                  </a:lnTo>
                  <a:lnTo>
                    <a:pt x="829" y="673"/>
                  </a:lnTo>
                  <a:lnTo>
                    <a:pt x="829" y="683"/>
                  </a:lnTo>
                  <a:lnTo>
                    <a:pt x="848" y="692"/>
                  </a:lnTo>
                  <a:lnTo>
                    <a:pt x="858" y="692"/>
                  </a:lnTo>
                  <a:lnTo>
                    <a:pt x="868" y="702"/>
                  </a:lnTo>
                  <a:lnTo>
                    <a:pt x="868" y="712"/>
                  </a:lnTo>
                  <a:lnTo>
                    <a:pt x="858" y="702"/>
                  </a:lnTo>
                  <a:lnTo>
                    <a:pt x="848" y="702"/>
                  </a:lnTo>
                  <a:lnTo>
                    <a:pt x="829" y="692"/>
                  </a:lnTo>
                  <a:lnTo>
                    <a:pt x="819" y="702"/>
                  </a:lnTo>
                  <a:lnTo>
                    <a:pt x="819" y="692"/>
                  </a:lnTo>
                  <a:lnTo>
                    <a:pt x="809" y="683"/>
                  </a:lnTo>
                  <a:lnTo>
                    <a:pt x="800" y="663"/>
                  </a:lnTo>
                  <a:lnTo>
                    <a:pt x="809" y="653"/>
                  </a:lnTo>
                  <a:lnTo>
                    <a:pt x="809" y="634"/>
                  </a:lnTo>
                  <a:lnTo>
                    <a:pt x="819" y="624"/>
                  </a:lnTo>
                  <a:lnTo>
                    <a:pt x="829" y="614"/>
                  </a:lnTo>
                  <a:lnTo>
                    <a:pt x="819" y="605"/>
                  </a:lnTo>
                  <a:lnTo>
                    <a:pt x="839" y="595"/>
                  </a:lnTo>
                  <a:lnTo>
                    <a:pt x="839" y="585"/>
                  </a:lnTo>
                  <a:lnTo>
                    <a:pt x="839" y="575"/>
                  </a:lnTo>
                  <a:lnTo>
                    <a:pt x="829" y="566"/>
                  </a:lnTo>
                  <a:lnTo>
                    <a:pt x="829" y="546"/>
                  </a:lnTo>
                  <a:lnTo>
                    <a:pt x="829" y="527"/>
                  </a:lnTo>
                  <a:lnTo>
                    <a:pt x="819" y="517"/>
                  </a:lnTo>
                  <a:lnTo>
                    <a:pt x="800" y="517"/>
                  </a:lnTo>
                  <a:lnTo>
                    <a:pt x="761" y="507"/>
                  </a:lnTo>
                  <a:lnTo>
                    <a:pt x="741" y="517"/>
                  </a:lnTo>
                  <a:lnTo>
                    <a:pt x="731" y="527"/>
                  </a:lnTo>
                  <a:lnTo>
                    <a:pt x="731" y="536"/>
                  </a:lnTo>
                  <a:lnTo>
                    <a:pt x="712" y="546"/>
                  </a:lnTo>
                  <a:lnTo>
                    <a:pt x="712" y="566"/>
                  </a:lnTo>
                  <a:lnTo>
                    <a:pt x="712" y="575"/>
                  </a:lnTo>
                  <a:lnTo>
                    <a:pt x="712" y="605"/>
                  </a:lnTo>
                  <a:lnTo>
                    <a:pt x="702" y="614"/>
                  </a:lnTo>
                  <a:lnTo>
                    <a:pt x="692" y="634"/>
                  </a:lnTo>
                  <a:lnTo>
                    <a:pt x="673" y="634"/>
                  </a:lnTo>
                  <a:lnTo>
                    <a:pt x="653" y="644"/>
                  </a:lnTo>
                  <a:lnTo>
                    <a:pt x="644" y="673"/>
                  </a:lnTo>
                  <a:lnTo>
                    <a:pt x="634" y="683"/>
                  </a:lnTo>
                  <a:lnTo>
                    <a:pt x="605" y="692"/>
                  </a:lnTo>
                  <a:lnTo>
                    <a:pt x="595" y="702"/>
                  </a:lnTo>
                  <a:lnTo>
                    <a:pt x="566" y="712"/>
                  </a:lnTo>
                  <a:lnTo>
                    <a:pt x="556" y="712"/>
                  </a:lnTo>
                  <a:lnTo>
                    <a:pt x="546" y="722"/>
                  </a:lnTo>
                  <a:lnTo>
                    <a:pt x="536" y="731"/>
                  </a:lnTo>
                  <a:lnTo>
                    <a:pt x="517" y="741"/>
                  </a:lnTo>
                  <a:lnTo>
                    <a:pt x="507" y="731"/>
                  </a:lnTo>
                  <a:lnTo>
                    <a:pt x="497" y="722"/>
                  </a:lnTo>
                  <a:lnTo>
                    <a:pt x="497" y="712"/>
                  </a:lnTo>
                  <a:lnTo>
                    <a:pt x="478" y="712"/>
                  </a:lnTo>
                  <a:lnTo>
                    <a:pt x="458" y="702"/>
                  </a:lnTo>
                  <a:lnTo>
                    <a:pt x="448" y="692"/>
                  </a:lnTo>
                  <a:lnTo>
                    <a:pt x="439" y="692"/>
                  </a:lnTo>
                  <a:lnTo>
                    <a:pt x="429" y="673"/>
                  </a:lnTo>
                  <a:lnTo>
                    <a:pt x="419" y="663"/>
                  </a:lnTo>
                  <a:lnTo>
                    <a:pt x="409" y="653"/>
                  </a:lnTo>
                  <a:lnTo>
                    <a:pt x="409" y="634"/>
                  </a:lnTo>
                  <a:lnTo>
                    <a:pt x="419" y="634"/>
                  </a:lnTo>
                  <a:lnTo>
                    <a:pt x="429" y="634"/>
                  </a:lnTo>
                  <a:lnTo>
                    <a:pt x="429" y="644"/>
                  </a:lnTo>
                  <a:lnTo>
                    <a:pt x="429" y="653"/>
                  </a:lnTo>
                  <a:lnTo>
                    <a:pt x="429" y="66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48" y="663"/>
                  </a:lnTo>
                  <a:lnTo>
                    <a:pt x="448" y="644"/>
                  </a:lnTo>
                  <a:lnTo>
                    <a:pt x="439" y="634"/>
                  </a:lnTo>
                  <a:lnTo>
                    <a:pt x="448" y="634"/>
                  </a:lnTo>
                  <a:lnTo>
                    <a:pt x="458" y="634"/>
                  </a:lnTo>
                  <a:lnTo>
                    <a:pt x="458" y="644"/>
                  </a:lnTo>
                  <a:lnTo>
                    <a:pt x="458" y="663"/>
                  </a:lnTo>
                  <a:lnTo>
                    <a:pt x="468" y="663"/>
                  </a:lnTo>
                  <a:lnTo>
                    <a:pt x="458" y="673"/>
                  </a:lnTo>
                  <a:lnTo>
                    <a:pt x="458" y="683"/>
                  </a:lnTo>
                  <a:lnTo>
                    <a:pt x="468" y="683"/>
                  </a:lnTo>
                  <a:lnTo>
                    <a:pt x="478" y="683"/>
                  </a:lnTo>
                  <a:lnTo>
                    <a:pt x="487" y="683"/>
                  </a:lnTo>
                  <a:lnTo>
                    <a:pt x="497" y="683"/>
                  </a:lnTo>
                  <a:lnTo>
                    <a:pt x="517" y="683"/>
                  </a:lnTo>
                  <a:lnTo>
                    <a:pt x="517" y="673"/>
                  </a:lnTo>
                  <a:lnTo>
                    <a:pt x="517" y="663"/>
                  </a:lnTo>
                  <a:lnTo>
                    <a:pt x="517" y="653"/>
                  </a:lnTo>
                  <a:lnTo>
                    <a:pt x="527" y="653"/>
                  </a:lnTo>
                  <a:lnTo>
                    <a:pt x="536" y="663"/>
                  </a:lnTo>
                  <a:lnTo>
                    <a:pt x="546" y="663"/>
                  </a:lnTo>
                  <a:lnTo>
                    <a:pt x="556" y="653"/>
                  </a:lnTo>
                  <a:lnTo>
                    <a:pt x="556" y="634"/>
                  </a:lnTo>
                  <a:lnTo>
                    <a:pt x="566" y="634"/>
                  </a:lnTo>
                  <a:lnTo>
                    <a:pt x="575" y="634"/>
                  </a:lnTo>
                  <a:lnTo>
                    <a:pt x="566" y="624"/>
                  </a:lnTo>
                  <a:lnTo>
                    <a:pt x="575" y="624"/>
                  </a:lnTo>
                  <a:lnTo>
                    <a:pt x="585" y="624"/>
                  </a:lnTo>
                  <a:lnTo>
                    <a:pt x="595" y="614"/>
                  </a:lnTo>
                  <a:lnTo>
                    <a:pt x="605" y="605"/>
                  </a:lnTo>
                  <a:lnTo>
                    <a:pt x="614" y="605"/>
                  </a:lnTo>
                  <a:lnTo>
                    <a:pt x="624" y="605"/>
                  </a:lnTo>
                  <a:lnTo>
                    <a:pt x="634" y="595"/>
                  </a:lnTo>
                  <a:lnTo>
                    <a:pt x="644" y="585"/>
                  </a:lnTo>
                  <a:lnTo>
                    <a:pt x="644" y="566"/>
                  </a:lnTo>
                  <a:lnTo>
                    <a:pt x="653" y="556"/>
                  </a:lnTo>
                  <a:lnTo>
                    <a:pt x="653" y="546"/>
                  </a:lnTo>
                  <a:lnTo>
                    <a:pt x="673" y="546"/>
                  </a:lnTo>
                  <a:lnTo>
                    <a:pt x="683" y="536"/>
                  </a:lnTo>
                  <a:lnTo>
                    <a:pt x="683" y="527"/>
                  </a:lnTo>
                  <a:lnTo>
                    <a:pt x="683" y="497"/>
                  </a:lnTo>
                  <a:lnTo>
                    <a:pt x="673" y="488"/>
                  </a:lnTo>
                  <a:lnTo>
                    <a:pt x="663" y="478"/>
                  </a:lnTo>
                  <a:lnTo>
                    <a:pt x="663" y="468"/>
                  </a:lnTo>
                  <a:lnTo>
                    <a:pt x="673" y="449"/>
                  </a:lnTo>
                  <a:lnTo>
                    <a:pt x="673" y="439"/>
                  </a:lnTo>
                  <a:lnTo>
                    <a:pt x="683" y="429"/>
                  </a:lnTo>
                  <a:lnTo>
                    <a:pt x="692" y="419"/>
                  </a:lnTo>
                  <a:lnTo>
                    <a:pt x="692" y="409"/>
                  </a:lnTo>
                  <a:lnTo>
                    <a:pt x="702" y="390"/>
                  </a:lnTo>
                  <a:lnTo>
                    <a:pt x="712" y="380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31" y="341"/>
                  </a:lnTo>
                  <a:lnTo>
                    <a:pt x="731" y="322"/>
                  </a:lnTo>
                  <a:lnTo>
                    <a:pt x="741" y="312"/>
                  </a:lnTo>
                  <a:lnTo>
                    <a:pt x="751" y="302"/>
                  </a:lnTo>
                  <a:lnTo>
                    <a:pt x="761" y="292"/>
                  </a:lnTo>
                  <a:lnTo>
                    <a:pt x="761" y="283"/>
                  </a:lnTo>
                  <a:lnTo>
                    <a:pt x="761" y="263"/>
                  </a:lnTo>
                  <a:lnTo>
                    <a:pt x="770" y="253"/>
                  </a:lnTo>
                  <a:lnTo>
                    <a:pt x="770" y="234"/>
                  </a:lnTo>
                  <a:lnTo>
                    <a:pt x="770" y="224"/>
                  </a:lnTo>
                  <a:lnTo>
                    <a:pt x="761" y="214"/>
                  </a:lnTo>
                  <a:lnTo>
                    <a:pt x="761" y="195"/>
                  </a:lnTo>
                  <a:lnTo>
                    <a:pt x="770" y="185"/>
                  </a:lnTo>
                  <a:lnTo>
                    <a:pt x="780" y="185"/>
                  </a:lnTo>
                  <a:lnTo>
                    <a:pt x="790" y="175"/>
                  </a:lnTo>
                  <a:lnTo>
                    <a:pt x="800" y="156"/>
                  </a:lnTo>
                  <a:lnTo>
                    <a:pt x="809" y="146"/>
                  </a:lnTo>
                  <a:lnTo>
                    <a:pt x="829" y="136"/>
                  </a:lnTo>
                  <a:lnTo>
                    <a:pt x="829" y="127"/>
                  </a:lnTo>
                  <a:lnTo>
                    <a:pt x="839" y="127"/>
                  </a:lnTo>
                  <a:lnTo>
                    <a:pt x="839" y="117"/>
                  </a:lnTo>
                  <a:lnTo>
                    <a:pt x="848" y="97"/>
                  </a:lnTo>
                  <a:lnTo>
                    <a:pt x="848" y="88"/>
                  </a:lnTo>
                  <a:lnTo>
                    <a:pt x="848" y="68"/>
                  </a:lnTo>
                  <a:lnTo>
                    <a:pt x="848" y="58"/>
                  </a:lnTo>
                  <a:lnTo>
                    <a:pt x="839" y="58"/>
                  </a:lnTo>
                  <a:lnTo>
                    <a:pt x="829" y="58"/>
                  </a:lnTo>
                  <a:lnTo>
                    <a:pt x="829" y="48"/>
                  </a:lnTo>
                  <a:lnTo>
                    <a:pt x="819" y="39"/>
                  </a:lnTo>
                  <a:lnTo>
                    <a:pt x="800" y="29"/>
                  </a:lnTo>
                  <a:lnTo>
                    <a:pt x="800" y="39"/>
                  </a:lnTo>
                  <a:lnTo>
                    <a:pt x="800" y="29"/>
                  </a:lnTo>
                  <a:lnTo>
                    <a:pt x="780" y="19"/>
                  </a:lnTo>
                  <a:lnTo>
                    <a:pt x="761" y="19"/>
                  </a:lnTo>
                  <a:lnTo>
                    <a:pt x="761" y="9"/>
                  </a:lnTo>
                  <a:lnTo>
                    <a:pt x="761" y="0"/>
                  </a:lnTo>
                  <a:lnTo>
                    <a:pt x="751" y="9"/>
                  </a:lnTo>
                  <a:lnTo>
                    <a:pt x="741" y="19"/>
                  </a:lnTo>
                  <a:lnTo>
                    <a:pt x="722" y="29"/>
                  </a:lnTo>
                  <a:lnTo>
                    <a:pt x="712" y="39"/>
                  </a:lnTo>
                  <a:lnTo>
                    <a:pt x="712" y="48"/>
                  </a:lnTo>
                  <a:lnTo>
                    <a:pt x="702" y="58"/>
                  </a:lnTo>
                  <a:lnTo>
                    <a:pt x="692" y="78"/>
                  </a:lnTo>
                  <a:lnTo>
                    <a:pt x="683" y="78"/>
                  </a:lnTo>
                  <a:lnTo>
                    <a:pt x="673" y="97"/>
                  </a:lnTo>
                  <a:lnTo>
                    <a:pt x="663" y="107"/>
                  </a:lnTo>
                  <a:lnTo>
                    <a:pt x="644" y="117"/>
                  </a:lnTo>
                  <a:lnTo>
                    <a:pt x="624" y="117"/>
                  </a:lnTo>
                  <a:lnTo>
                    <a:pt x="605" y="127"/>
                  </a:lnTo>
                  <a:lnTo>
                    <a:pt x="575" y="136"/>
                  </a:lnTo>
                  <a:lnTo>
                    <a:pt x="566" y="146"/>
                  </a:lnTo>
                  <a:lnTo>
                    <a:pt x="566" y="156"/>
                  </a:lnTo>
                  <a:lnTo>
                    <a:pt x="556" y="156"/>
                  </a:lnTo>
                  <a:lnTo>
                    <a:pt x="556" y="166"/>
                  </a:lnTo>
                  <a:lnTo>
                    <a:pt x="546" y="175"/>
                  </a:lnTo>
                  <a:lnTo>
                    <a:pt x="536" y="175"/>
                  </a:lnTo>
                  <a:lnTo>
                    <a:pt x="556" y="175"/>
                  </a:lnTo>
                  <a:lnTo>
                    <a:pt x="566" y="185"/>
                  </a:lnTo>
                  <a:lnTo>
                    <a:pt x="566" y="195"/>
                  </a:lnTo>
                  <a:lnTo>
                    <a:pt x="556" y="195"/>
                  </a:lnTo>
                  <a:lnTo>
                    <a:pt x="546" y="214"/>
                  </a:lnTo>
                  <a:lnTo>
                    <a:pt x="546" y="224"/>
                  </a:lnTo>
                  <a:lnTo>
                    <a:pt x="546" y="234"/>
                  </a:lnTo>
                  <a:lnTo>
                    <a:pt x="536" y="234"/>
                  </a:lnTo>
                  <a:lnTo>
                    <a:pt x="527" y="244"/>
                  </a:lnTo>
                  <a:lnTo>
                    <a:pt x="527" y="263"/>
                  </a:lnTo>
                  <a:lnTo>
                    <a:pt x="517" y="263"/>
                  </a:lnTo>
                  <a:lnTo>
                    <a:pt x="507" y="263"/>
                  </a:lnTo>
                  <a:lnTo>
                    <a:pt x="497" y="253"/>
                  </a:lnTo>
                  <a:lnTo>
                    <a:pt x="497" y="273"/>
                  </a:lnTo>
                  <a:lnTo>
                    <a:pt x="487" y="283"/>
                  </a:lnTo>
                  <a:lnTo>
                    <a:pt x="478" y="292"/>
                  </a:lnTo>
                  <a:lnTo>
                    <a:pt x="487" y="302"/>
                  </a:lnTo>
                  <a:lnTo>
                    <a:pt x="497" y="292"/>
                  </a:lnTo>
                  <a:lnTo>
                    <a:pt x="497" y="302"/>
                  </a:lnTo>
                  <a:lnTo>
                    <a:pt x="507" y="312"/>
                  </a:lnTo>
                  <a:lnTo>
                    <a:pt x="507" y="322"/>
                  </a:lnTo>
                  <a:lnTo>
                    <a:pt x="517" y="331"/>
                  </a:lnTo>
                  <a:lnTo>
                    <a:pt x="527" y="331"/>
                  </a:lnTo>
                  <a:lnTo>
                    <a:pt x="517" y="341"/>
                  </a:lnTo>
                  <a:lnTo>
                    <a:pt x="507" y="341"/>
                  </a:lnTo>
                  <a:lnTo>
                    <a:pt x="507" y="351"/>
                  </a:lnTo>
                  <a:lnTo>
                    <a:pt x="507" y="370"/>
                  </a:lnTo>
                  <a:lnTo>
                    <a:pt x="507" y="400"/>
                  </a:lnTo>
                  <a:lnTo>
                    <a:pt x="527" y="409"/>
                  </a:lnTo>
                  <a:lnTo>
                    <a:pt x="527" y="419"/>
                  </a:lnTo>
                  <a:lnTo>
                    <a:pt x="507" y="429"/>
                  </a:lnTo>
                  <a:lnTo>
                    <a:pt x="497" y="439"/>
                  </a:lnTo>
                  <a:lnTo>
                    <a:pt x="478" y="449"/>
                  </a:lnTo>
                  <a:lnTo>
                    <a:pt x="478" y="458"/>
                  </a:lnTo>
                  <a:lnTo>
                    <a:pt x="468" y="468"/>
                  </a:lnTo>
                  <a:lnTo>
                    <a:pt x="458" y="468"/>
                  </a:lnTo>
                  <a:lnTo>
                    <a:pt x="468" y="458"/>
                  </a:lnTo>
                  <a:lnTo>
                    <a:pt x="468" y="449"/>
                  </a:lnTo>
                  <a:lnTo>
                    <a:pt x="458" y="439"/>
                  </a:lnTo>
                  <a:lnTo>
                    <a:pt x="448" y="429"/>
                  </a:lnTo>
                  <a:lnTo>
                    <a:pt x="448" y="400"/>
                  </a:lnTo>
                  <a:lnTo>
                    <a:pt x="439" y="390"/>
                  </a:lnTo>
                  <a:lnTo>
                    <a:pt x="439" y="370"/>
                  </a:lnTo>
                  <a:lnTo>
                    <a:pt x="429" y="361"/>
                  </a:lnTo>
                  <a:lnTo>
                    <a:pt x="429" y="351"/>
                  </a:lnTo>
                  <a:lnTo>
                    <a:pt x="419" y="341"/>
                  </a:lnTo>
                  <a:lnTo>
                    <a:pt x="409" y="331"/>
                  </a:lnTo>
                  <a:lnTo>
                    <a:pt x="419" y="32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12"/>
                  </a:lnTo>
                  <a:lnTo>
                    <a:pt x="370" y="302"/>
                  </a:lnTo>
                  <a:lnTo>
                    <a:pt x="361" y="302"/>
                  </a:lnTo>
                  <a:lnTo>
                    <a:pt x="361" y="312"/>
                  </a:lnTo>
                  <a:lnTo>
                    <a:pt x="370" y="331"/>
                  </a:lnTo>
                  <a:lnTo>
                    <a:pt x="370" y="351"/>
                  </a:lnTo>
                  <a:lnTo>
                    <a:pt x="361" y="370"/>
                  </a:lnTo>
                  <a:lnTo>
                    <a:pt x="351" y="380"/>
                  </a:lnTo>
                  <a:lnTo>
                    <a:pt x="341" y="400"/>
                  </a:lnTo>
                  <a:lnTo>
                    <a:pt x="341" y="409"/>
                  </a:lnTo>
                  <a:lnTo>
                    <a:pt x="351" y="429"/>
                  </a:lnTo>
                  <a:lnTo>
                    <a:pt x="361" y="449"/>
                  </a:lnTo>
                  <a:lnTo>
                    <a:pt x="361" y="458"/>
                  </a:lnTo>
                  <a:lnTo>
                    <a:pt x="341" y="468"/>
                  </a:lnTo>
                  <a:lnTo>
                    <a:pt x="331" y="468"/>
                  </a:lnTo>
                  <a:lnTo>
                    <a:pt x="341" y="478"/>
                  </a:lnTo>
                  <a:lnTo>
                    <a:pt x="331" y="488"/>
                  </a:lnTo>
                  <a:lnTo>
                    <a:pt x="302" y="488"/>
                  </a:lnTo>
                  <a:lnTo>
                    <a:pt x="283" y="488"/>
                  </a:lnTo>
                  <a:lnTo>
                    <a:pt x="273" y="497"/>
                  </a:lnTo>
                  <a:lnTo>
                    <a:pt x="253" y="507"/>
                  </a:lnTo>
                  <a:lnTo>
                    <a:pt x="234" y="517"/>
                  </a:lnTo>
                  <a:lnTo>
                    <a:pt x="205" y="517"/>
                  </a:lnTo>
                  <a:lnTo>
                    <a:pt x="185" y="517"/>
                  </a:lnTo>
                  <a:lnTo>
                    <a:pt x="166" y="507"/>
                  </a:lnTo>
                  <a:lnTo>
                    <a:pt x="166" y="527"/>
                  </a:lnTo>
                  <a:lnTo>
                    <a:pt x="146" y="536"/>
                  </a:lnTo>
                  <a:lnTo>
                    <a:pt x="136" y="536"/>
                  </a:lnTo>
                  <a:lnTo>
                    <a:pt x="117" y="546"/>
                  </a:lnTo>
                  <a:lnTo>
                    <a:pt x="107" y="556"/>
                  </a:lnTo>
                  <a:lnTo>
                    <a:pt x="68" y="56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1" name="Freeform 70"/>
            <p:cNvSpPr>
              <a:spLocks/>
            </p:cNvSpPr>
            <p:nvPr/>
          </p:nvSpPr>
          <p:spPr bwMode="auto">
            <a:xfrm>
              <a:off x="6340" y="3855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1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1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1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1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22" name="Group 67"/>
            <p:cNvGrpSpPr>
              <a:grpSpLocks/>
            </p:cNvGrpSpPr>
            <p:nvPr/>
          </p:nvGrpSpPr>
          <p:grpSpPr bwMode="auto">
            <a:xfrm>
              <a:off x="6339" y="3854"/>
              <a:ext cx="254" cy="176"/>
              <a:chOff x="6340" y="3854"/>
              <a:chExt cx="254" cy="176"/>
            </a:xfrm>
          </p:grpSpPr>
          <p:sp>
            <p:nvSpPr>
              <p:cNvPr id="674" name="Freeform 69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69 w 254"/>
                  <a:gd name="T101" fmla="*/ 166 h 1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54"/>
                  <a:gd name="T154" fmla="*/ 0 h 176"/>
                  <a:gd name="T155" fmla="*/ 254 w 254"/>
                  <a:gd name="T156" fmla="*/ 176 h 1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  <a:lnTo>
                      <a:pt x="69" y="166"/>
                    </a:lnTo>
                    <a:close/>
                  </a:path>
                </a:pathLst>
              </a:custGeom>
              <a:solidFill>
                <a:srgbClr val="1F497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5" name="Freeform 68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4"/>
                  <a:gd name="T151" fmla="*/ 0 h 176"/>
                  <a:gd name="T152" fmla="*/ 254 w 254"/>
                  <a:gd name="T153" fmla="*/ 176 h 17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</a:path>
                </a:pathLst>
              </a:custGeom>
              <a:solidFill>
                <a:srgbClr val="DBDBDB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23" name="Freeform 66"/>
            <p:cNvSpPr>
              <a:spLocks/>
            </p:cNvSpPr>
            <p:nvPr/>
          </p:nvSpPr>
          <p:spPr bwMode="auto">
            <a:xfrm>
              <a:off x="5522" y="3768"/>
              <a:ext cx="273" cy="153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0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0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0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24" name="Group 63"/>
            <p:cNvGrpSpPr>
              <a:grpSpLocks/>
            </p:cNvGrpSpPr>
            <p:nvPr/>
          </p:nvGrpSpPr>
          <p:grpSpPr bwMode="auto">
            <a:xfrm>
              <a:off x="5520" y="3766"/>
              <a:ext cx="273" cy="156"/>
              <a:chOff x="5521" y="3766"/>
              <a:chExt cx="273" cy="156"/>
            </a:xfrm>
          </p:grpSpPr>
          <p:sp>
            <p:nvSpPr>
              <p:cNvPr id="672" name="Freeform 65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88 w 273"/>
                  <a:gd name="T63" fmla="*/ 107 h 15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3"/>
                  <a:gd name="T97" fmla="*/ 0 h 156"/>
                  <a:gd name="T98" fmla="*/ 273 w 273"/>
                  <a:gd name="T99" fmla="*/ 156 h 15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  <a:lnTo>
                      <a:pt x="88" y="107"/>
                    </a:lnTo>
                    <a:close/>
                  </a:path>
                </a:pathLst>
              </a:custGeom>
              <a:solidFill>
                <a:srgbClr val="1F497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3" name="Freeform 64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18 h 156"/>
                  <a:gd name="T2" fmla="*/ 107 w 273"/>
                  <a:gd name="T3" fmla="*/ 138 h 156"/>
                  <a:gd name="T4" fmla="*/ 127 w 273"/>
                  <a:gd name="T5" fmla="*/ 109 h 156"/>
                  <a:gd name="T6" fmla="*/ 136 w 273"/>
                  <a:gd name="T7" fmla="*/ 109 h 156"/>
                  <a:gd name="T8" fmla="*/ 136 w 273"/>
                  <a:gd name="T9" fmla="*/ 149 h 156"/>
                  <a:gd name="T10" fmla="*/ 174 w 273"/>
                  <a:gd name="T11" fmla="*/ 178 h 156"/>
                  <a:gd name="T12" fmla="*/ 223 w 273"/>
                  <a:gd name="T13" fmla="*/ 149 h 156"/>
                  <a:gd name="T14" fmla="*/ 223 w 273"/>
                  <a:gd name="T15" fmla="*/ 109 h 156"/>
                  <a:gd name="T16" fmla="*/ 262 w 273"/>
                  <a:gd name="T17" fmla="*/ 79 h 156"/>
                  <a:gd name="T18" fmla="*/ 233 w 273"/>
                  <a:gd name="T19" fmla="*/ 70 h 156"/>
                  <a:gd name="T20" fmla="*/ 223 w 273"/>
                  <a:gd name="T21" fmla="*/ 29 h 156"/>
                  <a:gd name="T22" fmla="*/ 213 w 273"/>
                  <a:gd name="T23" fmla="*/ 29 h 156"/>
                  <a:gd name="T24" fmla="*/ 213 w 273"/>
                  <a:gd name="T25" fmla="*/ 60 h 156"/>
                  <a:gd name="T26" fmla="*/ 194 w 273"/>
                  <a:gd name="T27" fmla="*/ 60 h 156"/>
                  <a:gd name="T28" fmla="*/ 164 w 273"/>
                  <a:gd name="T29" fmla="*/ 79 h 156"/>
                  <a:gd name="T30" fmla="*/ 136 w 273"/>
                  <a:gd name="T31" fmla="*/ 60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60 h 156"/>
                  <a:gd name="T48" fmla="*/ 39 w 273"/>
                  <a:gd name="T49" fmla="*/ 79 h 156"/>
                  <a:gd name="T50" fmla="*/ 19 w 273"/>
                  <a:gd name="T51" fmla="*/ 79 h 156"/>
                  <a:gd name="T52" fmla="*/ 0 w 273"/>
                  <a:gd name="T53" fmla="*/ 89 h 156"/>
                  <a:gd name="T54" fmla="*/ 0 w 273"/>
                  <a:gd name="T55" fmla="*/ 109 h 156"/>
                  <a:gd name="T56" fmla="*/ 29 w 273"/>
                  <a:gd name="T57" fmla="*/ 118 h 156"/>
                  <a:gd name="T58" fmla="*/ 58 w 273"/>
                  <a:gd name="T59" fmla="*/ 109 h 156"/>
                  <a:gd name="T60" fmla="*/ 88 w 273"/>
                  <a:gd name="T61" fmla="*/ 89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3"/>
                  <a:gd name="T94" fmla="*/ 0 h 156"/>
                  <a:gd name="T95" fmla="*/ 273 w 273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</a:path>
                </a:pathLst>
              </a:custGeom>
              <a:solidFill>
                <a:srgbClr val="DBDBDB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25" name="Freeform 62"/>
            <p:cNvSpPr>
              <a:spLocks/>
            </p:cNvSpPr>
            <p:nvPr/>
          </p:nvSpPr>
          <p:spPr bwMode="auto">
            <a:xfrm>
              <a:off x="4511" y="1079"/>
              <a:ext cx="1345" cy="1154"/>
            </a:xfrm>
            <a:custGeom>
              <a:avLst/>
              <a:gdLst>
                <a:gd name="T0" fmla="*/ 1240 w 1346"/>
                <a:gd name="T1" fmla="*/ 537 h 1152"/>
                <a:gd name="T2" fmla="*/ 1357 w 1346"/>
                <a:gd name="T3" fmla="*/ 714 h 1152"/>
                <a:gd name="T4" fmla="*/ 1269 w 1346"/>
                <a:gd name="T5" fmla="*/ 841 h 1152"/>
                <a:gd name="T6" fmla="*/ 1162 w 1346"/>
                <a:gd name="T7" fmla="*/ 928 h 1152"/>
                <a:gd name="T8" fmla="*/ 986 w 1346"/>
                <a:gd name="T9" fmla="*/ 958 h 1152"/>
                <a:gd name="T10" fmla="*/ 879 w 1346"/>
                <a:gd name="T11" fmla="*/ 899 h 1152"/>
                <a:gd name="T12" fmla="*/ 663 w 1346"/>
                <a:gd name="T13" fmla="*/ 958 h 1152"/>
                <a:gd name="T14" fmla="*/ 546 w 1346"/>
                <a:gd name="T15" fmla="*/ 1065 h 1152"/>
                <a:gd name="T16" fmla="*/ 370 w 1346"/>
                <a:gd name="T17" fmla="*/ 1153 h 1152"/>
                <a:gd name="T18" fmla="*/ 205 w 1346"/>
                <a:gd name="T19" fmla="*/ 1075 h 1152"/>
                <a:gd name="T20" fmla="*/ 127 w 1346"/>
                <a:gd name="T21" fmla="*/ 1016 h 1152"/>
                <a:gd name="T22" fmla="*/ 107 w 1346"/>
                <a:gd name="T23" fmla="*/ 919 h 1152"/>
                <a:gd name="T24" fmla="*/ 48 w 1346"/>
                <a:gd name="T25" fmla="*/ 860 h 1152"/>
                <a:gd name="T26" fmla="*/ 29 w 1346"/>
                <a:gd name="T27" fmla="*/ 753 h 1152"/>
                <a:gd name="T28" fmla="*/ 97 w 1346"/>
                <a:gd name="T29" fmla="*/ 655 h 1152"/>
                <a:gd name="T30" fmla="*/ 117 w 1346"/>
                <a:gd name="T31" fmla="*/ 547 h 1152"/>
                <a:gd name="T32" fmla="*/ 136 w 1346"/>
                <a:gd name="T33" fmla="*/ 527 h 1152"/>
                <a:gd name="T34" fmla="*/ 224 w 1346"/>
                <a:gd name="T35" fmla="*/ 606 h 1152"/>
                <a:gd name="T36" fmla="*/ 185 w 1346"/>
                <a:gd name="T37" fmla="*/ 675 h 1152"/>
                <a:gd name="T38" fmla="*/ 205 w 1346"/>
                <a:gd name="T39" fmla="*/ 694 h 1152"/>
                <a:gd name="T40" fmla="*/ 166 w 1346"/>
                <a:gd name="T41" fmla="*/ 792 h 1152"/>
                <a:gd name="T42" fmla="*/ 205 w 1346"/>
                <a:gd name="T43" fmla="*/ 860 h 1152"/>
                <a:gd name="T44" fmla="*/ 205 w 1346"/>
                <a:gd name="T45" fmla="*/ 772 h 1152"/>
                <a:gd name="T46" fmla="*/ 244 w 1346"/>
                <a:gd name="T47" fmla="*/ 645 h 1152"/>
                <a:gd name="T48" fmla="*/ 175 w 1346"/>
                <a:gd name="T49" fmla="*/ 508 h 1152"/>
                <a:gd name="T50" fmla="*/ 195 w 1346"/>
                <a:gd name="T51" fmla="*/ 400 h 1152"/>
                <a:gd name="T52" fmla="*/ 370 w 1346"/>
                <a:gd name="T53" fmla="*/ 400 h 1152"/>
                <a:gd name="T54" fmla="*/ 419 w 1346"/>
                <a:gd name="T55" fmla="*/ 410 h 1152"/>
                <a:gd name="T56" fmla="*/ 419 w 1346"/>
                <a:gd name="T57" fmla="*/ 332 h 1152"/>
                <a:gd name="T58" fmla="*/ 409 w 1346"/>
                <a:gd name="T59" fmla="*/ 303 h 1152"/>
                <a:gd name="T60" fmla="*/ 448 w 1346"/>
                <a:gd name="T61" fmla="*/ 293 h 1152"/>
                <a:gd name="T62" fmla="*/ 478 w 1346"/>
                <a:gd name="T63" fmla="*/ 273 h 1152"/>
                <a:gd name="T64" fmla="*/ 575 w 1346"/>
                <a:gd name="T65" fmla="*/ 225 h 1152"/>
                <a:gd name="T66" fmla="*/ 684 w 1346"/>
                <a:gd name="T67" fmla="*/ 215 h 1152"/>
                <a:gd name="T68" fmla="*/ 663 w 1346"/>
                <a:gd name="T69" fmla="*/ 186 h 1152"/>
                <a:gd name="T70" fmla="*/ 733 w 1346"/>
                <a:gd name="T71" fmla="*/ 186 h 1152"/>
                <a:gd name="T72" fmla="*/ 772 w 1346"/>
                <a:gd name="T73" fmla="*/ 205 h 1152"/>
                <a:gd name="T74" fmla="*/ 850 w 1346"/>
                <a:gd name="T75" fmla="*/ 176 h 1152"/>
                <a:gd name="T76" fmla="*/ 859 w 1346"/>
                <a:gd name="T77" fmla="*/ 147 h 1152"/>
                <a:gd name="T78" fmla="*/ 918 w 1346"/>
                <a:gd name="T79" fmla="*/ 137 h 1152"/>
                <a:gd name="T80" fmla="*/ 908 w 1346"/>
                <a:gd name="T81" fmla="*/ 69 h 1152"/>
                <a:gd name="T82" fmla="*/ 976 w 1346"/>
                <a:gd name="T83" fmla="*/ 0 h 1152"/>
                <a:gd name="T84" fmla="*/ 1035 w 1346"/>
                <a:gd name="T85" fmla="*/ 39 h 1152"/>
                <a:gd name="T86" fmla="*/ 1035 w 1346"/>
                <a:gd name="T87" fmla="*/ 78 h 1152"/>
                <a:gd name="T88" fmla="*/ 1064 w 1346"/>
                <a:gd name="T89" fmla="*/ 137 h 1152"/>
                <a:gd name="T90" fmla="*/ 1142 w 1346"/>
                <a:gd name="T91" fmla="*/ 98 h 1152"/>
                <a:gd name="T92" fmla="*/ 1220 w 1346"/>
                <a:gd name="T93" fmla="*/ 108 h 1152"/>
                <a:gd name="T94" fmla="*/ 1269 w 1346"/>
                <a:gd name="T95" fmla="*/ 156 h 1152"/>
                <a:gd name="T96" fmla="*/ 1298 w 1346"/>
                <a:gd name="T97" fmla="*/ 166 h 1152"/>
                <a:gd name="T98" fmla="*/ 1269 w 1346"/>
                <a:gd name="T99" fmla="*/ 205 h 1152"/>
                <a:gd name="T100" fmla="*/ 1298 w 1346"/>
                <a:gd name="T101" fmla="*/ 273 h 1152"/>
                <a:gd name="T102" fmla="*/ 1210 w 1346"/>
                <a:gd name="T103" fmla="*/ 361 h 1152"/>
                <a:gd name="T104" fmla="*/ 1162 w 1346"/>
                <a:gd name="T105" fmla="*/ 449 h 1152"/>
                <a:gd name="T106" fmla="*/ 1084 w 1346"/>
                <a:gd name="T107" fmla="*/ 527 h 1152"/>
                <a:gd name="T108" fmla="*/ 1132 w 1346"/>
                <a:gd name="T109" fmla="*/ 508 h 1152"/>
                <a:gd name="T110" fmla="*/ 1210 w 1346"/>
                <a:gd name="T111" fmla="*/ 469 h 1152"/>
                <a:gd name="T112" fmla="*/ 1201 w 1346"/>
                <a:gd name="T113" fmla="*/ 430 h 1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46"/>
                <a:gd name="T172" fmla="*/ 0 h 1152"/>
                <a:gd name="T173" fmla="*/ 1346 w 1346"/>
                <a:gd name="T174" fmla="*/ 1152 h 1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46" h="1152">
                  <a:moveTo>
                    <a:pt x="1248" y="410"/>
                  </a:moveTo>
                  <a:lnTo>
                    <a:pt x="1238" y="420"/>
                  </a:lnTo>
                  <a:lnTo>
                    <a:pt x="1238" y="430"/>
                  </a:lnTo>
                  <a:lnTo>
                    <a:pt x="1238" y="439"/>
                  </a:lnTo>
                  <a:lnTo>
                    <a:pt x="1219" y="459"/>
                  </a:lnTo>
                  <a:lnTo>
                    <a:pt x="1209" y="469"/>
                  </a:lnTo>
                  <a:lnTo>
                    <a:pt x="1229" y="488"/>
                  </a:lnTo>
                  <a:lnTo>
                    <a:pt x="1238" y="508"/>
                  </a:lnTo>
                  <a:lnTo>
                    <a:pt x="1229" y="537"/>
                  </a:lnTo>
                  <a:lnTo>
                    <a:pt x="1258" y="556"/>
                  </a:lnTo>
                  <a:lnTo>
                    <a:pt x="1258" y="576"/>
                  </a:lnTo>
                  <a:lnTo>
                    <a:pt x="1268" y="576"/>
                  </a:lnTo>
                  <a:lnTo>
                    <a:pt x="1287" y="595"/>
                  </a:lnTo>
                  <a:lnTo>
                    <a:pt x="1317" y="625"/>
                  </a:lnTo>
                  <a:lnTo>
                    <a:pt x="1317" y="654"/>
                  </a:lnTo>
                  <a:lnTo>
                    <a:pt x="1317" y="673"/>
                  </a:lnTo>
                  <a:lnTo>
                    <a:pt x="1346" y="683"/>
                  </a:lnTo>
                  <a:lnTo>
                    <a:pt x="1346" y="703"/>
                  </a:lnTo>
                  <a:lnTo>
                    <a:pt x="1346" y="712"/>
                  </a:lnTo>
                  <a:lnTo>
                    <a:pt x="1326" y="712"/>
                  </a:lnTo>
                  <a:lnTo>
                    <a:pt x="1307" y="742"/>
                  </a:lnTo>
                  <a:lnTo>
                    <a:pt x="1278" y="771"/>
                  </a:lnTo>
                  <a:lnTo>
                    <a:pt x="1278" y="800"/>
                  </a:lnTo>
                  <a:lnTo>
                    <a:pt x="1258" y="800"/>
                  </a:lnTo>
                  <a:lnTo>
                    <a:pt x="1258" y="820"/>
                  </a:lnTo>
                  <a:lnTo>
                    <a:pt x="1248" y="830"/>
                  </a:lnTo>
                  <a:lnTo>
                    <a:pt x="1258" y="830"/>
                  </a:lnTo>
                  <a:lnTo>
                    <a:pt x="1258" y="849"/>
                  </a:lnTo>
                  <a:lnTo>
                    <a:pt x="1248" y="859"/>
                  </a:lnTo>
                  <a:lnTo>
                    <a:pt x="1238" y="878"/>
                  </a:lnTo>
                  <a:lnTo>
                    <a:pt x="1219" y="878"/>
                  </a:lnTo>
                  <a:lnTo>
                    <a:pt x="1209" y="878"/>
                  </a:lnTo>
                  <a:lnTo>
                    <a:pt x="1199" y="878"/>
                  </a:lnTo>
                  <a:lnTo>
                    <a:pt x="1190" y="888"/>
                  </a:lnTo>
                  <a:lnTo>
                    <a:pt x="1170" y="908"/>
                  </a:lnTo>
                  <a:lnTo>
                    <a:pt x="1151" y="917"/>
                  </a:lnTo>
                  <a:lnTo>
                    <a:pt x="1112" y="917"/>
                  </a:lnTo>
                  <a:lnTo>
                    <a:pt x="1102" y="947"/>
                  </a:lnTo>
                  <a:lnTo>
                    <a:pt x="1082" y="937"/>
                  </a:lnTo>
                  <a:lnTo>
                    <a:pt x="1082" y="927"/>
                  </a:lnTo>
                  <a:lnTo>
                    <a:pt x="1053" y="927"/>
                  </a:lnTo>
                  <a:lnTo>
                    <a:pt x="1053" y="937"/>
                  </a:lnTo>
                  <a:lnTo>
                    <a:pt x="1024" y="956"/>
                  </a:lnTo>
                  <a:lnTo>
                    <a:pt x="1004" y="947"/>
                  </a:lnTo>
                  <a:lnTo>
                    <a:pt x="975" y="947"/>
                  </a:lnTo>
                  <a:lnTo>
                    <a:pt x="956" y="937"/>
                  </a:lnTo>
                  <a:lnTo>
                    <a:pt x="956" y="927"/>
                  </a:lnTo>
                  <a:lnTo>
                    <a:pt x="946" y="917"/>
                  </a:lnTo>
                  <a:lnTo>
                    <a:pt x="926" y="927"/>
                  </a:lnTo>
                  <a:lnTo>
                    <a:pt x="897" y="917"/>
                  </a:lnTo>
                  <a:lnTo>
                    <a:pt x="878" y="927"/>
                  </a:lnTo>
                  <a:lnTo>
                    <a:pt x="868" y="927"/>
                  </a:lnTo>
                  <a:lnTo>
                    <a:pt x="878" y="908"/>
                  </a:lnTo>
                  <a:lnTo>
                    <a:pt x="868" y="888"/>
                  </a:lnTo>
                  <a:lnTo>
                    <a:pt x="848" y="878"/>
                  </a:lnTo>
                  <a:lnTo>
                    <a:pt x="819" y="898"/>
                  </a:lnTo>
                  <a:lnTo>
                    <a:pt x="780" y="888"/>
                  </a:lnTo>
                  <a:lnTo>
                    <a:pt x="770" y="898"/>
                  </a:lnTo>
                  <a:lnTo>
                    <a:pt x="751" y="898"/>
                  </a:lnTo>
                  <a:lnTo>
                    <a:pt x="741" y="908"/>
                  </a:lnTo>
                  <a:lnTo>
                    <a:pt x="722" y="908"/>
                  </a:lnTo>
                  <a:lnTo>
                    <a:pt x="692" y="937"/>
                  </a:lnTo>
                  <a:lnTo>
                    <a:pt x="663" y="947"/>
                  </a:lnTo>
                  <a:lnTo>
                    <a:pt x="653" y="956"/>
                  </a:lnTo>
                  <a:lnTo>
                    <a:pt x="643" y="966"/>
                  </a:lnTo>
                  <a:lnTo>
                    <a:pt x="643" y="995"/>
                  </a:lnTo>
                  <a:lnTo>
                    <a:pt x="624" y="1005"/>
                  </a:lnTo>
                  <a:lnTo>
                    <a:pt x="614" y="1025"/>
                  </a:lnTo>
                  <a:lnTo>
                    <a:pt x="604" y="1044"/>
                  </a:lnTo>
                  <a:lnTo>
                    <a:pt x="565" y="1044"/>
                  </a:lnTo>
                  <a:lnTo>
                    <a:pt x="556" y="1044"/>
                  </a:lnTo>
                  <a:lnTo>
                    <a:pt x="546" y="1054"/>
                  </a:lnTo>
                  <a:lnTo>
                    <a:pt x="546" y="1064"/>
                  </a:lnTo>
                  <a:lnTo>
                    <a:pt x="526" y="1083"/>
                  </a:lnTo>
                  <a:lnTo>
                    <a:pt x="517" y="1093"/>
                  </a:lnTo>
                  <a:lnTo>
                    <a:pt x="507" y="1103"/>
                  </a:lnTo>
                  <a:lnTo>
                    <a:pt x="497" y="1122"/>
                  </a:lnTo>
                  <a:lnTo>
                    <a:pt x="468" y="1142"/>
                  </a:lnTo>
                  <a:lnTo>
                    <a:pt x="419" y="1152"/>
                  </a:lnTo>
                  <a:lnTo>
                    <a:pt x="390" y="1142"/>
                  </a:lnTo>
                  <a:lnTo>
                    <a:pt x="370" y="1142"/>
                  </a:lnTo>
                  <a:lnTo>
                    <a:pt x="361" y="1142"/>
                  </a:lnTo>
                  <a:lnTo>
                    <a:pt x="322" y="1132"/>
                  </a:lnTo>
                  <a:lnTo>
                    <a:pt x="292" y="1122"/>
                  </a:lnTo>
                  <a:lnTo>
                    <a:pt x="263" y="1073"/>
                  </a:lnTo>
                  <a:lnTo>
                    <a:pt x="263" y="1044"/>
                  </a:lnTo>
                  <a:lnTo>
                    <a:pt x="234" y="1044"/>
                  </a:lnTo>
                  <a:lnTo>
                    <a:pt x="214" y="1044"/>
                  </a:lnTo>
                  <a:lnTo>
                    <a:pt x="214" y="1064"/>
                  </a:lnTo>
                  <a:lnTo>
                    <a:pt x="205" y="1064"/>
                  </a:lnTo>
                  <a:lnTo>
                    <a:pt x="205" y="1083"/>
                  </a:lnTo>
                  <a:lnTo>
                    <a:pt x="195" y="1083"/>
                  </a:lnTo>
                  <a:lnTo>
                    <a:pt x="166" y="1083"/>
                  </a:lnTo>
                  <a:lnTo>
                    <a:pt x="166" y="1113"/>
                  </a:lnTo>
                  <a:lnTo>
                    <a:pt x="156" y="1103"/>
                  </a:lnTo>
                  <a:lnTo>
                    <a:pt x="127" y="1044"/>
                  </a:lnTo>
                  <a:lnTo>
                    <a:pt x="127" y="1025"/>
                  </a:lnTo>
                  <a:lnTo>
                    <a:pt x="117" y="1015"/>
                  </a:lnTo>
                  <a:lnTo>
                    <a:pt x="127" y="1005"/>
                  </a:lnTo>
                  <a:lnTo>
                    <a:pt x="117" y="986"/>
                  </a:lnTo>
                  <a:lnTo>
                    <a:pt x="107" y="995"/>
                  </a:lnTo>
                  <a:lnTo>
                    <a:pt x="97" y="956"/>
                  </a:lnTo>
                  <a:lnTo>
                    <a:pt x="97" y="947"/>
                  </a:lnTo>
                  <a:lnTo>
                    <a:pt x="117" y="947"/>
                  </a:lnTo>
                  <a:lnTo>
                    <a:pt x="117" y="937"/>
                  </a:lnTo>
                  <a:lnTo>
                    <a:pt x="117" y="927"/>
                  </a:lnTo>
                  <a:lnTo>
                    <a:pt x="97" y="917"/>
                  </a:lnTo>
                  <a:lnTo>
                    <a:pt x="107" y="908"/>
                  </a:lnTo>
                  <a:lnTo>
                    <a:pt x="117" y="898"/>
                  </a:lnTo>
                  <a:lnTo>
                    <a:pt x="107" y="878"/>
                  </a:lnTo>
                  <a:lnTo>
                    <a:pt x="97" y="878"/>
                  </a:lnTo>
                  <a:lnTo>
                    <a:pt x="117" y="849"/>
                  </a:lnTo>
                  <a:lnTo>
                    <a:pt x="97" y="839"/>
                  </a:lnTo>
                  <a:lnTo>
                    <a:pt x="87" y="849"/>
                  </a:lnTo>
                  <a:lnTo>
                    <a:pt x="78" y="859"/>
                  </a:lnTo>
                  <a:lnTo>
                    <a:pt x="68" y="859"/>
                  </a:lnTo>
                  <a:lnTo>
                    <a:pt x="48" y="849"/>
                  </a:lnTo>
                  <a:lnTo>
                    <a:pt x="29" y="830"/>
                  </a:lnTo>
                  <a:lnTo>
                    <a:pt x="19" y="830"/>
                  </a:lnTo>
                  <a:lnTo>
                    <a:pt x="19" y="820"/>
                  </a:lnTo>
                  <a:lnTo>
                    <a:pt x="19" y="800"/>
                  </a:lnTo>
                  <a:lnTo>
                    <a:pt x="9" y="791"/>
                  </a:lnTo>
                  <a:lnTo>
                    <a:pt x="0" y="781"/>
                  </a:lnTo>
                  <a:lnTo>
                    <a:pt x="0" y="761"/>
                  </a:lnTo>
                  <a:lnTo>
                    <a:pt x="9" y="761"/>
                  </a:lnTo>
                  <a:lnTo>
                    <a:pt x="29" y="742"/>
                  </a:lnTo>
                  <a:lnTo>
                    <a:pt x="39" y="742"/>
                  </a:lnTo>
                  <a:lnTo>
                    <a:pt x="48" y="742"/>
                  </a:lnTo>
                  <a:lnTo>
                    <a:pt x="58" y="732"/>
                  </a:lnTo>
                  <a:lnTo>
                    <a:pt x="87" y="722"/>
                  </a:lnTo>
                  <a:lnTo>
                    <a:pt x="97" y="712"/>
                  </a:lnTo>
                  <a:lnTo>
                    <a:pt x="97" y="673"/>
                  </a:lnTo>
                  <a:lnTo>
                    <a:pt x="107" y="654"/>
                  </a:lnTo>
                  <a:lnTo>
                    <a:pt x="97" y="644"/>
                  </a:lnTo>
                  <a:lnTo>
                    <a:pt x="87" y="634"/>
                  </a:lnTo>
                  <a:lnTo>
                    <a:pt x="68" y="605"/>
                  </a:lnTo>
                  <a:lnTo>
                    <a:pt x="68" y="586"/>
                  </a:lnTo>
                  <a:lnTo>
                    <a:pt x="78" y="576"/>
                  </a:lnTo>
                  <a:lnTo>
                    <a:pt x="87" y="576"/>
                  </a:lnTo>
                  <a:lnTo>
                    <a:pt x="97" y="576"/>
                  </a:lnTo>
                  <a:lnTo>
                    <a:pt x="127" y="547"/>
                  </a:lnTo>
                  <a:lnTo>
                    <a:pt x="117" y="547"/>
                  </a:lnTo>
                  <a:lnTo>
                    <a:pt x="97" y="527"/>
                  </a:lnTo>
                  <a:lnTo>
                    <a:pt x="87" y="517"/>
                  </a:lnTo>
                  <a:lnTo>
                    <a:pt x="78" y="508"/>
                  </a:lnTo>
                  <a:lnTo>
                    <a:pt x="87" y="498"/>
                  </a:lnTo>
                  <a:lnTo>
                    <a:pt x="87" y="488"/>
                  </a:lnTo>
                  <a:lnTo>
                    <a:pt x="107" y="488"/>
                  </a:lnTo>
                  <a:lnTo>
                    <a:pt x="117" y="498"/>
                  </a:lnTo>
                  <a:lnTo>
                    <a:pt x="136" y="517"/>
                  </a:lnTo>
                  <a:lnTo>
                    <a:pt x="136" y="527"/>
                  </a:lnTo>
                  <a:lnTo>
                    <a:pt x="156" y="537"/>
                  </a:lnTo>
                  <a:lnTo>
                    <a:pt x="156" y="547"/>
                  </a:lnTo>
                  <a:lnTo>
                    <a:pt x="156" y="556"/>
                  </a:lnTo>
                  <a:lnTo>
                    <a:pt x="166" y="566"/>
                  </a:lnTo>
                  <a:lnTo>
                    <a:pt x="166" y="586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24" y="595"/>
                  </a:lnTo>
                  <a:lnTo>
                    <a:pt x="234" y="605"/>
                  </a:lnTo>
                  <a:lnTo>
                    <a:pt x="234" y="615"/>
                  </a:lnTo>
                  <a:lnTo>
                    <a:pt x="224" y="625"/>
                  </a:lnTo>
                  <a:lnTo>
                    <a:pt x="214" y="63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85" y="644"/>
                  </a:lnTo>
                  <a:lnTo>
                    <a:pt x="185" y="664"/>
                  </a:lnTo>
                  <a:lnTo>
                    <a:pt x="175" y="673"/>
                  </a:lnTo>
                  <a:lnTo>
                    <a:pt x="166" y="683"/>
                  </a:lnTo>
                  <a:lnTo>
                    <a:pt x="175" y="683"/>
                  </a:lnTo>
                  <a:lnTo>
                    <a:pt x="175" y="703"/>
                  </a:lnTo>
                  <a:lnTo>
                    <a:pt x="166" y="703"/>
                  </a:lnTo>
                  <a:lnTo>
                    <a:pt x="166" y="712"/>
                  </a:lnTo>
                  <a:lnTo>
                    <a:pt x="185" y="703"/>
                  </a:lnTo>
                  <a:lnTo>
                    <a:pt x="185" y="693"/>
                  </a:lnTo>
                  <a:lnTo>
                    <a:pt x="205" y="683"/>
                  </a:lnTo>
                  <a:lnTo>
                    <a:pt x="214" y="693"/>
                  </a:lnTo>
                  <a:lnTo>
                    <a:pt x="214" y="703"/>
                  </a:lnTo>
                  <a:lnTo>
                    <a:pt x="205" y="703"/>
                  </a:lnTo>
                  <a:lnTo>
                    <a:pt x="195" y="712"/>
                  </a:lnTo>
                  <a:lnTo>
                    <a:pt x="185" y="732"/>
                  </a:lnTo>
                  <a:lnTo>
                    <a:pt x="185" y="742"/>
                  </a:lnTo>
                  <a:lnTo>
                    <a:pt x="166" y="761"/>
                  </a:lnTo>
                  <a:lnTo>
                    <a:pt x="166" y="771"/>
                  </a:lnTo>
                  <a:lnTo>
                    <a:pt x="166" y="781"/>
                  </a:lnTo>
                  <a:lnTo>
                    <a:pt x="175" y="771"/>
                  </a:lnTo>
                  <a:lnTo>
                    <a:pt x="175" y="781"/>
                  </a:lnTo>
                  <a:lnTo>
                    <a:pt x="185" y="791"/>
                  </a:lnTo>
                  <a:lnTo>
                    <a:pt x="185" y="820"/>
                  </a:lnTo>
                  <a:lnTo>
                    <a:pt x="205" y="830"/>
                  </a:lnTo>
                  <a:lnTo>
                    <a:pt x="205" y="849"/>
                  </a:lnTo>
                  <a:lnTo>
                    <a:pt x="224" y="849"/>
                  </a:lnTo>
                  <a:lnTo>
                    <a:pt x="214" y="839"/>
                  </a:lnTo>
                  <a:lnTo>
                    <a:pt x="214" y="830"/>
                  </a:lnTo>
                  <a:lnTo>
                    <a:pt x="205" y="810"/>
                  </a:lnTo>
                  <a:lnTo>
                    <a:pt x="195" y="791"/>
                  </a:lnTo>
                  <a:lnTo>
                    <a:pt x="185" y="791"/>
                  </a:lnTo>
                  <a:lnTo>
                    <a:pt x="185" y="771"/>
                  </a:lnTo>
                  <a:lnTo>
                    <a:pt x="185" y="761"/>
                  </a:lnTo>
                  <a:lnTo>
                    <a:pt x="205" y="761"/>
                  </a:lnTo>
                  <a:lnTo>
                    <a:pt x="214" y="752"/>
                  </a:lnTo>
                  <a:lnTo>
                    <a:pt x="214" y="712"/>
                  </a:lnTo>
                  <a:lnTo>
                    <a:pt x="214" y="693"/>
                  </a:lnTo>
                  <a:lnTo>
                    <a:pt x="214" y="683"/>
                  </a:lnTo>
                  <a:lnTo>
                    <a:pt x="214" y="673"/>
                  </a:lnTo>
                  <a:lnTo>
                    <a:pt x="214" y="664"/>
                  </a:lnTo>
                  <a:lnTo>
                    <a:pt x="234" y="644"/>
                  </a:lnTo>
                  <a:lnTo>
                    <a:pt x="234" y="634"/>
                  </a:lnTo>
                  <a:lnTo>
                    <a:pt x="244" y="634"/>
                  </a:lnTo>
                  <a:lnTo>
                    <a:pt x="244" y="625"/>
                  </a:lnTo>
                  <a:lnTo>
                    <a:pt x="244" y="605"/>
                  </a:lnTo>
                  <a:lnTo>
                    <a:pt x="234" y="586"/>
                  </a:lnTo>
                  <a:lnTo>
                    <a:pt x="214" y="576"/>
                  </a:lnTo>
                  <a:lnTo>
                    <a:pt x="214" y="566"/>
                  </a:lnTo>
                  <a:lnTo>
                    <a:pt x="214" y="556"/>
                  </a:lnTo>
                  <a:lnTo>
                    <a:pt x="214" y="547"/>
                  </a:lnTo>
                  <a:lnTo>
                    <a:pt x="195" y="527"/>
                  </a:lnTo>
                  <a:lnTo>
                    <a:pt x="175" y="508"/>
                  </a:lnTo>
                  <a:lnTo>
                    <a:pt x="175" y="488"/>
                  </a:lnTo>
                  <a:lnTo>
                    <a:pt x="175" y="469"/>
                  </a:lnTo>
                  <a:lnTo>
                    <a:pt x="185" y="449"/>
                  </a:lnTo>
                  <a:lnTo>
                    <a:pt x="185" y="439"/>
                  </a:lnTo>
                  <a:lnTo>
                    <a:pt x="185" y="430"/>
                  </a:lnTo>
                  <a:lnTo>
                    <a:pt x="185" y="420"/>
                  </a:lnTo>
                  <a:lnTo>
                    <a:pt x="195" y="420"/>
                  </a:lnTo>
                  <a:lnTo>
                    <a:pt x="185" y="410"/>
                  </a:lnTo>
                  <a:lnTo>
                    <a:pt x="195" y="400"/>
                  </a:lnTo>
                  <a:lnTo>
                    <a:pt x="205" y="391"/>
                  </a:lnTo>
                  <a:lnTo>
                    <a:pt x="214" y="391"/>
                  </a:lnTo>
                  <a:lnTo>
                    <a:pt x="253" y="391"/>
                  </a:lnTo>
                  <a:lnTo>
                    <a:pt x="302" y="391"/>
                  </a:lnTo>
                  <a:lnTo>
                    <a:pt x="341" y="391"/>
                  </a:lnTo>
                  <a:lnTo>
                    <a:pt x="361" y="391"/>
                  </a:lnTo>
                  <a:lnTo>
                    <a:pt x="351" y="410"/>
                  </a:lnTo>
                  <a:lnTo>
                    <a:pt x="361" y="410"/>
                  </a:lnTo>
                  <a:lnTo>
                    <a:pt x="370" y="400"/>
                  </a:lnTo>
                  <a:lnTo>
                    <a:pt x="380" y="391"/>
                  </a:lnTo>
                  <a:lnTo>
                    <a:pt x="390" y="391"/>
                  </a:lnTo>
                  <a:lnTo>
                    <a:pt x="400" y="391"/>
                  </a:lnTo>
                  <a:lnTo>
                    <a:pt x="400" y="400"/>
                  </a:lnTo>
                  <a:lnTo>
                    <a:pt x="409" y="391"/>
                  </a:lnTo>
                  <a:lnTo>
                    <a:pt x="419" y="400"/>
                  </a:lnTo>
                  <a:lnTo>
                    <a:pt x="419" y="410"/>
                  </a:lnTo>
                  <a:lnTo>
                    <a:pt x="419" y="391"/>
                  </a:lnTo>
                  <a:lnTo>
                    <a:pt x="429" y="381"/>
                  </a:lnTo>
                  <a:lnTo>
                    <a:pt x="419" y="371"/>
                  </a:lnTo>
                  <a:lnTo>
                    <a:pt x="419" y="351"/>
                  </a:lnTo>
                  <a:lnTo>
                    <a:pt x="400" y="351"/>
                  </a:lnTo>
                  <a:lnTo>
                    <a:pt x="390" y="351"/>
                  </a:lnTo>
                  <a:lnTo>
                    <a:pt x="400" y="342"/>
                  </a:lnTo>
                  <a:lnTo>
                    <a:pt x="419" y="332"/>
                  </a:lnTo>
                  <a:lnTo>
                    <a:pt x="419" y="342"/>
                  </a:lnTo>
                  <a:lnTo>
                    <a:pt x="429" y="351"/>
                  </a:lnTo>
                  <a:lnTo>
                    <a:pt x="429" y="342"/>
                  </a:lnTo>
                  <a:lnTo>
                    <a:pt x="419" y="33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03"/>
                  </a:lnTo>
                  <a:lnTo>
                    <a:pt x="409" y="303"/>
                  </a:lnTo>
                  <a:lnTo>
                    <a:pt x="409" y="283"/>
                  </a:lnTo>
                  <a:lnTo>
                    <a:pt x="419" y="293"/>
                  </a:lnTo>
                  <a:lnTo>
                    <a:pt x="419" y="303"/>
                  </a:lnTo>
                  <a:lnTo>
                    <a:pt x="419" y="312"/>
                  </a:lnTo>
                  <a:lnTo>
                    <a:pt x="429" y="322"/>
                  </a:lnTo>
                  <a:lnTo>
                    <a:pt x="429" y="303"/>
                  </a:lnTo>
                  <a:lnTo>
                    <a:pt x="439" y="303"/>
                  </a:lnTo>
                  <a:lnTo>
                    <a:pt x="448" y="293"/>
                  </a:lnTo>
                  <a:lnTo>
                    <a:pt x="448" y="283"/>
                  </a:lnTo>
                  <a:lnTo>
                    <a:pt x="458" y="283"/>
                  </a:lnTo>
                  <a:lnTo>
                    <a:pt x="458" y="273"/>
                  </a:lnTo>
                  <a:lnTo>
                    <a:pt x="448" y="273"/>
                  </a:lnTo>
                  <a:lnTo>
                    <a:pt x="448" y="264"/>
                  </a:lnTo>
                  <a:lnTo>
                    <a:pt x="458" y="264"/>
                  </a:lnTo>
                  <a:lnTo>
                    <a:pt x="468" y="264"/>
                  </a:lnTo>
                  <a:lnTo>
                    <a:pt x="478" y="273"/>
                  </a:lnTo>
                  <a:lnTo>
                    <a:pt x="487" y="264"/>
                  </a:lnTo>
                  <a:lnTo>
                    <a:pt x="507" y="244"/>
                  </a:lnTo>
                  <a:lnTo>
                    <a:pt x="507" y="234"/>
                  </a:lnTo>
                  <a:lnTo>
                    <a:pt x="526" y="234"/>
                  </a:lnTo>
                  <a:lnTo>
                    <a:pt x="526" y="244"/>
                  </a:lnTo>
                  <a:lnTo>
                    <a:pt x="546" y="234"/>
                  </a:lnTo>
                  <a:lnTo>
                    <a:pt x="556" y="225"/>
                  </a:lnTo>
                  <a:lnTo>
                    <a:pt x="575" y="215"/>
                  </a:lnTo>
                  <a:lnTo>
                    <a:pt x="575" y="225"/>
                  </a:lnTo>
                  <a:lnTo>
                    <a:pt x="595" y="225"/>
                  </a:lnTo>
                  <a:lnTo>
                    <a:pt x="604" y="215"/>
                  </a:lnTo>
                  <a:lnTo>
                    <a:pt x="624" y="215"/>
                  </a:lnTo>
                  <a:lnTo>
                    <a:pt x="634" y="215"/>
                  </a:lnTo>
                  <a:lnTo>
                    <a:pt x="643" y="215"/>
                  </a:lnTo>
                  <a:lnTo>
                    <a:pt x="653" y="215"/>
                  </a:lnTo>
                  <a:lnTo>
                    <a:pt x="663" y="215"/>
                  </a:lnTo>
                  <a:lnTo>
                    <a:pt x="673" y="215"/>
                  </a:lnTo>
                  <a:lnTo>
                    <a:pt x="673" y="205"/>
                  </a:lnTo>
                  <a:lnTo>
                    <a:pt x="653" y="205"/>
                  </a:lnTo>
                  <a:lnTo>
                    <a:pt x="643" y="205"/>
                  </a:lnTo>
                  <a:lnTo>
                    <a:pt x="643" y="195"/>
                  </a:lnTo>
                  <a:lnTo>
                    <a:pt x="643" y="186"/>
                  </a:lnTo>
                  <a:lnTo>
                    <a:pt x="653" y="176"/>
                  </a:lnTo>
                  <a:lnTo>
                    <a:pt x="663" y="186"/>
                  </a:lnTo>
                  <a:lnTo>
                    <a:pt x="673" y="186"/>
                  </a:lnTo>
                  <a:lnTo>
                    <a:pt x="673" y="176"/>
                  </a:lnTo>
                  <a:lnTo>
                    <a:pt x="683" y="176"/>
                  </a:lnTo>
                  <a:lnTo>
                    <a:pt x="683" y="186"/>
                  </a:lnTo>
                  <a:lnTo>
                    <a:pt x="692" y="186"/>
                  </a:lnTo>
                  <a:lnTo>
                    <a:pt x="702" y="186"/>
                  </a:lnTo>
                  <a:lnTo>
                    <a:pt x="712" y="186"/>
                  </a:lnTo>
                  <a:lnTo>
                    <a:pt x="722" y="186"/>
                  </a:lnTo>
                  <a:lnTo>
                    <a:pt x="731" y="186"/>
                  </a:lnTo>
                  <a:lnTo>
                    <a:pt x="741" y="186"/>
                  </a:lnTo>
                  <a:lnTo>
                    <a:pt x="741" y="195"/>
                  </a:lnTo>
                  <a:lnTo>
                    <a:pt x="731" y="205"/>
                  </a:lnTo>
                  <a:lnTo>
                    <a:pt x="731" y="215"/>
                  </a:lnTo>
                  <a:lnTo>
                    <a:pt x="741" y="205"/>
                  </a:lnTo>
                  <a:lnTo>
                    <a:pt x="751" y="205"/>
                  </a:lnTo>
                  <a:lnTo>
                    <a:pt x="751" y="215"/>
                  </a:lnTo>
                  <a:lnTo>
                    <a:pt x="761" y="205"/>
                  </a:lnTo>
                  <a:lnTo>
                    <a:pt x="770" y="205"/>
                  </a:lnTo>
                  <a:lnTo>
                    <a:pt x="780" y="205"/>
                  </a:lnTo>
                  <a:lnTo>
                    <a:pt x="790" y="205"/>
                  </a:lnTo>
                  <a:lnTo>
                    <a:pt x="790" y="195"/>
                  </a:lnTo>
                  <a:lnTo>
                    <a:pt x="800" y="186"/>
                  </a:lnTo>
                  <a:lnTo>
                    <a:pt x="800" y="176"/>
                  </a:lnTo>
                  <a:lnTo>
                    <a:pt x="809" y="176"/>
                  </a:lnTo>
                  <a:lnTo>
                    <a:pt x="819" y="166"/>
                  </a:lnTo>
                  <a:lnTo>
                    <a:pt x="839" y="176"/>
                  </a:lnTo>
                  <a:lnTo>
                    <a:pt x="848" y="186"/>
                  </a:lnTo>
                  <a:lnTo>
                    <a:pt x="858" y="195"/>
                  </a:lnTo>
                  <a:lnTo>
                    <a:pt x="858" y="176"/>
                  </a:lnTo>
                  <a:lnTo>
                    <a:pt x="839" y="176"/>
                  </a:lnTo>
                  <a:lnTo>
                    <a:pt x="839" y="156"/>
                  </a:lnTo>
                  <a:lnTo>
                    <a:pt x="829" y="156"/>
                  </a:lnTo>
                  <a:lnTo>
                    <a:pt x="829" y="137"/>
                  </a:lnTo>
                  <a:lnTo>
                    <a:pt x="839" y="137"/>
                  </a:lnTo>
                  <a:lnTo>
                    <a:pt x="848" y="147"/>
                  </a:lnTo>
                  <a:lnTo>
                    <a:pt x="868" y="147"/>
                  </a:lnTo>
                  <a:lnTo>
                    <a:pt x="878" y="147"/>
                  </a:lnTo>
                  <a:lnTo>
                    <a:pt x="887" y="137"/>
                  </a:lnTo>
                  <a:lnTo>
                    <a:pt x="897" y="147"/>
                  </a:lnTo>
                  <a:lnTo>
                    <a:pt x="907" y="156"/>
                  </a:lnTo>
                  <a:lnTo>
                    <a:pt x="926" y="156"/>
                  </a:lnTo>
                  <a:lnTo>
                    <a:pt x="917" y="147"/>
                  </a:lnTo>
                  <a:lnTo>
                    <a:pt x="907" y="137"/>
                  </a:lnTo>
                  <a:lnTo>
                    <a:pt x="897" y="137"/>
                  </a:lnTo>
                  <a:lnTo>
                    <a:pt x="897" y="108"/>
                  </a:lnTo>
                  <a:lnTo>
                    <a:pt x="887" y="108"/>
                  </a:lnTo>
                  <a:lnTo>
                    <a:pt x="887" y="98"/>
                  </a:lnTo>
                  <a:lnTo>
                    <a:pt x="887" y="88"/>
                  </a:lnTo>
                  <a:lnTo>
                    <a:pt x="897" y="88"/>
                  </a:lnTo>
                  <a:lnTo>
                    <a:pt x="897" y="78"/>
                  </a:lnTo>
                  <a:lnTo>
                    <a:pt x="897" y="69"/>
                  </a:lnTo>
                  <a:lnTo>
                    <a:pt x="907" y="59"/>
                  </a:lnTo>
                  <a:lnTo>
                    <a:pt x="917" y="39"/>
                  </a:lnTo>
                  <a:lnTo>
                    <a:pt x="926" y="49"/>
                  </a:lnTo>
                  <a:lnTo>
                    <a:pt x="926" y="30"/>
                  </a:lnTo>
                  <a:lnTo>
                    <a:pt x="936" y="20"/>
                  </a:lnTo>
                  <a:lnTo>
                    <a:pt x="946" y="10"/>
                  </a:lnTo>
                  <a:lnTo>
                    <a:pt x="956" y="10"/>
                  </a:lnTo>
                  <a:lnTo>
                    <a:pt x="965" y="10"/>
                  </a:lnTo>
                  <a:lnTo>
                    <a:pt x="965" y="0"/>
                  </a:lnTo>
                  <a:lnTo>
                    <a:pt x="975" y="0"/>
                  </a:lnTo>
                  <a:lnTo>
                    <a:pt x="975" y="10"/>
                  </a:lnTo>
                  <a:lnTo>
                    <a:pt x="995" y="10"/>
                  </a:lnTo>
                  <a:lnTo>
                    <a:pt x="1004" y="20"/>
                  </a:lnTo>
                  <a:lnTo>
                    <a:pt x="1014" y="20"/>
                  </a:lnTo>
                  <a:lnTo>
                    <a:pt x="1024" y="10"/>
                  </a:lnTo>
                  <a:lnTo>
                    <a:pt x="1024" y="30"/>
                  </a:lnTo>
                  <a:lnTo>
                    <a:pt x="1034" y="39"/>
                  </a:lnTo>
                  <a:lnTo>
                    <a:pt x="1024" y="39"/>
                  </a:lnTo>
                  <a:lnTo>
                    <a:pt x="1014" y="49"/>
                  </a:lnTo>
                  <a:lnTo>
                    <a:pt x="1004" y="59"/>
                  </a:lnTo>
                  <a:lnTo>
                    <a:pt x="995" y="59"/>
                  </a:lnTo>
                  <a:lnTo>
                    <a:pt x="985" y="69"/>
                  </a:lnTo>
                  <a:lnTo>
                    <a:pt x="1014" y="69"/>
                  </a:lnTo>
                  <a:lnTo>
                    <a:pt x="1024" y="69"/>
                  </a:lnTo>
                  <a:lnTo>
                    <a:pt x="1014" y="78"/>
                  </a:lnTo>
                  <a:lnTo>
                    <a:pt x="1024" y="78"/>
                  </a:lnTo>
                  <a:lnTo>
                    <a:pt x="1043" y="69"/>
                  </a:lnTo>
                  <a:lnTo>
                    <a:pt x="1053" y="78"/>
                  </a:lnTo>
                  <a:lnTo>
                    <a:pt x="1073" y="78"/>
                  </a:lnTo>
                  <a:lnTo>
                    <a:pt x="1073" y="88"/>
                  </a:lnTo>
                  <a:lnTo>
                    <a:pt x="1063" y="98"/>
                  </a:lnTo>
                  <a:lnTo>
                    <a:pt x="1053" y="108"/>
                  </a:lnTo>
                  <a:lnTo>
                    <a:pt x="1053" y="127"/>
                  </a:lnTo>
                  <a:lnTo>
                    <a:pt x="1053" y="137"/>
                  </a:lnTo>
                  <a:lnTo>
                    <a:pt x="1063" y="127"/>
                  </a:lnTo>
                  <a:lnTo>
                    <a:pt x="1073" y="127"/>
                  </a:lnTo>
                  <a:lnTo>
                    <a:pt x="1092" y="127"/>
                  </a:lnTo>
                  <a:lnTo>
                    <a:pt x="1092" y="117"/>
                  </a:lnTo>
                  <a:lnTo>
                    <a:pt x="1092" y="108"/>
                  </a:lnTo>
                  <a:lnTo>
                    <a:pt x="1102" y="98"/>
                  </a:lnTo>
                  <a:lnTo>
                    <a:pt x="1112" y="98"/>
                  </a:lnTo>
                  <a:lnTo>
                    <a:pt x="1121" y="98"/>
                  </a:lnTo>
                  <a:lnTo>
                    <a:pt x="1131" y="98"/>
                  </a:lnTo>
                  <a:lnTo>
                    <a:pt x="1141" y="98"/>
                  </a:lnTo>
                  <a:lnTo>
                    <a:pt x="1151" y="98"/>
                  </a:lnTo>
                  <a:lnTo>
                    <a:pt x="1160" y="88"/>
                  </a:lnTo>
                  <a:lnTo>
                    <a:pt x="1170" y="88"/>
                  </a:lnTo>
                  <a:lnTo>
                    <a:pt x="1180" y="88"/>
                  </a:lnTo>
                  <a:lnTo>
                    <a:pt x="1190" y="98"/>
                  </a:lnTo>
                  <a:lnTo>
                    <a:pt x="1199" y="98"/>
                  </a:lnTo>
                  <a:lnTo>
                    <a:pt x="1199" y="108"/>
                  </a:lnTo>
                  <a:lnTo>
                    <a:pt x="1209" y="108"/>
                  </a:lnTo>
                  <a:lnTo>
                    <a:pt x="1219" y="117"/>
                  </a:lnTo>
                  <a:lnTo>
                    <a:pt x="1219" y="127"/>
                  </a:lnTo>
                  <a:lnTo>
                    <a:pt x="1238" y="127"/>
                  </a:lnTo>
                  <a:lnTo>
                    <a:pt x="1238" y="137"/>
                  </a:lnTo>
                  <a:lnTo>
                    <a:pt x="1238" y="147"/>
                  </a:lnTo>
                  <a:lnTo>
                    <a:pt x="1248" y="147"/>
                  </a:lnTo>
                  <a:lnTo>
                    <a:pt x="1248" y="156"/>
                  </a:lnTo>
                  <a:lnTo>
                    <a:pt x="1258" y="156"/>
                  </a:lnTo>
                  <a:lnTo>
                    <a:pt x="1258" y="147"/>
                  </a:lnTo>
                  <a:lnTo>
                    <a:pt x="1248" y="137"/>
                  </a:lnTo>
                  <a:lnTo>
                    <a:pt x="1258" y="127"/>
                  </a:lnTo>
                  <a:lnTo>
                    <a:pt x="1258" y="137"/>
                  </a:lnTo>
                  <a:lnTo>
                    <a:pt x="1268" y="147"/>
                  </a:lnTo>
                  <a:lnTo>
                    <a:pt x="1268" y="156"/>
                  </a:lnTo>
                  <a:lnTo>
                    <a:pt x="1278" y="176"/>
                  </a:lnTo>
                  <a:lnTo>
                    <a:pt x="1287" y="166"/>
                  </a:lnTo>
                  <a:lnTo>
                    <a:pt x="1287" y="186"/>
                  </a:lnTo>
                  <a:lnTo>
                    <a:pt x="1287" y="205"/>
                  </a:lnTo>
                  <a:lnTo>
                    <a:pt x="1278" y="205"/>
                  </a:lnTo>
                  <a:lnTo>
                    <a:pt x="1278" y="195"/>
                  </a:lnTo>
                  <a:lnTo>
                    <a:pt x="1258" y="195"/>
                  </a:lnTo>
                  <a:lnTo>
                    <a:pt x="1258" y="186"/>
                  </a:lnTo>
                  <a:lnTo>
                    <a:pt x="1248" y="186"/>
                  </a:lnTo>
                  <a:lnTo>
                    <a:pt x="1248" y="195"/>
                  </a:lnTo>
                  <a:lnTo>
                    <a:pt x="1258" y="205"/>
                  </a:lnTo>
                  <a:lnTo>
                    <a:pt x="1258" y="215"/>
                  </a:lnTo>
                  <a:lnTo>
                    <a:pt x="1268" y="205"/>
                  </a:lnTo>
                  <a:lnTo>
                    <a:pt x="1278" y="215"/>
                  </a:lnTo>
                  <a:lnTo>
                    <a:pt x="1287" y="215"/>
                  </a:lnTo>
                  <a:lnTo>
                    <a:pt x="1297" y="234"/>
                  </a:lnTo>
                  <a:lnTo>
                    <a:pt x="1297" y="244"/>
                  </a:lnTo>
                  <a:lnTo>
                    <a:pt x="1287" y="264"/>
                  </a:lnTo>
                  <a:lnTo>
                    <a:pt x="1287" y="273"/>
                  </a:lnTo>
                  <a:lnTo>
                    <a:pt x="1278" y="283"/>
                  </a:lnTo>
                  <a:lnTo>
                    <a:pt x="1258" y="293"/>
                  </a:lnTo>
                  <a:lnTo>
                    <a:pt x="1258" y="303"/>
                  </a:lnTo>
                  <a:lnTo>
                    <a:pt x="1258" y="322"/>
                  </a:lnTo>
                  <a:lnTo>
                    <a:pt x="1229" y="322"/>
                  </a:lnTo>
                  <a:lnTo>
                    <a:pt x="1229" y="332"/>
                  </a:lnTo>
                  <a:lnTo>
                    <a:pt x="1209" y="342"/>
                  </a:lnTo>
                  <a:lnTo>
                    <a:pt x="1209" y="351"/>
                  </a:lnTo>
                  <a:lnTo>
                    <a:pt x="1199" y="361"/>
                  </a:lnTo>
                  <a:lnTo>
                    <a:pt x="1190" y="361"/>
                  </a:lnTo>
                  <a:lnTo>
                    <a:pt x="1180" y="371"/>
                  </a:lnTo>
                  <a:lnTo>
                    <a:pt x="1199" y="371"/>
                  </a:lnTo>
                  <a:lnTo>
                    <a:pt x="1199" y="381"/>
                  </a:lnTo>
                  <a:lnTo>
                    <a:pt x="1190" y="391"/>
                  </a:lnTo>
                  <a:lnTo>
                    <a:pt x="1170" y="410"/>
                  </a:lnTo>
                  <a:lnTo>
                    <a:pt x="1160" y="420"/>
                  </a:lnTo>
                  <a:lnTo>
                    <a:pt x="1151" y="430"/>
                  </a:lnTo>
                  <a:lnTo>
                    <a:pt x="1151" y="449"/>
                  </a:lnTo>
                  <a:lnTo>
                    <a:pt x="1131" y="449"/>
                  </a:lnTo>
                  <a:lnTo>
                    <a:pt x="1121" y="449"/>
                  </a:lnTo>
                  <a:lnTo>
                    <a:pt x="1112" y="459"/>
                  </a:lnTo>
                  <a:lnTo>
                    <a:pt x="1112" y="469"/>
                  </a:lnTo>
                  <a:lnTo>
                    <a:pt x="1112" y="478"/>
                  </a:lnTo>
                  <a:lnTo>
                    <a:pt x="1102" y="488"/>
                  </a:lnTo>
                  <a:lnTo>
                    <a:pt x="1082" y="488"/>
                  </a:lnTo>
                  <a:lnTo>
                    <a:pt x="1073" y="498"/>
                  </a:lnTo>
                  <a:lnTo>
                    <a:pt x="1073" y="527"/>
                  </a:lnTo>
                  <a:lnTo>
                    <a:pt x="1063" y="537"/>
                  </a:lnTo>
                  <a:lnTo>
                    <a:pt x="1043" y="556"/>
                  </a:lnTo>
                  <a:lnTo>
                    <a:pt x="1063" y="556"/>
                  </a:lnTo>
                  <a:lnTo>
                    <a:pt x="1073" y="556"/>
                  </a:lnTo>
                  <a:lnTo>
                    <a:pt x="1073" y="547"/>
                  </a:lnTo>
                  <a:lnTo>
                    <a:pt x="1082" y="537"/>
                  </a:lnTo>
                  <a:lnTo>
                    <a:pt x="1082" y="517"/>
                  </a:lnTo>
                  <a:lnTo>
                    <a:pt x="1082" y="508"/>
                  </a:lnTo>
                  <a:lnTo>
                    <a:pt x="1121" y="508"/>
                  </a:lnTo>
                  <a:lnTo>
                    <a:pt x="1141" y="508"/>
                  </a:lnTo>
                  <a:lnTo>
                    <a:pt x="1141" y="498"/>
                  </a:lnTo>
                  <a:lnTo>
                    <a:pt x="1151" y="498"/>
                  </a:lnTo>
                  <a:lnTo>
                    <a:pt x="1160" y="488"/>
                  </a:lnTo>
                  <a:lnTo>
                    <a:pt x="1170" y="478"/>
                  </a:lnTo>
                  <a:lnTo>
                    <a:pt x="1180" y="478"/>
                  </a:lnTo>
                  <a:lnTo>
                    <a:pt x="1180" y="459"/>
                  </a:lnTo>
                  <a:lnTo>
                    <a:pt x="1199" y="469"/>
                  </a:lnTo>
                  <a:lnTo>
                    <a:pt x="1209" y="459"/>
                  </a:lnTo>
                  <a:lnTo>
                    <a:pt x="1219" y="449"/>
                  </a:lnTo>
                  <a:lnTo>
                    <a:pt x="1219" y="439"/>
                  </a:lnTo>
                  <a:lnTo>
                    <a:pt x="1229" y="439"/>
                  </a:lnTo>
                  <a:lnTo>
                    <a:pt x="1229" y="420"/>
                  </a:lnTo>
                  <a:lnTo>
                    <a:pt x="1219" y="430"/>
                  </a:lnTo>
                  <a:lnTo>
                    <a:pt x="1209" y="430"/>
                  </a:lnTo>
                  <a:lnTo>
                    <a:pt x="1199" y="439"/>
                  </a:lnTo>
                  <a:lnTo>
                    <a:pt x="1190" y="430"/>
                  </a:lnTo>
                  <a:lnTo>
                    <a:pt x="1190" y="420"/>
                  </a:lnTo>
                  <a:lnTo>
                    <a:pt x="1199" y="410"/>
                  </a:lnTo>
                  <a:lnTo>
                    <a:pt x="1199" y="400"/>
                  </a:lnTo>
                  <a:lnTo>
                    <a:pt x="1209" y="391"/>
                  </a:lnTo>
                  <a:lnTo>
                    <a:pt x="1219" y="400"/>
                  </a:lnTo>
                  <a:lnTo>
                    <a:pt x="1229" y="410"/>
                  </a:lnTo>
                  <a:lnTo>
                    <a:pt x="1238" y="410"/>
                  </a:lnTo>
                  <a:lnTo>
                    <a:pt x="1248" y="410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6" name="Freeform 61"/>
            <p:cNvSpPr>
              <a:spLocks/>
            </p:cNvSpPr>
            <p:nvPr/>
          </p:nvSpPr>
          <p:spPr bwMode="auto">
            <a:xfrm>
              <a:off x="4782" y="1951"/>
              <a:ext cx="1033" cy="1295"/>
            </a:xfrm>
            <a:custGeom>
              <a:avLst/>
              <a:gdLst>
                <a:gd name="T0" fmla="*/ 877 w 1034"/>
                <a:gd name="T1" fmla="*/ 166 h 1298"/>
                <a:gd name="T2" fmla="*/ 868 w 1034"/>
                <a:gd name="T3" fmla="*/ 303 h 1298"/>
                <a:gd name="T4" fmla="*/ 858 w 1034"/>
                <a:gd name="T5" fmla="*/ 342 h 1298"/>
                <a:gd name="T6" fmla="*/ 868 w 1034"/>
                <a:gd name="T7" fmla="*/ 391 h 1298"/>
                <a:gd name="T8" fmla="*/ 897 w 1034"/>
                <a:gd name="T9" fmla="*/ 469 h 1298"/>
                <a:gd name="T10" fmla="*/ 897 w 1034"/>
                <a:gd name="T11" fmla="*/ 527 h 1298"/>
                <a:gd name="T12" fmla="*/ 868 w 1034"/>
                <a:gd name="T13" fmla="*/ 615 h 1298"/>
                <a:gd name="T14" fmla="*/ 916 w 1034"/>
                <a:gd name="T15" fmla="*/ 615 h 1298"/>
                <a:gd name="T16" fmla="*/ 1004 w 1034"/>
                <a:gd name="T17" fmla="*/ 635 h 1298"/>
                <a:gd name="T18" fmla="*/ 1034 w 1034"/>
                <a:gd name="T19" fmla="*/ 653 h 1298"/>
                <a:gd name="T20" fmla="*/ 936 w 1034"/>
                <a:gd name="T21" fmla="*/ 663 h 1298"/>
                <a:gd name="T22" fmla="*/ 926 w 1034"/>
                <a:gd name="T23" fmla="*/ 672 h 1298"/>
                <a:gd name="T24" fmla="*/ 926 w 1034"/>
                <a:gd name="T25" fmla="*/ 721 h 1298"/>
                <a:gd name="T26" fmla="*/ 916 w 1034"/>
                <a:gd name="T27" fmla="*/ 780 h 1298"/>
                <a:gd name="T28" fmla="*/ 936 w 1034"/>
                <a:gd name="T29" fmla="*/ 877 h 1298"/>
                <a:gd name="T30" fmla="*/ 887 w 1034"/>
                <a:gd name="T31" fmla="*/ 955 h 1298"/>
                <a:gd name="T32" fmla="*/ 858 w 1034"/>
                <a:gd name="T33" fmla="*/ 994 h 1298"/>
                <a:gd name="T34" fmla="*/ 848 w 1034"/>
                <a:gd name="T35" fmla="*/ 1033 h 1298"/>
                <a:gd name="T36" fmla="*/ 887 w 1034"/>
                <a:gd name="T37" fmla="*/ 1082 h 1298"/>
                <a:gd name="T38" fmla="*/ 887 w 1034"/>
                <a:gd name="T39" fmla="*/ 1141 h 1298"/>
                <a:gd name="T40" fmla="*/ 897 w 1034"/>
                <a:gd name="T41" fmla="*/ 1189 h 1298"/>
                <a:gd name="T42" fmla="*/ 877 w 1034"/>
                <a:gd name="T43" fmla="*/ 1248 h 1298"/>
                <a:gd name="T44" fmla="*/ 848 w 1034"/>
                <a:gd name="T45" fmla="*/ 1267 h 1298"/>
                <a:gd name="T46" fmla="*/ 770 w 1034"/>
                <a:gd name="T47" fmla="*/ 1228 h 1298"/>
                <a:gd name="T48" fmla="*/ 721 w 1034"/>
                <a:gd name="T49" fmla="*/ 1209 h 1298"/>
                <a:gd name="T50" fmla="*/ 702 w 1034"/>
                <a:gd name="T51" fmla="*/ 1170 h 1298"/>
                <a:gd name="T52" fmla="*/ 604 w 1034"/>
                <a:gd name="T53" fmla="*/ 1150 h 1298"/>
                <a:gd name="T54" fmla="*/ 526 w 1034"/>
                <a:gd name="T55" fmla="*/ 1150 h 1298"/>
                <a:gd name="T56" fmla="*/ 429 w 1034"/>
                <a:gd name="T57" fmla="*/ 1150 h 1298"/>
                <a:gd name="T58" fmla="*/ 351 w 1034"/>
                <a:gd name="T59" fmla="*/ 1160 h 1298"/>
                <a:gd name="T60" fmla="*/ 292 w 1034"/>
                <a:gd name="T61" fmla="*/ 1160 h 1298"/>
                <a:gd name="T62" fmla="*/ 312 w 1034"/>
                <a:gd name="T63" fmla="*/ 1053 h 1298"/>
                <a:gd name="T64" fmla="*/ 273 w 1034"/>
                <a:gd name="T65" fmla="*/ 994 h 1298"/>
                <a:gd name="T66" fmla="*/ 195 w 1034"/>
                <a:gd name="T67" fmla="*/ 975 h 1298"/>
                <a:gd name="T68" fmla="*/ 175 w 1034"/>
                <a:gd name="T69" fmla="*/ 975 h 1298"/>
                <a:gd name="T70" fmla="*/ 146 w 1034"/>
                <a:gd name="T71" fmla="*/ 1004 h 1298"/>
                <a:gd name="T72" fmla="*/ 107 w 1034"/>
                <a:gd name="T73" fmla="*/ 1024 h 1298"/>
                <a:gd name="T74" fmla="*/ 58 w 1034"/>
                <a:gd name="T75" fmla="*/ 975 h 1298"/>
                <a:gd name="T76" fmla="*/ 19 w 1034"/>
                <a:gd name="T77" fmla="*/ 838 h 1298"/>
                <a:gd name="T78" fmla="*/ 136 w 1034"/>
                <a:gd name="T79" fmla="*/ 770 h 1298"/>
                <a:gd name="T80" fmla="*/ 136 w 1034"/>
                <a:gd name="T81" fmla="*/ 692 h 1298"/>
                <a:gd name="T82" fmla="*/ 156 w 1034"/>
                <a:gd name="T83" fmla="*/ 635 h 1298"/>
                <a:gd name="T84" fmla="*/ 107 w 1034"/>
                <a:gd name="T85" fmla="*/ 605 h 1298"/>
                <a:gd name="T86" fmla="*/ 78 w 1034"/>
                <a:gd name="T87" fmla="*/ 596 h 1298"/>
                <a:gd name="T88" fmla="*/ 39 w 1034"/>
                <a:gd name="T89" fmla="*/ 566 h 1298"/>
                <a:gd name="T90" fmla="*/ 19 w 1034"/>
                <a:gd name="T91" fmla="*/ 430 h 1298"/>
                <a:gd name="T92" fmla="*/ 97 w 1034"/>
                <a:gd name="T93" fmla="*/ 361 h 1298"/>
                <a:gd name="T94" fmla="*/ 156 w 1034"/>
                <a:gd name="T95" fmla="*/ 303 h 1298"/>
                <a:gd name="T96" fmla="*/ 214 w 1034"/>
                <a:gd name="T97" fmla="*/ 244 h 1298"/>
                <a:gd name="T98" fmla="*/ 253 w 1034"/>
                <a:gd name="T99" fmla="*/ 186 h 1298"/>
                <a:gd name="T100" fmla="*/ 312 w 1034"/>
                <a:gd name="T101" fmla="*/ 166 h 1298"/>
                <a:gd name="T102" fmla="*/ 360 w 1034"/>
                <a:gd name="T103" fmla="*/ 88 h 1298"/>
                <a:gd name="T104" fmla="*/ 439 w 1034"/>
                <a:gd name="T105" fmla="*/ 30 h 1298"/>
                <a:gd name="T106" fmla="*/ 497 w 1034"/>
                <a:gd name="T107" fmla="*/ 10 h 1298"/>
                <a:gd name="T108" fmla="*/ 595 w 1034"/>
                <a:gd name="T109" fmla="*/ 30 h 1298"/>
                <a:gd name="T110" fmla="*/ 643 w 1034"/>
                <a:gd name="T111" fmla="*/ 49 h 1298"/>
                <a:gd name="T112" fmla="*/ 692 w 1034"/>
                <a:gd name="T113" fmla="*/ 69 h 1298"/>
                <a:gd name="T114" fmla="*/ 760 w 1034"/>
                <a:gd name="T115" fmla="*/ 49 h 1298"/>
                <a:gd name="T116" fmla="*/ 829 w 1034"/>
                <a:gd name="T117" fmla="*/ 39 h 12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34"/>
                <a:gd name="T178" fmla="*/ 0 h 1298"/>
                <a:gd name="T179" fmla="*/ 1034 w 1034"/>
                <a:gd name="T180" fmla="*/ 1298 h 129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34" h="1298">
                  <a:moveTo>
                    <a:pt x="838" y="59"/>
                  </a:moveTo>
                  <a:lnTo>
                    <a:pt x="858" y="69"/>
                  </a:lnTo>
                  <a:lnTo>
                    <a:pt x="868" y="108"/>
                  </a:lnTo>
                  <a:lnTo>
                    <a:pt x="877" y="166"/>
                  </a:lnTo>
                  <a:lnTo>
                    <a:pt x="877" y="225"/>
                  </a:lnTo>
                  <a:lnTo>
                    <a:pt x="887" y="283"/>
                  </a:lnTo>
                  <a:lnTo>
                    <a:pt x="877" y="303"/>
                  </a:lnTo>
                  <a:lnTo>
                    <a:pt x="868" y="303"/>
                  </a:lnTo>
                  <a:lnTo>
                    <a:pt x="858" y="313"/>
                  </a:lnTo>
                  <a:lnTo>
                    <a:pt x="848" y="322"/>
                  </a:lnTo>
                  <a:lnTo>
                    <a:pt x="838" y="342"/>
                  </a:lnTo>
                  <a:lnTo>
                    <a:pt x="858" y="342"/>
                  </a:lnTo>
                  <a:lnTo>
                    <a:pt x="868" y="352"/>
                  </a:lnTo>
                  <a:lnTo>
                    <a:pt x="877" y="371"/>
                  </a:lnTo>
                  <a:lnTo>
                    <a:pt x="868" y="391"/>
                  </a:lnTo>
                  <a:lnTo>
                    <a:pt x="868" y="410"/>
                  </a:lnTo>
                  <a:lnTo>
                    <a:pt x="887" y="420"/>
                  </a:lnTo>
                  <a:lnTo>
                    <a:pt x="897" y="439"/>
                  </a:lnTo>
                  <a:lnTo>
                    <a:pt x="897" y="469"/>
                  </a:lnTo>
                  <a:lnTo>
                    <a:pt x="907" y="488"/>
                  </a:lnTo>
                  <a:lnTo>
                    <a:pt x="916" y="498"/>
                  </a:lnTo>
                  <a:lnTo>
                    <a:pt x="916" y="508"/>
                  </a:lnTo>
                  <a:lnTo>
                    <a:pt x="897" y="527"/>
                  </a:lnTo>
                  <a:lnTo>
                    <a:pt x="877" y="547"/>
                  </a:lnTo>
                  <a:lnTo>
                    <a:pt x="877" y="576"/>
                  </a:lnTo>
                  <a:lnTo>
                    <a:pt x="868" y="596"/>
                  </a:lnTo>
                  <a:lnTo>
                    <a:pt x="868" y="615"/>
                  </a:lnTo>
                  <a:lnTo>
                    <a:pt x="887" y="615"/>
                  </a:lnTo>
                  <a:lnTo>
                    <a:pt x="907" y="625"/>
                  </a:lnTo>
                  <a:lnTo>
                    <a:pt x="907" y="615"/>
                  </a:lnTo>
                  <a:lnTo>
                    <a:pt x="916" y="615"/>
                  </a:lnTo>
                  <a:lnTo>
                    <a:pt x="926" y="625"/>
                  </a:lnTo>
                  <a:lnTo>
                    <a:pt x="955" y="635"/>
                  </a:lnTo>
                  <a:lnTo>
                    <a:pt x="965" y="625"/>
                  </a:lnTo>
                  <a:lnTo>
                    <a:pt x="1004" y="635"/>
                  </a:lnTo>
                  <a:lnTo>
                    <a:pt x="1004" y="625"/>
                  </a:lnTo>
                  <a:lnTo>
                    <a:pt x="1014" y="625"/>
                  </a:lnTo>
                  <a:lnTo>
                    <a:pt x="1024" y="635"/>
                  </a:lnTo>
                  <a:lnTo>
                    <a:pt x="1034" y="664"/>
                  </a:lnTo>
                  <a:lnTo>
                    <a:pt x="985" y="654"/>
                  </a:lnTo>
                  <a:lnTo>
                    <a:pt x="965" y="674"/>
                  </a:lnTo>
                  <a:lnTo>
                    <a:pt x="955" y="674"/>
                  </a:lnTo>
                  <a:lnTo>
                    <a:pt x="936" y="674"/>
                  </a:lnTo>
                  <a:lnTo>
                    <a:pt x="926" y="664"/>
                  </a:lnTo>
                  <a:lnTo>
                    <a:pt x="916" y="664"/>
                  </a:lnTo>
                  <a:lnTo>
                    <a:pt x="916" y="674"/>
                  </a:lnTo>
                  <a:lnTo>
                    <a:pt x="926" y="683"/>
                  </a:lnTo>
                  <a:lnTo>
                    <a:pt x="926" y="713"/>
                  </a:lnTo>
                  <a:lnTo>
                    <a:pt x="946" y="732"/>
                  </a:lnTo>
                  <a:lnTo>
                    <a:pt x="936" y="742"/>
                  </a:lnTo>
                  <a:lnTo>
                    <a:pt x="926" y="732"/>
                  </a:lnTo>
                  <a:lnTo>
                    <a:pt x="926" y="752"/>
                  </a:lnTo>
                  <a:lnTo>
                    <a:pt x="926" y="771"/>
                  </a:lnTo>
                  <a:lnTo>
                    <a:pt x="916" y="781"/>
                  </a:lnTo>
                  <a:lnTo>
                    <a:pt x="916" y="791"/>
                  </a:lnTo>
                  <a:lnTo>
                    <a:pt x="936" y="800"/>
                  </a:lnTo>
                  <a:lnTo>
                    <a:pt x="946" y="830"/>
                  </a:lnTo>
                  <a:lnTo>
                    <a:pt x="936" y="849"/>
                  </a:lnTo>
                  <a:lnTo>
                    <a:pt x="936" y="888"/>
                  </a:lnTo>
                  <a:lnTo>
                    <a:pt x="907" y="908"/>
                  </a:lnTo>
                  <a:lnTo>
                    <a:pt x="907" y="917"/>
                  </a:lnTo>
                  <a:lnTo>
                    <a:pt x="916" y="947"/>
                  </a:lnTo>
                  <a:lnTo>
                    <a:pt x="887" y="966"/>
                  </a:lnTo>
                  <a:lnTo>
                    <a:pt x="868" y="976"/>
                  </a:lnTo>
                  <a:lnTo>
                    <a:pt x="858" y="976"/>
                  </a:lnTo>
                  <a:lnTo>
                    <a:pt x="848" y="986"/>
                  </a:lnTo>
                  <a:lnTo>
                    <a:pt x="858" y="1005"/>
                  </a:lnTo>
                  <a:lnTo>
                    <a:pt x="848" y="1015"/>
                  </a:lnTo>
                  <a:lnTo>
                    <a:pt x="848" y="1035"/>
                  </a:lnTo>
                  <a:lnTo>
                    <a:pt x="848" y="1044"/>
                  </a:lnTo>
                  <a:lnTo>
                    <a:pt x="848" y="1054"/>
                  </a:lnTo>
                  <a:lnTo>
                    <a:pt x="848" y="1074"/>
                  </a:lnTo>
                  <a:lnTo>
                    <a:pt x="868" y="1093"/>
                  </a:lnTo>
                  <a:lnTo>
                    <a:pt x="887" y="1093"/>
                  </a:lnTo>
                  <a:lnTo>
                    <a:pt x="897" y="1103"/>
                  </a:lnTo>
                  <a:lnTo>
                    <a:pt x="907" y="1122"/>
                  </a:lnTo>
                  <a:lnTo>
                    <a:pt x="907" y="1142"/>
                  </a:lnTo>
                  <a:lnTo>
                    <a:pt x="887" y="1152"/>
                  </a:lnTo>
                  <a:lnTo>
                    <a:pt x="868" y="1161"/>
                  </a:lnTo>
                  <a:lnTo>
                    <a:pt x="868" y="1181"/>
                  </a:lnTo>
                  <a:lnTo>
                    <a:pt x="877" y="1181"/>
                  </a:lnTo>
                  <a:lnTo>
                    <a:pt x="897" y="1200"/>
                  </a:lnTo>
                  <a:lnTo>
                    <a:pt x="897" y="1210"/>
                  </a:lnTo>
                  <a:lnTo>
                    <a:pt x="907" y="1220"/>
                  </a:lnTo>
                  <a:lnTo>
                    <a:pt x="907" y="1230"/>
                  </a:lnTo>
                  <a:lnTo>
                    <a:pt x="877" y="1259"/>
                  </a:lnTo>
                  <a:lnTo>
                    <a:pt x="868" y="1269"/>
                  </a:lnTo>
                  <a:lnTo>
                    <a:pt x="877" y="1288"/>
                  </a:lnTo>
                  <a:lnTo>
                    <a:pt x="868" y="1298"/>
                  </a:lnTo>
                  <a:lnTo>
                    <a:pt x="848" y="1278"/>
                  </a:lnTo>
                  <a:lnTo>
                    <a:pt x="819" y="1278"/>
                  </a:lnTo>
                  <a:lnTo>
                    <a:pt x="819" y="1259"/>
                  </a:lnTo>
                  <a:lnTo>
                    <a:pt x="790" y="1259"/>
                  </a:lnTo>
                  <a:lnTo>
                    <a:pt x="770" y="1239"/>
                  </a:lnTo>
                  <a:lnTo>
                    <a:pt x="760" y="1259"/>
                  </a:lnTo>
                  <a:lnTo>
                    <a:pt x="741" y="1269"/>
                  </a:lnTo>
                  <a:lnTo>
                    <a:pt x="721" y="1220"/>
                  </a:lnTo>
                  <a:lnTo>
                    <a:pt x="731" y="1200"/>
                  </a:lnTo>
                  <a:lnTo>
                    <a:pt x="731" y="1181"/>
                  </a:lnTo>
                  <a:lnTo>
                    <a:pt x="721" y="1171"/>
                  </a:lnTo>
                  <a:lnTo>
                    <a:pt x="702" y="1181"/>
                  </a:lnTo>
                  <a:lnTo>
                    <a:pt x="692" y="1171"/>
                  </a:lnTo>
                  <a:lnTo>
                    <a:pt x="663" y="1161"/>
                  </a:lnTo>
                  <a:lnTo>
                    <a:pt x="634" y="1161"/>
                  </a:lnTo>
                  <a:lnTo>
                    <a:pt x="604" y="1161"/>
                  </a:lnTo>
                  <a:lnTo>
                    <a:pt x="565" y="1132"/>
                  </a:lnTo>
                  <a:lnTo>
                    <a:pt x="556" y="1132"/>
                  </a:lnTo>
                  <a:lnTo>
                    <a:pt x="546" y="1152"/>
                  </a:lnTo>
                  <a:lnTo>
                    <a:pt x="526" y="1161"/>
                  </a:lnTo>
                  <a:lnTo>
                    <a:pt x="497" y="1161"/>
                  </a:lnTo>
                  <a:lnTo>
                    <a:pt x="468" y="1161"/>
                  </a:lnTo>
                  <a:lnTo>
                    <a:pt x="448" y="1161"/>
                  </a:lnTo>
                  <a:lnTo>
                    <a:pt x="429" y="1161"/>
                  </a:lnTo>
                  <a:lnTo>
                    <a:pt x="419" y="1171"/>
                  </a:lnTo>
                  <a:lnTo>
                    <a:pt x="400" y="1181"/>
                  </a:lnTo>
                  <a:lnTo>
                    <a:pt x="351" y="1181"/>
                  </a:lnTo>
                  <a:lnTo>
                    <a:pt x="351" y="1171"/>
                  </a:lnTo>
                  <a:lnTo>
                    <a:pt x="331" y="1171"/>
                  </a:lnTo>
                  <a:lnTo>
                    <a:pt x="321" y="1181"/>
                  </a:lnTo>
                  <a:lnTo>
                    <a:pt x="312" y="1161"/>
                  </a:lnTo>
                  <a:lnTo>
                    <a:pt x="292" y="1171"/>
                  </a:lnTo>
                  <a:lnTo>
                    <a:pt x="292" y="1161"/>
                  </a:lnTo>
                  <a:lnTo>
                    <a:pt x="292" y="1103"/>
                  </a:lnTo>
                  <a:lnTo>
                    <a:pt x="302" y="1093"/>
                  </a:lnTo>
                  <a:lnTo>
                    <a:pt x="312" y="1064"/>
                  </a:lnTo>
                  <a:lnTo>
                    <a:pt x="312" y="1044"/>
                  </a:lnTo>
                  <a:lnTo>
                    <a:pt x="302" y="1025"/>
                  </a:lnTo>
                  <a:lnTo>
                    <a:pt x="282" y="1015"/>
                  </a:lnTo>
                  <a:lnTo>
                    <a:pt x="273" y="1005"/>
                  </a:lnTo>
                  <a:lnTo>
                    <a:pt x="243" y="1005"/>
                  </a:lnTo>
                  <a:lnTo>
                    <a:pt x="214" y="996"/>
                  </a:lnTo>
                  <a:lnTo>
                    <a:pt x="195" y="996"/>
                  </a:lnTo>
                  <a:lnTo>
                    <a:pt x="195" y="986"/>
                  </a:lnTo>
                  <a:lnTo>
                    <a:pt x="204" y="966"/>
                  </a:lnTo>
                  <a:lnTo>
                    <a:pt x="185" y="966"/>
                  </a:lnTo>
                  <a:lnTo>
                    <a:pt x="175" y="976"/>
                  </a:lnTo>
                  <a:lnTo>
                    <a:pt x="175" y="986"/>
                  </a:lnTo>
                  <a:lnTo>
                    <a:pt x="165" y="996"/>
                  </a:lnTo>
                  <a:lnTo>
                    <a:pt x="156" y="996"/>
                  </a:lnTo>
                  <a:lnTo>
                    <a:pt x="156" y="1005"/>
                  </a:lnTo>
                  <a:lnTo>
                    <a:pt x="146" y="1015"/>
                  </a:lnTo>
                  <a:lnTo>
                    <a:pt x="146" y="1005"/>
                  </a:lnTo>
                  <a:lnTo>
                    <a:pt x="126" y="1015"/>
                  </a:lnTo>
                  <a:lnTo>
                    <a:pt x="117" y="1025"/>
                  </a:lnTo>
                  <a:lnTo>
                    <a:pt x="107" y="1035"/>
                  </a:lnTo>
                  <a:lnTo>
                    <a:pt x="87" y="1035"/>
                  </a:lnTo>
                  <a:lnTo>
                    <a:pt x="87" y="1025"/>
                  </a:lnTo>
                  <a:lnTo>
                    <a:pt x="78" y="1005"/>
                  </a:lnTo>
                  <a:lnTo>
                    <a:pt x="58" y="986"/>
                  </a:lnTo>
                  <a:lnTo>
                    <a:pt x="39" y="947"/>
                  </a:lnTo>
                  <a:lnTo>
                    <a:pt x="58" y="917"/>
                  </a:lnTo>
                  <a:lnTo>
                    <a:pt x="58" y="888"/>
                  </a:lnTo>
                  <a:lnTo>
                    <a:pt x="19" y="849"/>
                  </a:lnTo>
                  <a:lnTo>
                    <a:pt x="78" y="830"/>
                  </a:lnTo>
                  <a:lnTo>
                    <a:pt x="87" y="810"/>
                  </a:lnTo>
                  <a:lnTo>
                    <a:pt x="107" y="791"/>
                  </a:lnTo>
                  <a:lnTo>
                    <a:pt x="136" y="781"/>
                  </a:lnTo>
                  <a:lnTo>
                    <a:pt x="146" y="742"/>
                  </a:lnTo>
                  <a:lnTo>
                    <a:pt x="146" y="722"/>
                  </a:lnTo>
                  <a:lnTo>
                    <a:pt x="136" y="722"/>
                  </a:lnTo>
                  <a:lnTo>
                    <a:pt x="136" y="703"/>
                  </a:lnTo>
                  <a:lnTo>
                    <a:pt x="156" y="693"/>
                  </a:lnTo>
                  <a:lnTo>
                    <a:pt x="165" y="674"/>
                  </a:lnTo>
                  <a:lnTo>
                    <a:pt x="165" y="654"/>
                  </a:lnTo>
                  <a:lnTo>
                    <a:pt x="156" y="635"/>
                  </a:lnTo>
                  <a:lnTo>
                    <a:pt x="146" y="615"/>
                  </a:lnTo>
                  <a:lnTo>
                    <a:pt x="126" y="615"/>
                  </a:lnTo>
                  <a:lnTo>
                    <a:pt x="117" y="615"/>
                  </a:lnTo>
                  <a:lnTo>
                    <a:pt x="107" y="605"/>
                  </a:lnTo>
                  <a:lnTo>
                    <a:pt x="107" y="586"/>
                  </a:lnTo>
                  <a:lnTo>
                    <a:pt x="97" y="576"/>
                  </a:lnTo>
                  <a:lnTo>
                    <a:pt x="87" y="596"/>
                  </a:lnTo>
                  <a:lnTo>
                    <a:pt x="78" y="596"/>
                  </a:lnTo>
                  <a:lnTo>
                    <a:pt x="78" y="586"/>
                  </a:lnTo>
                  <a:lnTo>
                    <a:pt x="78" y="576"/>
                  </a:lnTo>
                  <a:lnTo>
                    <a:pt x="68" y="576"/>
                  </a:lnTo>
                  <a:lnTo>
                    <a:pt x="39" y="566"/>
                  </a:lnTo>
                  <a:lnTo>
                    <a:pt x="19" y="556"/>
                  </a:lnTo>
                  <a:lnTo>
                    <a:pt x="39" y="478"/>
                  </a:lnTo>
                  <a:lnTo>
                    <a:pt x="0" y="469"/>
                  </a:lnTo>
                  <a:lnTo>
                    <a:pt x="19" y="430"/>
                  </a:lnTo>
                  <a:lnTo>
                    <a:pt x="48" y="420"/>
                  </a:lnTo>
                  <a:lnTo>
                    <a:pt x="58" y="381"/>
                  </a:lnTo>
                  <a:lnTo>
                    <a:pt x="68" y="371"/>
                  </a:lnTo>
                  <a:lnTo>
                    <a:pt x="97" y="361"/>
                  </a:lnTo>
                  <a:lnTo>
                    <a:pt x="107" y="352"/>
                  </a:lnTo>
                  <a:lnTo>
                    <a:pt x="126" y="332"/>
                  </a:lnTo>
                  <a:lnTo>
                    <a:pt x="146" y="313"/>
                  </a:lnTo>
                  <a:lnTo>
                    <a:pt x="156" y="303"/>
                  </a:lnTo>
                  <a:lnTo>
                    <a:pt x="165" y="283"/>
                  </a:lnTo>
                  <a:lnTo>
                    <a:pt x="175" y="264"/>
                  </a:lnTo>
                  <a:lnTo>
                    <a:pt x="185" y="264"/>
                  </a:lnTo>
                  <a:lnTo>
                    <a:pt x="214" y="244"/>
                  </a:lnTo>
                  <a:lnTo>
                    <a:pt x="224" y="225"/>
                  </a:lnTo>
                  <a:lnTo>
                    <a:pt x="234" y="215"/>
                  </a:lnTo>
                  <a:lnTo>
                    <a:pt x="243" y="205"/>
                  </a:lnTo>
                  <a:lnTo>
                    <a:pt x="253" y="186"/>
                  </a:lnTo>
                  <a:lnTo>
                    <a:pt x="263" y="176"/>
                  </a:lnTo>
                  <a:lnTo>
                    <a:pt x="273" y="166"/>
                  </a:lnTo>
                  <a:lnTo>
                    <a:pt x="282" y="166"/>
                  </a:lnTo>
                  <a:lnTo>
                    <a:pt x="312" y="166"/>
                  </a:lnTo>
                  <a:lnTo>
                    <a:pt x="331" y="147"/>
                  </a:lnTo>
                  <a:lnTo>
                    <a:pt x="341" y="127"/>
                  </a:lnTo>
                  <a:lnTo>
                    <a:pt x="360" y="117"/>
                  </a:lnTo>
                  <a:lnTo>
                    <a:pt x="360" y="88"/>
                  </a:lnTo>
                  <a:lnTo>
                    <a:pt x="370" y="69"/>
                  </a:lnTo>
                  <a:lnTo>
                    <a:pt x="380" y="69"/>
                  </a:lnTo>
                  <a:lnTo>
                    <a:pt x="409" y="59"/>
                  </a:lnTo>
                  <a:lnTo>
                    <a:pt x="439" y="30"/>
                  </a:lnTo>
                  <a:lnTo>
                    <a:pt x="458" y="30"/>
                  </a:lnTo>
                  <a:lnTo>
                    <a:pt x="468" y="20"/>
                  </a:lnTo>
                  <a:lnTo>
                    <a:pt x="487" y="20"/>
                  </a:lnTo>
                  <a:lnTo>
                    <a:pt x="497" y="10"/>
                  </a:lnTo>
                  <a:lnTo>
                    <a:pt x="536" y="20"/>
                  </a:lnTo>
                  <a:lnTo>
                    <a:pt x="565" y="0"/>
                  </a:lnTo>
                  <a:lnTo>
                    <a:pt x="575" y="10"/>
                  </a:lnTo>
                  <a:lnTo>
                    <a:pt x="595" y="30"/>
                  </a:lnTo>
                  <a:lnTo>
                    <a:pt x="585" y="49"/>
                  </a:lnTo>
                  <a:lnTo>
                    <a:pt x="595" y="49"/>
                  </a:lnTo>
                  <a:lnTo>
                    <a:pt x="604" y="39"/>
                  </a:lnTo>
                  <a:lnTo>
                    <a:pt x="643" y="49"/>
                  </a:lnTo>
                  <a:lnTo>
                    <a:pt x="663" y="39"/>
                  </a:lnTo>
                  <a:lnTo>
                    <a:pt x="673" y="49"/>
                  </a:lnTo>
                  <a:lnTo>
                    <a:pt x="673" y="59"/>
                  </a:lnTo>
                  <a:lnTo>
                    <a:pt x="692" y="69"/>
                  </a:lnTo>
                  <a:lnTo>
                    <a:pt x="721" y="69"/>
                  </a:lnTo>
                  <a:lnTo>
                    <a:pt x="741" y="78"/>
                  </a:lnTo>
                  <a:lnTo>
                    <a:pt x="760" y="59"/>
                  </a:lnTo>
                  <a:lnTo>
                    <a:pt x="760" y="49"/>
                  </a:lnTo>
                  <a:lnTo>
                    <a:pt x="799" y="49"/>
                  </a:lnTo>
                  <a:lnTo>
                    <a:pt x="799" y="59"/>
                  </a:lnTo>
                  <a:lnTo>
                    <a:pt x="809" y="69"/>
                  </a:lnTo>
                  <a:lnTo>
                    <a:pt x="829" y="39"/>
                  </a:lnTo>
                  <a:lnTo>
                    <a:pt x="848" y="39"/>
                  </a:lnTo>
                  <a:lnTo>
                    <a:pt x="838" y="59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7" name="Freeform 60"/>
            <p:cNvSpPr>
              <a:spLocks/>
            </p:cNvSpPr>
            <p:nvPr/>
          </p:nvSpPr>
          <p:spPr bwMode="auto">
            <a:xfrm>
              <a:off x="7677" y="3716"/>
              <a:ext cx="319" cy="226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87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2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9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2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2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9 h 225"/>
                <a:gd name="T66" fmla="*/ 292 w 321"/>
                <a:gd name="T67" fmla="*/ 39 h 225"/>
                <a:gd name="T68" fmla="*/ 273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86 h 225"/>
                <a:gd name="T84" fmla="*/ 146 w 321"/>
                <a:gd name="T85" fmla="*/ 205 h 225"/>
                <a:gd name="T86" fmla="*/ 12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05 h 225"/>
                <a:gd name="T96" fmla="*/ 58 w 321"/>
                <a:gd name="T97" fmla="*/ 20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87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2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9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2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2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9"/>
                  </a:lnTo>
                  <a:lnTo>
                    <a:pt x="273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86"/>
                  </a:lnTo>
                  <a:lnTo>
                    <a:pt x="146" y="205"/>
                  </a:lnTo>
                  <a:lnTo>
                    <a:pt x="12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28" name="Group 57"/>
            <p:cNvGrpSpPr>
              <a:grpSpLocks/>
            </p:cNvGrpSpPr>
            <p:nvPr/>
          </p:nvGrpSpPr>
          <p:grpSpPr bwMode="auto">
            <a:xfrm>
              <a:off x="7676" y="3717"/>
              <a:ext cx="321" cy="225"/>
              <a:chOff x="7677" y="3717"/>
              <a:chExt cx="321" cy="225"/>
            </a:xfrm>
          </p:grpSpPr>
          <p:sp>
            <p:nvSpPr>
              <p:cNvPr id="670" name="Freeform 59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1" name="Freeform 58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29" name="Freeform 56"/>
            <p:cNvSpPr>
              <a:spLocks/>
            </p:cNvSpPr>
            <p:nvPr/>
          </p:nvSpPr>
          <p:spPr bwMode="auto">
            <a:xfrm>
              <a:off x="8083" y="889"/>
              <a:ext cx="704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56 h 1307"/>
                <a:gd name="T4" fmla="*/ 273 w 703"/>
                <a:gd name="T5" fmla="*/ 127 h 1307"/>
                <a:gd name="T6" fmla="*/ 342 w 703"/>
                <a:gd name="T7" fmla="*/ 224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24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2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15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7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24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5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24"/>
                  </a:lnTo>
                  <a:lnTo>
                    <a:pt x="342" y="224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2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3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1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22"/>
                  </a:lnTo>
                  <a:lnTo>
                    <a:pt x="654" y="322"/>
                  </a:lnTo>
                  <a:lnTo>
                    <a:pt x="644" y="322"/>
                  </a:lnTo>
                  <a:lnTo>
                    <a:pt x="625" y="322"/>
                  </a:lnTo>
                  <a:lnTo>
                    <a:pt x="615" y="332"/>
                  </a:lnTo>
                  <a:lnTo>
                    <a:pt x="605" y="32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66" y="45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1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66" y="751"/>
                  </a:lnTo>
                  <a:lnTo>
                    <a:pt x="56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15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093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0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71"/>
                  </a:lnTo>
                  <a:lnTo>
                    <a:pt x="46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093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49" y="1024"/>
                  </a:lnTo>
                  <a:lnTo>
                    <a:pt x="459" y="1015"/>
                  </a:lnTo>
                  <a:lnTo>
                    <a:pt x="449" y="995"/>
                  </a:lnTo>
                  <a:lnTo>
                    <a:pt x="449" y="985"/>
                  </a:lnTo>
                  <a:lnTo>
                    <a:pt x="449" y="946"/>
                  </a:lnTo>
                  <a:lnTo>
                    <a:pt x="459" y="937"/>
                  </a:lnTo>
                  <a:lnTo>
                    <a:pt x="449" y="927"/>
                  </a:lnTo>
                  <a:lnTo>
                    <a:pt x="44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20" y="810"/>
                  </a:lnTo>
                  <a:lnTo>
                    <a:pt x="42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73"/>
                  </a:lnTo>
                  <a:lnTo>
                    <a:pt x="371" y="654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5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5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36"/>
                  </a:lnTo>
                  <a:lnTo>
                    <a:pt x="254" y="53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5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30" name="Group 53"/>
            <p:cNvGrpSpPr>
              <a:grpSpLocks/>
            </p:cNvGrpSpPr>
            <p:nvPr/>
          </p:nvGrpSpPr>
          <p:grpSpPr bwMode="auto">
            <a:xfrm>
              <a:off x="8085" y="888"/>
              <a:ext cx="703" cy="1307"/>
              <a:chOff x="8086" y="888"/>
              <a:chExt cx="703" cy="1307"/>
            </a:xfrm>
          </p:grpSpPr>
          <p:sp>
            <p:nvSpPr>
              <p:cNvPr id="668" name="Freeform 55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  <a:lnTo>
                      <a:pt x="49" y="244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9" name="Freeform 54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31" name="Freeform 52"/>
            <p:cNvSpPr>
              <a:spLocks/>
            </p:cNvSpPr>
            <p:nvPr/>
          </p:nvSpPr>
          <p:spPr bwMode="auto">
            <a:xfrm>
              <a:off x="7607" y="0"/>
              <a:ext cx="1151" cy="1297"/>
            </a:xfrm>
            <a:custGeom>
              <a:avLst/>
              <a:gdLst>
                <a:gd name="T0" fmla="*/ 59 w 1151"/>
                <a:gd name="T1" fmla="*/ 849 h 1298"/>
                <a:gd name="T2" fmla="*/ 117 w 1151"/>
                <a:gd name="T3" fmla="*/ 732 h 1298"/>
                <a:gd name="T4" fmla="*/ 215 w 1151"/>
                <a:gd name="T5" fmla="*/ 722 h 1298"/>
                <a:gd name="T6" fmla="*/ 264 w 1151"/>
                <a:gd name="T7" fmla="*/ 683 h 1298"/>
                <a:gd name="T8" fmla="*/ 195 w 1151"/>
                <a:gd name="T9" fmla="*/ 644 h 1298"/>
                <a:gd name="T10" fmla="*/ 137 w 1151"/>
                <a:gd name="T11" fmla="*/ 624 h 1298"/>
                <a:gd name="T12" fmla="*/ 186 w 1151"/>
                <a:gd name="T13" fmla="*/ 566 h 1298"/>
                <a:gd name="T14" fmla="*/ 234 w 1151"/>
                <a:gd name="T15" fmla="*/ 527 h 1298"/>
                <a:gd name="T16" fmla="*/ 273 w 1151"/>
                <a:gd name="T17" fmla="*/ 439 h 1298"/>
                <a:gd name="T18" fmla="*/ 351 w 1151"/>
                <a:gd name="T19" fmla="*/ 390 h 1298"/>
                <a:gd name="T20" fmla="*/ 400 w 1151"/>
                <a:gd name="T21" fmla="*/ 351 h 1298"/>
                <a:gd name="T22" fmla="*/ 508 w 1151"/>
                <a:gd name="T23" fmla="*/ 293 h 1298"/>
                <a:gd name="T24" fmla="*/ 576 w 1151"/>
                <a:gd name="T25" fmla="*/ 244 h 1298"/>
                <a:gd name="T26" fmla="*/ 644 w 1151"/>
                <a:gd name="T27" fmla="*/ 224 h 1298"/>
                <a:gd name="T28" fmla="*/ 683 w 1151"/>
                <a:gd name="T29" fmla="*/ 205 h 1298"/>
                <a:gd name="T30" fmla="*/ 761 w 1151"/>
                <a:gd name="T31" fmla="*/ 205 h 1298"/>
                <a:gd name="T32" fmla="*/ 810 w 1151"/>
                <a:gd name="T33" fmla="*/ 185 h 1298"/>
                <a:gd name="T34" fmla="*/ 751 w 1151"/>
                <a:gd name="T35" fmla="*/ 176 h 1298"/>
                <a:gd name="T36" fmla="*/ 761 w 1151"/>
                <a:gd name="T37" fmla="*/ 137 h 1298"/>
                <a:gd name="T38" fmla="*/ 771 w 1151"/>
                <a:gd name="T39" fmla="*/ 68 h 1298"/>
                <a:gd name="T40" fmla="*/ 868 w 1151"/>
                <a:gd name="T41" fmla="*/ 29 h 1298"/>
                <a:gd name="T42" fmla="*/ 917 w 1151"/>
                <a:gd name="T43" fmla="*/ 49 h 1298"/>
                <a:gd name="T44" fmla="*/ 927 w 1151"/>
                <a:gd name="T45" fmla="*/ 88 h 1298"/>
                <a:gd name="T46" fmla="*/ 917 w 1151"/>
                <a:gd name="T47" fmla="*/ 146 h 1298"/>
                <a:gd name="T48" fmla="*/ 966 w 1151"/>
                <a:gd name="T49" fmla="*/ 146 h 1298"/>
                <a:gd name="T50" fmla="*/ 1005 w 1151"/>
                <a:gd name="T51" fmla="*/ 185 h 1298"/>
                <a:gd name="T52" fmla="*/ 1064 w 1151"/>
                <a:gd name="T53" fmla="*/ 195 h 1298"/>
                <a:gd name="T54" fmla="*/ 1054 w 1151"/>
                <a:gd name="T55" fmla="*/ 244 h 1298"/>
                <a:gd name="T56" fmla="*/ 976 w 1151"/>
                <a:gd name="T57" fmla="*/ 293 h 1298"/>
                <a:gd name="T58" fmla="*/ 907 w 1151"/>
                <a:gd name="T59" fmla="*/ 312 h 1298"/>
                <a:gd name="T60" fmla="*/ 859 w 1151"/>
                <a:gd name="T61" fmla="*/ 381 h 1298"/>
                <a:gd name="T62" fmla="*/ 781 w 1151"/>
                <a:gd name="T63" fmla="*/ 400 h 1298"/>
                <a:gd name="T64" fmla="*/ 742 w 1151"/>
                <a:gd name="T65" fmla="*/ 420 h 1298"/>
                <a:gd name="T66" fmla="*/ 771 w 1151"/>
                <a:gd name="T67" fmla="*/ 449 h 1298"/>
                <a:gd name="T68" fmla="*/ 820 w 1151"/>
                <a:gd name="T69" fmla="*/ 488 h 1298"/>
                <a:gd name="T70" fmla="*/ 868 w 1151"/>
                <a:gd name="T71" fmla="*/ 517 h 1298"/>
                <a:gd name="T72" fmla="*/ 859 w 1151"/>
                <a:gd name="T73" fmla="*/ 615 h 1298"/>
                <a:gd name="T74" fmla="*/ 800 w 1151"/>
                <a:gd name="T75" fmla="*/ 654 h 1298"/>
                <a:gd name="T76" fmla="*/ 829 w 1151"/>
                <a:gd name="T77" fmla="*/ 644 h 1298"/>
                <a:gd name="T78" fmla="*/ 820 w 1151"/>
                <a:gd name="T79" fmla="*/ 673 h 1298"/>
                <a:gd name="T80" fmla="*/ 849 w 1151"/>
                <a:gd name="T81" fmla="*/ 644 h 1298"/>
                <a:gd name="T82" fmla="*/ 917 w 1151"/>
                <a:gd name="T83" fmla="*/ 605 h 1298"/>
                <a:gd name="T84" fmla="*/ 995 w 1151"/>
                <a:gd name="T85" fmla="*/ 644 h 1298"/>
                <a:gd name="T86" fmla="*/ 1044 w 1151"/>
                <a:gd name="T87" fmla="*/ 615 h 1298"/>
                <a:gd name="T88" fmla="*/ 1112 w 1151"/>
                <a:gd name="T89" fmla="*/ 624 h 1298"/>
                <a:gd name="T90" fmla="*/ 1151 w 1151"/>
                <a:gd name="T91" fmla="*/ 654 h 1298"/>
                <a:gd name="T92" fmla="*/ 1083 w 1151"/>
                <a:gd name="T93" fmla="*/ 722 h 1298"/>
                <a:gd name="T94" fmla="*/ 1064 w 1151"/>
                <a:gd name="T95" fmla="*/ 732 h 1298"/>
                <a:gd name="T96" fmla="*/ 1083 w 1151"/>
                <a:gd name="T97" fmla="*/ 771 h 1298"/>
                <a:gd name="T98" fmla="*/ 1093 w 1151"/>
                <a:gd name="T99" fmla="*/ 868 h 1298"/>
                <a:gd name="T100" fmla="*/ 1025 w 1151"/>
                <a:gd name="T101" fmla="*/ 907 h 1298"/>
                <a:gd name="T102" fmla="*/ 966 w 1151"/>
                <a:gd name="T103" fmla="*/ 976 h 1298"/>
                <a:gd name="T104" fmla="*/ 898 w 1151"/>
                <a:gd name="T105" fmla="*/ 1054 h 1298"/>
                <a:gd name="T106" fmla="*/ 790 w 1151"/>
                <a:gd name="T107" fmla="*/ 1024 h 1298"/>
                <a:gd name="T108" fmla="*/ 654 w 1151"/>
                <a:gd name="T109" fmla="*/ 1044 h 1298"/>
                <a:gd name="T110" fmla="*/ 556 w 1151"/>
                <a:gd name="T111" fmla="*/ 1112 h 1298"/>
                <a:gd name="T112" fmla="*/ 478 w 1151"/>
                <a:gd name="T113" fmla="*/ 1200 h 1298"/>
                <a:gd name="T114" fmla="*/ 381 w 1151"/>
                <a:gd name="T115" fmla="*/ 1268 h 1298"/>
                <a:gd name="T116" fmla="*/ 264 w 1151"/>
                <a:gd name="T117" fmla="*/ 1298 h 1298"/>
                <a:gd name="T118" fmla="*/ 127 w 1151"/>
                <a:gd name="T119" fmla="*/ 1220 h 1298"/>
                <a:gd name="T120" fmla="*/ 49 w 1151"/>
                <a:gd name="T121" fmla="*/ 1112 h 1298"/>
                <a:gd name="T122" fmla="*/ 108 w 1151"/>
                <a:gd name="T123" fmla="*/ 976 h 12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1"/>
                <a:gd name="T187" fmla="*/ 0 h 1298"/>
                <a:gd name="T188" fmla="*/ 1151 w 1151"/>
                <a:gd name="T189" fmla="*/ 1298 h 12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1" h="1298">
                  <a:moveTo>
                    <a:pt x="10" y="937"/>
                  </a:moveTo>
                  <a:lnTo>
                    <a:pt x="10" y="917"/>
                  </a:lnTo>
                  <a:lnTo>
                    <a:pt x="0" y="907"/>
                  </a:lnTo>
                  <a:lnTo>
                    <a:pt x="20" y="878"/>
                  </a:lnTo>
                  <a:lnTo>
                    <a:pt x="30" y="868"/>
                  </a:lnTo>
                  <a:lnTo>
                    <a:pt x="30" y="849"/>
                  </a:lnTo>
                  <a:lnTo>
                    <a:pt x="39" y="849"/>
                  </a:lnTo>
                  <a:lnTo>
                    <a:pt x="59" y="849"/>
                  </a:lnTo>
                  <a:lnTo>
                    <a:pt x="69" y="839"/>
                  </a:lnTo>
                  <a:lnTo>
                    <a:pt x="78" y="820"/>
                  </a:lnTo>
                  <a:lnTo>
                    <a:pt x="88" y="810"/>
                  </a:lnTo>
                  <a:lnTo>
                    <a:pt x="108" y="800"/>
                  </a:lnTo>
                  <a:lnTo>
                    <a:pt x="108" y="790"/>
                  </a:lnTo>
                  <a:lnTo>
                    <a:pt x="117" y="781"/>
                  </a:lnTo>
                  <a:lnTo>
                    <a:pt x="117" y="761"/>
                  </a:lnTo>
                  <a:lnTo>
                    <a:pt x="117" y="732"/>
                  </a:lnTo>
                  <a:lnTo>
                    <a:pt x="117" y="722"/>
                  </a:lnTo>
                  <a:lnTo>
                    <a:pt x="127" y="732"/>
                  </a:lnTo>
                  <a:lnTo>
                    <a:pt x="156" y="732"/>
                  </a:lnTo>
                  <a:lnTo>
                    <a:pt x="166" y="742"/>
                  </a:lnTo>
                  <a:lnTo>
                    <a:pt x="186" y="742"/>
                  </a:lnTo>
                  <a:lnTo>
                    <a:pt x="186" y="732"/>
                  </a:lnTo>
                  <a:lnTo>
                    <a:pt x="195" y="722"/>
                  </a:lnTo>
                  <a:lnTo>
                    <a:pt x="215" y="722"/>
                  </a:lnTo>
                  <a:lnTo>
                    <a:pt x="234" y="722"/>
                  </a:lnTo>
                  <a:lnTo>
                    <a:pt x="244" y="732"/>
                  </a:lnTo>
                  <a:lnTo>
                    <a:pt x="254" y="722"/>
                  </a:lnTo>
                  <a:lnTo>
                    <a:pt x="264" y="722"/>
                  </a:lnTo>
                  <a:lnTo>
                    <a:pt x="264" y="702"/>
                  </a:lnTo>
                  <a:lnTo>
                    <a:pt x="273" y="693"/>
                  </a:lnTo>
                  <a:lnTo>
                    <a:pt x="264" y="683"/>
                  </a:lnTo>
                  <a:lnTo>
                    <a:pt x="254" y="673"/>
                  </a:lnTo>
                  <a:lnTo>
                    <a:pt x="254" y="663"/>
                  </a:lnTo>
                  <a:lnTo>
                    <a:pt x="244" y="663"/>
                  </a:lnTo>
                  <a:lnTo>
                    <a:pt x="244" y="654"/>
                  </a:lnTo>
                  <a:lnTo>
                    <a:pt x="225" y="65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95" y="654"/>
                  </a:lnTo>
                  <a:lnTo>
                    <a:pt x="176" y="654"/>
                  </a:lnTo>
                  <a:lnTo>
                    <a:pt x="176" y="644"/>
                  </a:lnTo>
                  <a:lnTo>
                    <a:pt x="176" y="634"/>
                  </a:lnTo>
                  <a:lnTo>
                    <a:pt x="156" y="624"/>
                  </a:lnTo>
                  <a:lnTo>
                    <a:pt x="137" y="624"/>
                  </a:lnTo>
                  <a:lnTo>
                    <a:pt x="137" y="615"/>
                  </a:lnTo>
                  <a:lnTo>
                    <a:pt x="147" y="605"/>
                  </a:lnTo>
                  <a:lnTo>
                    <a:pt x="156" y="595"/>
                  </a:lnTo>
                  <a:lnTo>
                    <a:pt x="166" y="585"/>
                  </a:lnTo>
                  <a:lnTo>
                    <a:pt x="176" y="585"/>
                  </a:lnTo>
                  <a:lnTo>
                    <a:pt x="176" y="576"/>
                  </a:lnTo>
                  <a:lnTo>
                    <a:pt x="186" y="566"/>
                  </a:lnTo>
                  <a:lnTo>
                    <a:pt x="195" y="546"/>
                  </a:lnTo>
                  <a:lnTo>
                    <a:pt x="205" y="546"/>
                  </a:lnTo>
                  <a:lnTo>
                    <a:pt x="215" y="546"/>
                  </a:lnTo>
                  <a:lnTo>
                    <a:pt x="234" y="546"/>
                  </a:lnTo>
                  <a:lnTo>
                    <a:pt x="234" y="527"/>
                  </a:lnTo>
                  <a:lnTo>
                    <a:pt x="215" y="527"/>
                  </a:lnTo>
                  <a:lnTo>
                    <a:pt x="234" y="527"/>
                  </a:lnTo>
                  <a:lnTo>
                    <a:pt x="234" y="507"/>
                  </a:lnTo>
                  <a:lnTo>
                    <a:pt x="234" y="498"/>
                  </a:lnTo>
                  <a:lnTo>
                    <a:pt x="244" y="478"/>
                  </a:lnTo>
                  <a:lnTo>
                    <a:pt x="254" y="468"/>
                  </a:lnTo>
                  <a:lnTo>
                    <a:pt x="264" y="459"/>
                  </a:lnTo>
                  <a:lnTo>
                    <a:pt x="273" y="449"/>
                  </a:lnTo>
                  <a:lnTo>
                    <a:pt x="273" y="439"/>
                  </a:lnTo>
                  <a:lnTo>
                    <a:pt x="254" y="449"/>
                  </a:lnTo>
                  <a:lnTo>
                    <a:pt x="254" y="439"/>
                  </a:lnTo>
                  <a:lnTo>
                    <a:pt x="264" y="439"/>
                  </a:lnTo>
                  <a:lnTo>
                    <a:pt x="283" y="429"/>
                  </a:lnTo>
                  <a:lnTo>
                    <a:pt x="303" y="420"/>
                  </a:lnTo>
                  <a:lnTo>
                    <a:pt x="312" y="410"/>
                  </a:lnTo>
                  <a:lnTo>
                    <a:pt x="332" y="390"/>
                  </a:lnTo>
                  <a:lnTo>
                    <a:pt x="351" y="390"/>
                  </a:lnTo>
                  <a:lnTo>
                    <a:pt x="351" y="371"/>
                  </a:lnTo>
                  <a:lnTo>
                    <a:pt x="351" y="361"/>
                  </a:lnTo>
                  <a:lnTo>
                    <a:pt x="361" y="361"/>
                  </a:lnTo>
                  <a:lnTo>
                    <a:pt x="381" y="351"/>
                  </a:lnTo>
                  <a:lnTo>
                    <a:pt x="371" y="361"/>
                  </a:lnTo>
                  <a:lnTo>
                    <a:pt x="371" y="371"/>
                  </a:lnTo>
                  <a:lnTo>
                    <a:pt x="381" y="371"/>
                  </a:lnTo>
                  <a:lnTo>
                    <a:pt x="400" y="351"/>
                  </a:lnTo>
                  <a:lnTo>
                    <a:pt x="410" y="341"/>
                  </a:lnTo>
                  <a:lnTo>
                    <a:pt x="430" y="341"/>
                  </a:lnTo>
                  <a:lnTo>
                    <a:pt x="449" y="322"/>
                  </a:lnTo>
                  <a:lnTo>
                    <a:pt x="459" y="312"/>
                  </a:lnTo>
                  <a:lnTo>
                    <a:pt x="469" y="312"/>
                  </a:lnTo>
                  <a:lnTo>
                    <a:pt x="478" y="302"/>
                  </a:lnTo>
                  <a:lnTo>
                    <a:pt x="498" y="302"/>
                  </a:lnTo>
                  <a:lnTo>
                    <a:pt x="508" y="293"/>
                  </a:lnTo>
                  <a:lnTo>
                    <a:pt x="517" y="293"/>
                  </a:lnTo>
                  <a:lnTo>
                    <a:pt x="527" y="283"/>
                  </a:lnTo>
                  <a:lnTo>
                    <a:pt x="537" y="283"/>
                  </a:lnTo>
                  <a:lnTo>
                    <a:pt x="547" y="273"/>
                  </a:lnTo>
                  <a:lnTo>
                    <a:pt x="556" y="273"/>
                  </a:lnTo>
                  <a:lnTo>
                    <a:pt x="556" y="254"/>
                  </a:lnTo>
                  <a:lnTo>
                    <a:pt x="566" y="254"/>
                  </a:lnTo>
                  <a:lnTo>
                    <a:pt x="576" y="244"/>
                  </a:lnTo>
                  <a:lnTo>
                    <a:pt x="586" y="244"/>
                  </a:lnTo>
                  <a:lnTo>
                    <a:pt x="595" y="254"/>
                  </a:lnTo>
                  <a:lnTo>
                    <a:pt x="605" y="244"/>
                  </a:lnTo>
                  <a:lnTo>
                    <a:pt x="615" y="234"/>
                  </a:lnTo>
                  <a:lnTo>
                    <a:pt x="615" y="224"/>
                  </a:lnTo>
                  <a:lnTo>
                    <a:pt x="625" y="224"/>
                  </a:lnTo>
                  <a:lnTo>
                    <a:pt x="634" y="234"/>
                  </a:lnTo>
                  <a:lnTo>
                    <a:pt x="644" y="224"/>
                  </a:lnTo>
                  <a:lnTo>
                    <a:pt x="654" y="224"/>
                  </a:lnTo>
                  <a:lnTo>
                    <a:pt x="644" y="224"/>
                  </a:lnTo>
                  <a:lnTo>
                    <a:pt x="634" y="224"/>
                  </a:lnTo>
                  <a:lnTo>
                    <a:pt x="625" y="215"/>
                  </a:lnTo>
                  <a:lnTo>
                    <a:pt x="634" y="215"/>
                  </a:lnTo>
                  <a:lnTo>
                    <a:pt x="644" y="195"/>
                  </a:lnTo>
                  <a:lnTo>
                    <a:pt x="664" y="195"/>
                  </a:lnTo>
                  <a:lnTo>
                    <a:pt x="683" y="205"/>
                  </a:lnTo>
                  <a:lnTo>
                    <a:pt x="673" y="195"/>
                  </a:lnTo>
                  <a:lnTo>
                    <a:pt x="683" y="185"/>
                  </a:lnTo>
                  <a:lnTo>
                    <a:pt x="703" y="185"/>
                  </a:lnTo>
                  <a:lnTo>
                    <a:pt x="703" y="195"/>
                  </a:lnTo>
                  <a:lnTo>
                    <a:pt x="712" y="205"/>
                  </a:lnTo>
                  <a:lnTo>
                    <a:pt x="732" y="205"/>
                  </a:lnTo>
                  <a:lnTo>
                    <a:pt x="751" y="195"/>
                  </a:lnTo>
                  <a:lnTo>
                    <a:pt x="761" y="205"/>
                  </a:lnTo>
                  <a:lnTo>
                    <a:pt x="761" y="215"/>
                  </a:lnTo>
                  <a:lnTo>
                    <a:pt x="781" y="215"/>
                  </a:lnTo>
                  <a:lnTo>
                    <a:pt x="781" y="205"/>
                  </a:lnTo>
                  <a:lnTo>
                    <a:pt x="800" y="205"/>
                  </a:lnTo>
                  <a:lnTo>
                    <a:pt x="810" y="205"/>
                  </a:lnTo>
                  <a:lnTo>
                    <a:pt x="800" y="205"/>
                  </a:lnTo>
                  <a:lnTo>
                    <a:pt x="800" y="195"/>
                  </a:lnTo>
                  <a:lnTo>
                    <a:pt x="810" y="185"/>
                  </a:lnTo>
                  <a:lnTo>
                    <a:pt x="820" y="195"/>
                  </a:lnTo>
                  <a:lnTo>
                    <a:pt x="820" y="176"/>
                  </a:lnTo>
                  <a:lnTo>
                    <a:pt x="810" y="176"/>
                  </a:lnTo>
                  <a:lnTo>
                    <a:pt x="800" y="185"/>
                  </a:lnTo>
                  <a:lnTo>
                    <a:pt x="790" y="185"/>
                  </a:lnTo>
                  <a:lnTo>
                    <a:pt x="781" y="176"/>
                  </a:lnTo>
                  <a:lnTo>
                    <a:pt x="761" y="176"/>
                  </a:lnTo>
                  <a:lnTo>
                    <a:pt x="751" y="176"/>
                  </a:lnTo>
                  <a:lnTo>
                    <a:pt x="742" y="176"/>
                  </a:lnTo>
                  <a:lnTo>
                    <a:pt x="722" y="185"/>
                  </a:lnTo>
                  <a:lnTo>
                    <a:pt x="722" y="176"/>
                  </a:lnTo>
                  <a:lnTo>
                    <a:pt x="732" y="156"/>
                  </a:lnTo>
                  <a:lnTo>
                    <a:pt x="732" y="146"/>
                  </a:lnTo>
                  <a:lnTo>
                    <a:pt x="742" y="137"/>
                  </a:lnTo>
                  <a:lnTo>
                    <a:pt x="751" y="137"/>
                  </a:lnTo>
                  <a:lnTo>
                    <a:pt x="761" y="137"/>
                  </a:lnTo>
                  <a:lnTo>
                    <a:pt x="761" y="127"/>
                  </a:lnTo>
                  <a:lnTo>
                    <a:pt x="771" y="117"/>
                  </a:lnTo>
                  <a:lnTo>
                    <a:pt x="771" y="107"/>
                  </a:lnTo>
                  <a:lnTo>
                    <a:pt x="761" y="117"/>
                  </a:lnTo>
                  <a:lnTo>
                    <a:pt x="751" y="117"/>
                  </a:lnTo>
                  <a:lnTo>
                    <a:pt x="761" y="98"/>
                  </a:lnTo>
                  <a:lnTo>
                    <a:pt x="771" y="68"/>
                  </a:lnTo>
                  <a:lnTo>
                    <a:pt x="781" y="68"/>
                  </a:lnTo>
                  <a:lnTo>
                    <a:pt x="800" y="68"/>
                  </a:lnTo>
                  <a:lnTo>
                    <a:pt x="810" y="59"/>
                  </a:lnTo>
                  <a:lnTo>
                    <a:pt x="829" y="59"/>
                  </a:lnTo>
                  <a:lnTo>
                    <a:pt x="849" y="49"/>
                  </a:lnTo>
                  <a:lnTo>
                    <a:pt x="859" y="39"/>
                  </a:lnTo>
                  <a:lnTo>
                    <a:pt x="868" y="39"/>
                  </a:lnTo>
                  <a:lnTo>
                    <a:pt x="868" y="29"/>
                  </a:lnTo>
                  <a:lnTo>
                    <a:pt x="878" y="29"/>
                  </a:lnTo>
                  <a:lnTo>
                    <a:pt x="888" y="29"/>
                  </a:lnTo>
                  <a:lnTo>
                    <a:pt x="888" y="20"/>
                  </a:lnTo>
                  <a:lnTo>
                    <a:pt x="888" y="0"/>
                  </a:lnTo>
                  <a:lnTo>
                    <a:pt x="907" y="10"/>
                  </a:lnTo>
                  <a:lnTo>
                    <a:pt x="907" y="29"/>
                  </a:lnTo>
                  <a:lnTo>
                    <a:pt x="907" y="39"/>
                  </a:lnTo>
                  <a:lnTo>
                    <a:pt x="917" y="49"/>
                  </a:lnTo>
                  <a:lnTo>
                    <a:pt x="937" y="59"/>
                  </a:lnTo>
                  <a:lnTo>
                    <a:pt x="946" y="59"/>
                  </a:lnTo>
                  <a:lnTo>
                    <a:pt x="937" y="78"/>
                  </a:lnTo>
                  <a:lnTo>
                    <a:pt x="917" y="88"/>
                  </a:lnTo>
                  <a:lnTo>
                    <a:pt x="927" y="88"/>
                  </a:lnTo>
                  <a:lnTo>
                    <a:pt x="946" y="78"/>
                  </a:lnTo>
                  <a:lnTo>
                    <a:pt x="956" y="88"/>
                  </a:lnTo>
                  <a:lnTo>
                    <a:pt x="946" y="88"/>
                  </a:lnTo>
                  <a:lnTo>
                    <a:pt x="946" y="117"/>
                  </a:lnTo>
                  <a:lnTo>
                    <a:pt x="937" y="127"/>
                  </a:lnTo>
                  <a:lnTo>
                    <a:pt x="927" y="137"/>
                  </a:lnTo>
                  <a:lnTo>
                    <a:pt x="917" y="137"/>
                  </a:lnTo>
                  <a:lnTo>
                    <a:pt x="917" y="146"/>
                  </a:lnTo>
                  <a:lnTo>
                    <a:pt x="917" y="137"/>
                  </a:lnTo>
                  <a:lnTo>
                    <a:pt x="937" y="137"/>
                  </a:lnTo>
                  <a:lnTo>
                    <a:pt x="946" y="146"/>
                  </a:lnTo>
                  <a:lnTo>
                    <a:pt x="946" y="137"/>
                  </a:lnTo>
                  <a:lnTo>
                    <a:pt x="956" y="137"/>
                  </a:lnTo>
                  <a:lnTo>
                    <a:pt x="956" y="156"/>
                  </a:lnTo>
                  <a:lnTo>
                    <a:pt x="966" y="156"/>
                  </a:lnTo>
                  <a:lnTo>
                    <a:pt x="966" y="146"/>
                  </a:lnTo>
                  <a:lnTo>
                    <a:pt x="986" y="146"/>
                  </a:lnTo>
                  <a:lnTo>
                    <a:pt x="1005" y="156"/>
                  </a:lnTo>
                  <a:lnTo>
                    <a:pt x="1005" y="176"/>
                  </a:lnTo>
                  <a:lnTo>
                    <a:pt x="1005" y="185"/>
                  </a:lnTo>
                  <a:lnTo>
                    <a:pt x="995" y="195"/>
                  </a:lnTo>
                  <a:lnTo>
                    <a:pt x="1005" y="205"/>
                  </a:lnTo>
                  <a:lnTo>
                    <a:pt x="1005" y="195"/>
                  </a:lnTo>
                  <a:lnTo>
                    <a:pt x="1005" y="185"/>
                  </a:lnTo>
                  <a:lnTo>
                    <a:pt x="1025" y="195"/>
                  </a:lnTo>
                  <a:lnTo>
                    <a:pt x="1044" y="185"/>
                  </a:lnTo>
                  <a:lnTo>
                    <a:pt x="1044" y="176"/>
                  </a:lnTo>
                  <a:lnTo>
                    <a:pt x="1064" y="176"/>
                  </a:lnTo>
                  <a:lnTo>
                    <a:pt x="1064" y="185"/>
                  </a:lnTo>
                  <a:lnTo>
                    <a:pt x="1044" y="195"/>
                  </a:lnTo>
                  <a:lnTo>
                    <a:pt x="1044" y="205"/>
                  </a:lnTo>
                  <a:lnTo>
                    <a:pt x="1064" y="195"/>
                  </a:lnTo>
                  <a:lnTo>
                    <a:pt x="1064" y="215"/>
                  </a:lnTo>
                  <a:lnTo>
                    <a:pt x="1064" y="224"/>
                  </a:lnTo>
                  <a:lnTo>
                    <a:pt x="1054" y="224"/>
                  </a:lnTo>
                  <a:lnTo>
                    <a:pt x="1044" y="215"/>
                  </a:lnTo>
                  <a:lnTo>
                    <a:pt x="1025" y="224"/>
                  </a:lnTo>
                  <a:lnTo>
                    <a:pt x="1034" y="224"/>
                  </a:lnTo>
                  <a:lnTo>
                    <a:pt x="1044" y="234"/>
                  </a:lnTo>
                  <a:lnTo>
                    <a:pt x="1054" y="244"/>
                  </a:lnTo>
                  <a:lnTo>
                    <a:pt x="1044" y="244"/>
                  </a:lnTo>
                  <a:lnTo>
                    <a:pt x="1034" y="254"/>
                  </a:lnTo>
                  <a:lnTo>
                    <a:pt x="1015" y="254"/>
                  </a:lnTo>
                  <a:lnTo>
                    <a:pt x="1005" y="263"/>
                  </a:lnTo>
                  <a:lnTo>
                    <a:pt x="995" y="273"/>
                  </a:lnTo>
                  <a:lnTo>
                    <a:pt x="976" y="283"/>
                  </a:lnTo>
                  <a:lnTo>
                    <a:pt x="976" y="293"/>
                  </a:lnTo>
                  <a:lnTo>
                    <a:pt x="976" y="302"/>
                  </a:lnTo>
                  <a:lnTo>
                    <a:pt x="966" y="302"/>
                  </a:lnTo>
                  <a:lnTo>
                    <a:pt x="956" y="312"/>
                  </a:lnTo>
                  <a:lnTo>
                    <a:pt x="937" y="322"/>
                  </a:lnTo>
                  <a:lnTo>
                    <a:pt x="927" y="312"/>
                  </a:lnTo>
                  <a:lnTo>
                    <a:pt x="917" y="312"/>
                  </a:lnTo>
                  <a:lnTo>
                    <a:pt x="907" y="312"/>
                  </a:lnTo>
                  <a:lnTo>
                    <a:pt x="898" y="302"/>
                  </a:lnTo>
                  <a:lnTo>
                    <a:pt x="888" y="302"/>
                  </a:lnTo>
                  <a:lnTo>
                    <a:pt x="878" y="312"/>
                  </a:lnTo>
                  <a:lnTo>
                    <a:pt x="868" y="332"/>
                  </a:lnTo>
                  <a:lnTo>
                    <a:pt x="859" y="341"/>
                  </a:lnTo>
                  <a:lnTo>
                    <a:pt x="859" y="351"/>
                  </a:lnTo>
                  <a:lnTo>
                    <a:pt x="859" y="361"/>
                  </a:lnTo>
                  <a:lnTo>
                    <a:pt x="859" y="381"/>
                  </a:lnTo>
                  <a:lnTo>
                    <a:pt x="849" y="400"/>
                  </a:lnTo>
                  <a:lnTo>
                    <a:pt x="839" y="410"/>
                  </a:lnTo>
                  <a:lnTo>
                    <a:pt x="829" y="410"/>
                  </a:lnTo>
                  <a:lnTo>
                    <a:pt x="820" y="410"/>
                  </a:lnTo>
                  <a:lnTo>
                    <a:pt x="810" y="410"/>
                  </a:lnTo>
                  <a:lnTo>
                    <a:pt x="771" y="410"/>
                  </a:lnTo>
                  <a:lnTo>
                    <a:pt x="781" y="400"/>
                  </a:lnTo>
                  <a:lnTo>
                    <a:pt x="771" y="400"/>
                  </a:lnTo>
                  <a:lnTo>
                    <a:pt x="761" y="390"/>
                  </a:lnTo>
                  <a:lnTo>
                    <a:pt x="751" y="381"/>
                  </a:lnTo>
                  <a:lnTo>
                    <a:pt x="751" y="390"/>
                  </a:lnTo>
                  <a:lnTo>
                    <a:pt x="761" y="400"/>
                  </a:lnTo>
                  <a:lnTo>
                    <a:pt x="761" y="410"/>
                  </a:lnTo>
                  <a:lnTo>
                    <a:pt x="751" y="410"/>
                  </a:lnTo>
                  <a:lnTo>
                    <a:pt x="742" y="420"/>
                  </a:lnTo>
                  <a:lnTo>
                    <a:pt x="732" y="429"/>
                  </a:lnTo>
                  <a:lnTo>
                    <a:pt x="742" y="429"/>
                  </a:lnTo>
                  <a:lnTo>
                    <a:pt x="751" y="420"/>
                  </a:lnTo>
                  <a:lnTo>
                    <a:pt x="761" y="429"/>
                  </a:lnTo>
                  <a:lnTo>
                    <a:pt x="761" y="439"/>
                  </a:lnTo>
                  <a:lnTo>
                    <a:pt x="751" y="439"/>
                  </a:lnTo>
                  <a:lnTo>
                    <a:pt x="761" y="449"/>
                  </a:lnTo>
                  <a:lnTo>
                    <a:pt x="771" y="449"/>
                  </a:lnTo>
                  <a:lnTo>
                    <a:pt x="781" y="459"/>
                  </a:lnTo>
                  <a:lnTo>
                    <a:pt x="790" y="459"/>
                  </a:lnTo>
                  <a:lnTo>
                    <a:pt x="810" y="449"/>
                  </a:lnTo>
                  <a:lnTo>
                    <a:pt x="820" y="449"/>
                  </a:lnTo>
                  <a:lnTo>
                    <a:pt x="829" y="459"/>
                  </a:lnTo>
                  <a:lnTo>
                    <a:pt x="829" y="468"/>
                  </a:lnTo>
                  <a:lnTo>
                    <a:pt x="820" y="468"/>
                  </a:lnTo>
                  <a:lnTo>
                    <a:pt x="820" y="488"/>
                  </a:lnTo>
                  <a:lnTo>
                    <a:pt x="829" y="488"/>
                  </a:lnTo>
                  <a:lnTo>
                    <a:pt x="829" y="478"/>
                  </a:lnTo>
                  <a:lnTo>
                    <a:pt x="839" y="468"/>
                  </a:lnTo>
                  <a:lnTo>
                    <a:pt x="849" y="468"/>
                  </a:lnTo>
                  <a:lnTo>
                    <a:pt x="849" y="478"/>
                  </a:lnTo>
                  <a:lnTo>
                    <a:pt x="859" y="488"/>
                  </a:lnTo>
                  <a:lnTo>
                    <a:pt x="859" y="507"/>
                  </a:lnTo>
                  <a:lnTo>
                    <a:pt x="868" y="517"/>
                  </a:lnTo>
                  <a:lnTo>
                    <a:pt x="878" y="527"/>
                  </a:lnTo>
                  <a:lnTo>
                    <a:pt x="878" y="546"/>
                  </a:lnTo>
                  <a:lnTo>
                    <a:pt x="878" y="556"/>
                  </a:lnTo>
                  <a:lnTo>
                    <a:pt x="888" y="585"/>
                  </a:lnTo>
                  <a:lnTo>
                    <a:pt x="878" y="585"/>
                  </a:lnTo>
                  <a:lnTo>
                    <a:pt x="868" y="595"/>
                  </a:lnTo>
                  <a:lnTo>
                    <a:pt x="868" y="605"/>
                  </a:lnTo>
                  <a:lnTo>
                    <a:pt x="859" y="615"/>
                  </a:lnTo>
                  <a:lnTo>
                    <a:pt x="839" y="624"/>
                  </a:lnTo>
                  <a:lnTo>
                    <a:pt x="829" y="624"/>
                  </a:lnTo>
                  <a:lnTo>
                    <a:pt x="810" y="624"/>
                  </a:lnTo>
                  <a:lnTo>
                    <a:pt x="800" y="624"/>
                  </a:lnTo>
                  <a:lnTo>
                    <a:pt x="800" y="644"/>
                  </a:lnTo>
                  <a:lnTo>
                    <a:pt x="800" y="654"/>
                  </a:lnTo>
                  <a:lnTo>
                    <a:pt x="790" y="654"/>
                  </a:lnTo>
                  <a:lnTo>
                    <a:pt x="790" y="663"/>
                  </a:lnTo>
                  <a:lnTo>
                    <a:pt x="800" y="654"/>
                  </a:lnTo>
                  <a:lnTo>
                    <a:pt x="800" y="644"/>
                  </a:lnTo>
                  <a:lnTo>
                    <a:pt x="810" y="634"/>
                  </a:lnTo>
                  <a:lnTo>
                    <a:pt x="820" y="634"/>
                  </a:lnTo>
                  <a:lnTo>
                    <a:pt x="829" y="634"/>
                  </a:lnTo>
                  <a:lnTo>
                    <a:pt x="829" y="644"/>
                  </a:lnTo>
                  <a:lnTo>
                    <a:pt x="829" y="654"/>
                  </a:lnTo>
                  <a:lnTo>
                    <a:pt x="820" y="654"/>
                  </a:lnTo>
                  <a:lnTo>
                    <a:pt x="820" y="663"/>
                  </a:lnTo>
                  <a:lnTo>
                    <a:pt x="810" y="663"/>
                  </a:lnTo>
                  <a:lnTo>
                    <a:pt x="800" y="673"/>
                  </a:lnTo>
                  <a:lnTo>
                    <a:pt x="800" y="683"/>
                  </a:lnTo>
                  <a:lnTo>
                    <a:pt x="820" y="673"/>
                  </a:lnTo>
                  <a:lnTo>
                    <a:pt x="829" y="683"/>
                  </a:lnTo>
                  <a:lnTo>
                    <a:pt x="839" y="683"/>
                  </a:lnTo>
                  <a:lnTo>
                    <a:pt x="839" y="663"/>
                  </a:lnTo>
                  <a:lnTo>
                    <a:pt x="849" y="673"/>
                  </a:lnTo>
                  <a:lnTo>
                    <a:pt x="849" y="663"/>
                  </a:lnTo>
                  <a:lnTo>
                    <a:pt x="849" y="654"/>
                  </a:lnTo>
                  <a:lnTo>
                    <a:pt x="849" y="644"/>
                  </a:lnTo>
                  <a:lnTo>
                    <a:pt x="859" y="634"/>
                  </a:lnTo>
                  <a:lnTo>
                    <a:pt x="868" y="644"/>
                  </a:lnTo>
                  <a:lnTo>
                    <a:pt x="888" y="644"/>
                  </a:lnTo>
                  <a:lnTo>
                    <a:pt x="907" y="634"/>
                  </a:lnTo>
                  <a:lnTo>
                    <a:pt x="917" y="634"/>
                  </a:lnTo>
                  <a:lnTo>
                    <a:pt x="917" y="624"/>
                  </a:lnTo>
                  <a:lnTo>
                    <a:pt x="917" y="615"/>
                  </a:lnTo>
                  <a:lnTo>
                    <a:pt x="917" y="605"/>
                  </a:lnTo>
                  <a:lnTo>
                    <a:pt x="946" y="605"/>
                  </a:lnTo>
                  <a:lnTo>
                    <a:pt x="946" y="624"/>
                  </a:lnTo>
                  <a:lnTo>
                    <a:pt x="956" y="615"/>
                  </a:lnTo>
                  <a:lnTo>
                    <a:pt x="966" y="605"/>
                  </a:lnTo>
                  <a:lnTo>
                    <a:pt x="986" y="615"/>
                  </a:lnTo>
                  <a:lnTo>
                    <a:pt x="995" y="624"/>
                  </a:lnTo>
                  <a:lnTo>
                    <a:pt x="995" y="644"/>
                  </a:lnTo>
                  <a:lnTo>
                    <a:pt x="1005" y="644"/>
                  </a:lnTo>
                  <a:lnTo>
                    <a:pt x="1005" y="634"/>
                  </a:lnTo>
                  <a:lnTo>
                    <a:pt x="1005" y="624"/>
                  </a:lnTo>
                  <a:lnTo>
                    <a:pt x="1005" y="634"/>
                  </a:lnTo>
                  <a:lnTo>
                    <a:pt x="1015" y="634"/>
                  </a:lnTo>
                  <a:lnTo>
                    <a:pt x="1025" y="624"/>
                  </a:lnTo>
                  <a:lnTo>
                    <a:pt x="1034" y="624"/>
                  </a:lnTo>
                  <a:lnTo>
                    <a:pt x="1044" y="615"/>
                  </a:lnTo>
                  <a:lnTo>
                    <a:pt x="1064" y="605"/>
                  </a:lnTo>
                  <a:lnTo>
                    <a:pt x="1073" y="615"/>
                  </a:lnTo>
                  <a:lnTo>
                    <a:pt x="1064" y="634"/>
                  </a:lnTo>
                  <a:lnTo>
                    <a:pt x="1083" y="634"/>
                  </a:lnTo>
                  <a:lnTo>
                    <a:pt x="1083" y="624"/>
                  </a:lnTo>
                  <a:lnTo>
                    <a:pt x="1093" y="624"/>
                  </a:lnTo>
                  <a:lnTo>
                    <a:pt x="1103" y="615"/>
                  </a:lnTo>
                  <a:lnTo>
                    <a:pt x="1112" y="624"/>
                  </a:lnTo>
                  <a:lnTo>
                    <a:pt x="1122" y="624"/>
                  </a:lnTo>
                  <a:lnTo>
                    <a:pt x="1122" y="634"/>
                  </a:lnTo>
                  <a:lnTo>
                    <a:pt x="1132" y="634"/>
                  </a:lnTo>
                  <a:lnTo>
                    <a:pt x="1132" y="644"/>
                  </a:lnTo>
                  <a:lnTo>
                    <a:pt x="1122" y="654"/>
                  </a:lnTo>
                  <a:lnTo>
                    <a:pt x="1142" y="654"/>
                  </a:lnTo>
                  <a:lnTo>
                    <a:pt x="1151" y="654"/>
                  </a:lnTo>
                  <a:lnTo>
                    <a:pt x="1151" y="663"/>
                  </a:lnTo>
                  <a:lnTo>
                    <a:pt x="1142" y="663"/>
                  </a:lnTo>
                  <a:lnTo>
                    <a:pt x="1132" y="683"/>
                  </a:lnTo>
                  <a:lnTo>
                    <a:pt x="1103" y="693"/>
                  </a:lnTo>
                  <a:lnTo>
                    <a:pt x="1103" y="702"/>
                  </a:lnTo>
                  <a:lnTo>
                    <a:pt x="1093" y="712"/>
                  </a:lnTo>
                  <a:lnTo>
                    <a:pt x="1083" y="712"/>
                  </a:lnTo>
                  <a:lnTo>
                    <a:pt x="1083" y="722"/>
                  </a:lnTo>
                  <a:lnTo>
                    <a:pt x="1083" y="732"/>
                  </a:lnTo>
                  <a:lnTo>
                    <a:pt x="1073" y="732"/>
                  </a:lnTo>
                  <a:lnTo>
                    <a:pt x="1064" y="722"/>
                  </a:lnTo>
                  <a:lnTo>
                    <a:pt x="1054" y="722"/>
                  </a:lnTo>
                  <a:lnTo>
                    <a:pt x="1064" y="722"/>
                  </a:lnTo>
                  <a:lnTo>
                    <a:pt x="1064" y="732"/>
                  </a:lnTo>
                  <a:lnTo>
                    <a:pt x="1044" y="732"/>
                  </a:lnTo>
                  <a:lnTo>
                    <a:pt x="1044" y="742"/>
                  </a:lnTo>
                  <a:lnTo>
                    <a:pt x="1064" y="742"/>
                  </a:lnTo>
                  <a:lnTo>
                    <a:pt x="1073" y="742"/>
                  </a:lnTo>
                  <a:lnTo>
                    <a:pt x="1073" y="761"/>
                  </a:lnTo>
                  <a:lnTo>
                    <a:pt x="1073" y="771"/>
                  </a:lnTo>
                  <a:lnTo>
                    <a:pt x="1083" y="771"/>
                  </a:lnTo>
                  <a:lnTo>
                    <a:pt x="1083" y="790"/>
                  </a:lnTo>
                  <a:lnTo>
                    <a:pt x="1083" y="820"/>
                  </a:lnTo>
                  <a:lnTo>
                    <a:pt x="1083" y="839"/>
                  </a:lnTo>
                  <a:lnTo>
                    <a:pt x="1093" y="849"/>
                  </a:lnTo>
                  <a:lnTo>
                    <a:pt x="1083" y="849"/>
                  </a:lnTo>
                  <a:lnTo>
                    <a:pt x="1093" y="859"/>
                  </a:lnTo>
                  <a:lnTo>
                    <a:pt x="1093" y="868"/>
                  </a:lnTo>
                  <a:lnTo>
                    <a:pt x="1093" y="888"/>
                  </a:lnTo>
                  <a:lnTo>
                    <a:pt x="1083" y="888"/>
                  </a:lnTo>
                  <a:lnTo>
                    <a:pt x="1103" y="898"/>
                  </a:lnTo>
                  <a:lnTo>
                    <a:pt x="1083" y="898"/>
                  </a:lnTo>
                  <a:lnTo>
                    <a:pt x="1073" y="898"/>
                  </a:lnTo>
                  <a:lnTo>
                    <a:pt x="1064" y="898"/>
                  </a:lnTo>
                  <a:lnTo>
                    <a:pt x="1034" y="907"/>
                  </a:lnTo>
                  <a:lnTo>
                    <a:pt x="1025" y="907"/>
                  </a:lnTo>
                  <a:lnTo>
                    <a:pt x="1025" y="888"/>
                  </a:lnTo>
                  <a:lnTo>
                    <a:pt x="1015" y="898"/>
                  </a:lnTo>
                  <a:lnTo>
                    <a:pt x="1005" y="898"/>
                  </a:lnTo>
                  <a:lnTo>
                    <a:pt x="1005" y="907"/>
                  </a:lnTo>
                  <a:lnTo>
                    <a:pt x="995" y="937"/>
                  </a:lnTo>
                  <a:lnTo>
                    <a:pt x="995" y="956"/>
                  </a:lnTo>
                  <a:lnTo>
                    <a:pt x="976" y="956"/>
                  </a:lnTo>
                  <a:lnTo>
                    <a:pt x="966" y="976"/>
                  </a:lnTo>
                  <a:lnTo>
                    <a:pt x="966" y="995"/>
                  </a:lnTo>
                  <a:lnTo>
                    <a:pt x="956" y="1015"/>
                  </a:lnTo>
                  <a:lnTo>
                    <a:pt x="956" y="1034"/>
                  </a:lnTo>
                  <a:lnTo>
                    <a:pt x="946" y="1063"/>
                  </a:lnTo>
                  <a:lnTo>
                    <a:pt x="946" y="1073"/>
                  </a:lnTo>
                  <a:lnTo>
                    <a:pt x="927" y="1073"/>
                  </a:lnTo>
                  <a:lnTo>
                    <a:pt x="917" y="1063"/>
                  </a:lnTo>
                  <a:lnTo>
                    <a:pt x="898" y="1054"/>
                  </a:lnTo>
                  <a:lnTo>
                    <a:pt x="878" y="1063"/>
                  </a:lnTo>
                  <a:lnTo>
                    <a:pt x="849" y="1083"/>
                  </a:lnTo>
                  <a:lnTo>
                    <a:pt x="820" y="1093"/>
                  </a:lnTo>
                  <a:lnTo>
                    <a:pt x="820" y="1112"/>
                  </a:lnTo>
                  <a:lnTo>
                    <a:pt x="800" y="1112"/>
                  </a:lnTo>
                  <a:lnTo>
                    <a:pt x="800" y="1083"/>
                  </a:lnTo>
                  <a:lnTo>
                    <a:pt x="790" y="1044"/>
                  </a:lnTo>
                  <a:lnTo>
                    <a:pt x="790" y="1024"/>
                  </a:lnTo>
                  <a:lnTo>
                    <a:pt x="781" y="1015"/>
                  </a:lnTo>
                  <a:lnTo>
                    <a:pt x="751" y="1015"/>
                  </a:lnTo>
                  <a:lnTo>
                    <a:pt x="742" y="1034"/>
                  </a:lnTo>
                  <a:lnTo>
                    <a:pt x="722" y="1034"/>
                  </a:lnTo>
                  <a:lnTo>
                    <a:pt x="693" y="1024"/>
                  </a:lnTo>
                  <a:lnTo>
                    <a:pt x="673" y="1024"/>
                  </a:lnTo>
                  <a:lnTo>
                    <a:pt x="654" y="1034"/>
                  </a:lnTo>
                  <a:lnTo>
                    <a:pt x="654" y="1044"/>
                  </a:lnTo>
                  <a:lnTo>
                    <a:pt x="634" y="1063"/>
                  </a:lnTo>
                  <a:lnTo>
                    <a:pt x="615" y="1063"/>
                  </a:lnTo>
                  <a:lnTo>
                    <a:pt x="615" y="1093"/>
                  </a:lnTo>
                  <a:lnTo>
                    <a:pt x="586" y="1112"/>
                  </a:lnTo>
                  <a:lnTo>
                    <a:pt x="586" y="1132"/>
                  </a:lnTo>
                  <a:lnTo>
                    <a:pt x="566" y="1132"/>
                  </a:lnTo>
                  <a:lnTo>
                    <a:pt x="566" y="1112"/>
                  </a:lnTo>
                  <a:lnTo>
                    <a:pt x="556" y="1112"/>
                  </a:lnTo>
                  <a:lnTo>
                    <a:pt x="556" y="1122"/>
                  </a:lnTo>
                  <a:lnTo>
                    <a:pt x="537" y="1122"/>
                  </a:lnTo>
                  <a:lnTo>
                    <a:pt x="527" y="1132"/>
                  </a:lnTo>
                  <a:lnTo>
                    <a:pt x="537" y="1151"/>
                  </a:lnTo>
                  <a:lnTo>
                    <a:pt x="517" y="1151"/>
                  </a:lnTo>
                  <a:lnTo>
                    <a:pt x="508" y="1161"/>
                  </a:lnTo>
                  <a:lnTo>
                    <a:pt x="498" y="1181"/>
                  </a:lnTo>
                  <a:lnTo>
                    <a:pt x="478" y="1200"/>
                  </a:lnTo>
                  <a:lnTo>
                    <a:pt x="488" y="1210"/>
                  </a:lnTo>
                  <a:lnTo>
                    <a:pt x="498" y="1220"/>
                  </a:lnTo>
                  <a:lnTo>
                    <a:pt x="469" y="1220"/>
                  </a:lnTo>
                  <a:lnTo>
                    <a:pt x="459" y="1229"/>
                  </a:lnTo>
                  <a:lnTo>
                    <a:pt x="430" y="1249"/>
                  </a:lnTo>
                  <a:lnTo>
                    <a:pt x="410" y="1259"/>
                  </a:lnTo>
                  <a:lnTo>
                    <a:pt x="390" y="1259"/>
                  </a:lnTo>
                  <a:lnTo>
                    <a:pt x="381" y="1268"/>
                  </a:lnTo>
                  <a:lnTo>
                    <a:pt x="371" y="1288"/>
                  </a:lnTo>
                  <a:lnTo>
                    <a:pt x="351" y="1288"/>
                  </a:lnTo>
                  <a:lnTo>
                    <a:pt x="342" y="1288"/>
                  </a:lnTo>
                  <a:lnTo>
                    <a:pt x="332" y="1288"/>
                  </a:lnTo>
                  <a:lnTo>
                    <a:pt x="312" y="1298"/>
                  </a:lnTo>
                  <a:lnTo>
                    <a:pt x="303" y="1298"/>
                  </a:lnTo>
                  <a:lnTo>
                    <a:pt x="293" y="1298"/>
                  </a:lnTo>
                  <a:lnTo>
                    <a:pt x="264" y="1298"/>
                  </a:lnTo>
                  <a:lnTo>
                    <a:pt x="244" y="1288"/>
                  </a:lnTo>
                  <a:lnTo>
                    <a:pt x="244" y="1278"/>
                  </a:lnTo>
                  <a:lnTo>
                    <a:pt x="234" y="1268"/>
                  </a:lnTo>
                  <a:lnTo>
                    <a:pt x="186" y="1268"/>
                  </a:lnTo>
                  <a:lnTo>
                    <a:pt x="166" y="1259"/>
                  </a:lnTo>
                  <a:lnTo>
                    <a:pt x="166" y="1239"/>
                  </a:lnTo>
                  <a:lnTo>
                    <a:pt x="156" y="1220"/>
                  </a:lnTo>
                  <a:lnTo>
                    <a:pt x="127" y="1220"/>
                  </a:lnTo>
                  <a:lnTo>
                    <a:pt x="88" y="1220"/>
                  </a:lnTo>
                  <a:lnTo>
                    <a:pt x="59" y="1220"/>
                  </a:lnTo>
                  <a:lnTo>
                    <a:pt x="49" y="1200"/>
                  </a:lnTo>
                  <a:lnTo>
                    <a:pt x="49" y="1181"/>
                  </a:lnTo>
                  <a:lnTo>
                    <a:pt x="39" y="1171"/>
                  </a:lnTo>
                  <a:lnTo>
                    <a:pt x="39" y="1161"/>
                  </a:lnTo>
                  <a:lnTo>
                    <a:pt x="39" y="1142"/>
                  </a:lnTo>
                  <a:lnTo>
                    <a:pt x="49" y="1112"/>
                  </a:lnTo>
                  <a:lnTo>
                    <a:pt x="69" y="1103"/>
                  </a:lnTo>
                  <a:lnTo>
                    <a:pt x="69" y="1093"/>
                  </a:lnTo>
                  <a:lnTo>
                    <a:pt x="88" y="1073"/>
                  </a:lnTo>
                  <a:lnTo>
                    <a:pt x="88" y="1044"/>
                  </a:lnTo>
                  <a:lnTo>
                    <a:pt x="88" y="1034"/>
                  </a:lnTo>
                  <a:lnTo>
                    <a:pt x="108" y="1005"/>
                  </a:lnTo>
                  <a:lnTo>
                    <a:pt x="117" y="995"/>
                  </a:lnTo>
                  <a:lnTo>
                    <a:pt x="108" y="976"/>
                  </a:lnTo>
                  <a:lnTo>
                    <a:pt x="98" y="976"/>
                  </a:lnTo>
                  <a:lnTo>
                    <a:pt x="78" y="976"/>
                  </a:lnTo>
                  <a:lnTo>
                    <a:pt x="78" y="956"/>
                  </a:lnTo>
                  <a:lnTo>
                    <a:pt x="49" y="946"/>
                  </a:lnTo>
                  <a:lnTo>
                    <a:pt x="49" y="937"/>
                  </a:lnTo>
                  <a:lnTo>
                    <a:pt x="30" y="927"/>
                  </a:lnTo>
                  <a:lnTo>
                    <a:pt x="10" y="93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32" name="Group 49"/>
            <p:cNvGrpSpPr>
              <a:grpSpLocks/>
            </p:cNvGrpSpPr>
            <p:nvPr/>
          </p:nvGrpSpPr>
          <p:grpSpPr bwMode="auto">
            <a:xfrm>
              <a:off x="7607" y="0"/>
              <a:ext cx="1151" cy="1298"/>
              <a:chOff x="7608" y="0"/>
              <a:chExt cx="1151" cy="1298"/>
            </a:xfrm>
          </p:grpSpPr>
          <p:sp>
            <p:nvSpPr>
              <p:cNvPr id="666" name="Freeform 51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  <a:lnTo>
                      <a:pt x="10" y="93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7" name="Freeform 50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33" name="Freeform 48"/>
            <p:cNvSpPr>
              <a:spLocks/>
            </p:cNvSpPr>
            <p:nvPr/>
          </p:nvSpPr>
          <p:spPr bwMode="auto">
            <a:xfrm>
              <a:off x="8613" y="158"/>
              <a:ext cx="19" cy="19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34" name="Group 45"/>
            <p:cNvGrpSpPr>
              <a:grpSpLocks/>
            </p:cNvGrpSpPr>
            <p:nvPr/>
          </p:nvGrpSpPr>
          <p:grpSpPr bwMode="auto">
            <a:xfrm>
              <a:off x="8612" y="156"/>
              <a:ext cx="20" cy="20"/>
              <a:chOff x="8613" y="156"/>
              <a:chExt cx="20" cy="20"/>
            </a:xfrm>
          </p:grpSpPr>
          <p:sp>
            <p:nvSpPr>
              <p:cNvPr id="664" name="Freeform 47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5" name="Freeform 46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35" name="Freeform 44"/>
            <p:cNvSpPr>
              <a:spLocks/>
            </p:cNvSpPr>
            <p:nvPr/>
          </p:nvSpPr>
          <p:spPr bwMode="auto">
            <a:xfrm>
              <a:off x="760" y="2654"/>
              <a:ext cx="138" cy="186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3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49 w 136"/>
                <a:gd name="T99" fmla="*/ 136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6"/>
                <a:gd name="T151" fmla="*/ 0 h 185"/>
                <a:gd name="T152" fmla="*/ 136 w 136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39" y="18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36" name="Group 41"/>
            <p:cNvGrpSpPr>
              <a:grpSpLocks/>
            </p:cNvGrpSpPr>
            <p:nvPr/>
          </p:nvGrpSpPr>
          <p:grpSpPr bwMode="auto">
            <a:xfrm>
              <a:off x="761" y="2654"/>
              <a:ext cx="136" cy="185"/>
              <a:chOff x="761" y="2654"/>
              <a:chExt cx="136" cy="185"/>
            </a:xfrm>
          </p:grpSpPr>
          <p:sp>
            <p:nvSpPr>
              <p:cNvPr id="662" name="Freeform 43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/>
                <a:ahLst/>
                <a:cxnLst>
                  <a:cxn ang="0">
                    <a:pos x="49" y="136"/>
                  </a:cxn>
                  <a:cxn ang="0">
                    <a:pos x="58" y="127"/>
                  </a:cxn>
                  <a:cxn ang="0">
                    <a:pos x="68" y="117"/>
                  </a:cxn>
                  <a:cxn ang="0">
                    <a:pos x="88" y="107"/>
                  </a:cxn>
                  <a:cxn ang="0">
                    <a:pos x="97" y="97"/>
                  </a:cxn>
                  <a:cxn ang="0">
                    <a:pos x="97" y="88"/>
                  </a:cxn>
                  <a:cxn ang="0">
                    <a:pos x="97" y="78"/>
                  </a:cxn>
                  <a:cxn ang="0">
                    <a:pos x="78" y="49"/>
                  </a:cxn>
                  <a:cxn ang="0">
                    <a:pos x="68" y="49"/>
                  </a:cxn>
                  <a:cxn ang="0">
                    <a:pos x="58" y="39"/>
                  </a:cxn>
                  <a:cxn ang="0">
                    <a:pos x="49" y="29"/>
                  </a:cxn>
                  <a:cxn ang="0">
                    <a:pos x="49" y="19"/>
                  </a:cxn>
                  <a:cxn ang="0">
                    <a:pos x="39" y="10"/>
                  </a:cxn>
                  <a:cxn ang="0">
                    <a:pos x="49" y="0"/>
                  </a:cxn>
                  <a:cxn ang="0">
                    <a:pos x="49" y="10"/>
                  </a:cxn>
                  <a:cxn ang="0">
                    <a:pos x="68" y="29"/>
                  </a:cxn>
                  <a:cxn ang="0">
                    <a:pos x="78" y="39"/>
                  </a:cxn>
                  <a:cxn ang="0">
                    <a:pos x="88" y="49"/>
                  </a:cxn>
                  <a:cxn ang="0">
                    <a:pos x="107" y="49"/>
                  </a:cxn>
                  <a:cxn ang="0">
                    <a:pos x="117" y="49"/>
                  </a:cxn>
                  <a:cxn ang="0">
                    <a:pos x="117" y="68"/>
                  </a:cxn>
                  <a:cxn ang="0">
                    <a:pos x="136" y="97"/>
                  </a:cxn>
                  <a:cxn ang="0">
                    <a:pos x="127" y="117"/>
                  </a:cxn>
                  <a:cxn ang="0">
                    <a:pos x="127" y="127"/>
                  </a:cxn>
                  <a:cxn ang="0">
                    <a:pos x="127" y="146"/>
                  </a:cxn>
                  <a:cxn ang="0">
                    <a:pos x="107" y="166"/>
                  </a:cxn>
                  <a:cxn ang="0">
                    <a:pos x="97" y="175"/>
                  </a:cxn>
                  <a:cxn ang="0">
                    <a:pos x="88" y="175"/>
                  </a:cxn>
                  <a:cxn ang="0">
                    <a:pos x="88" y="166"/>
                  </a:cxn>
                  <a:cxn ang="0">
                    <a:pos x="88" y="156"/>
                  </a:cxn>
                  <a:cxn ang="0">
                    <a:pos x="97" y="146"/>
                  </a:cxn>
                  <a:cxn ang="0">
                    <a:pos x="107" y="136"/>
                  </a:cxn>
                  <a:cxn ang="0">
                    <a:pos x="97" y="136"/>
                  </a:cxn>
                  <a:cxn ang="0">
                    <a:pos x="88" y="136"/>
                  </a:cxn>
                  <a:cxn ang="0">
                    <a:pos x="78" y="146"/>
                  </a:cxn>
                  <a:cxn ang="0">
                    <a:pos x="68" y="156"/>
                  </a:cxn>
                  <a:cxn ang="0">
                    <a:pos x="49" y="175"/>
                  </a:cxn>
                  <a:cxn ang="0">
                    <a:pos x="29" y="185"/>
                  </a:cxn>
                  <a:cxn ang="0">
                    <a:pos x="29" y="185"/>
                  </a:cxn>
                  <a:cxn ang="0">
                    <a:pos x="19" y="175"/>
                  </a:cxn>
                  <a:cxn ang="0">
                    <a:pos x="19" y="175"/>
                  </a:cxn>
                  <a:cxn ang="0">
                    <a:pos x="10" y="166"/>
                  </a:cxn>
                  <a:cxn ang="0">
                    <a:pos x="0" y="156"/>
                  </a:cxn>
                  <a:cxn ang="0">
                    <a:pos x="0" y="146"/>
                  </a:cxn>
                  <a:cxn ang="0">
                    <a:pos x="19" y="136"/>
                  </a:cxn>
                  <a:cxn ang="0">
                    <a:pos x="29" y="136"/>
                  </a:cxn>
                  <a:cxn ang="0">
                    <a:pos x="29" y="136"/>
                  </a:cxn>
                  <a:cxn ang="0">
                    <a:pos x="39" y="146"/>
                  </a:cxn>
                  <a:cxn ang="0">
                    <a:pos x="49" y="146"/>
                  </a:cxn>
                  <a:cxn ang="0">
                    <a:pos x="49" y="136"/>
                  </a:cxn>
                </a:cxnLst>
                <a:rect l="0" t="0" r="r" b="b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  <a:lnTo>
                      <a:pt x="49" y="136"/>
                    </a:lnTo>
                    <a:close/>
                  </a:path>
                </a:pathLst>
              </a:custGeom>
              <a:solidFill>
                <a:srgbClr val="70AD47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3" name="Freeform 42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/>
                <a:ahLst/>
                <a:cxnLst>
                  <a:cxn ang="0">
                    <a:pos x="49" y="136"/>
                  </a:cxn>
                  <a:cxn ang="0">
                    <a:pos x="58" y="127"/>
                  </a:cxn>
                  <a:cxn ang="0">
                    <a:pos x="68" y="117"/>
                  </a:cxn>
                  <a:cxn ang="0">
                    <a:pos x="88" y="107"/>
                  </a:cxn>
                  <a:cxn ang="0">
                    <a:pos x="97" y="97"/>
                  </a:cxn>
                  <a:cxn ang="0">
                    <a:pos x="97" y="88"/>
                  </a:cxn>
                  <a:cxn ang="0">
                    <a:pos x="97" y="78"/>
                  </a:cxn>
                  <a:cxn ang="0">
                    <a:pos x="78" y="49"/>
                  </a:cxn>
                  <a:cxn ang="0">
                    <a:pos x="68" y="49"/>
                  </a:cxn>
                  <a:cxn ang="0">
                    <a:pos x="58" y="39"/>
                  </a:cxn>
                  <a:cxn ang="0">
                    <a:pos x="49" y="29"/>
                  </a:cxn>
                  <a:cxn ang="0">
                    <a:pos x="49" y="19"/>
                  </a:cxn>
                  <a:cxn ang="0">
                    <a:pos x="39" y="10"/>
                  </a:cxn>
                  <a:cxn ang="0">
                    <a:pos x="49" y="0"/>
                  </a:cxn>
                  <a:cxn ang="0">
                    <a:pos x="49" y="10"/>
                  </a:cxn>
                  <a:cxn ang="0">
                    <a:pos x="68" y="29"/>
                  </a:cxn>
                  <a:cxn ang="0">
                    <a:pos x="78" y="39"/>
                  </a:cxn>
                  <a:cxn ang="0">
                    <a:pos x="88" y="49"/>
                  </a:cxn>
                  <a:cxn ang="0">
                    <a:pos x="107" y="49"/>
                  </a:cxn>
                  <a:cxn ang="0">
                    <a:pos x="117" y="49"/>
                  </a:cxn>
                  <a:cxn ang="0">
                    <a:pos x="117" y="68"/>
                  </a:cxn>
                  <a:cxn ang="0">
                    <a:pos x="136" y="97"/>
                  </a:cxn>
                  <a:cxn ang="0">
                    <a:pos x="127" y="117"/>
                  </a:cxn>
                  <a:cxn ang="0">
                    <a:pos x="127" y="127"/>
                  </a:cxn>
                  <a:cxn ang="0">
                    <a:pos x="127" y="146"/>
                  </a:cxn>
                  <a:cxn ang="0">
                    <a:pos x="107" y="166"/>
                  </a:cxn>
                  <a:cxn ang="0">
                    <a:pos x="97" y="175"/>
                  </a:cxn>
                  <a:cxn ang="0">
                    <a:pos x="88" y="175"/>
                  </a:cxn>
                  <a:cxn ang="0">
                    <a:pos x="88" y="166"/>
                  </a:cxn>
                  <a:cxn ang="0">
                    <a:pos x="88" y="156"/>
                  </a:cxn>
                  <a:cxn ang="0">
                    <a:pos x="97" y="146"/>
                  </a:cxn>
                  <a:cxn ang="0">
                    <a:pos x="107" y="136"/>
                  </a:cxn>
                  <a:cxn ang="0">
                    <a:pos x="97" y="136"/>
                  </a:cxn>
                  <a:cxn ang="0">
                    <a:pos x="88" y="136"/>
                  </a:cxn>
                  <a:cxn ang="0">
                    <a:pos x="78" y="146"/>
                  </a:cxn>
                  <a:cxn ang="0">
                    <a:pos x="68" y="156"/>
                  </a:cxn>
                  <a:cxn ang="0">
                    <a:pos x="49" y="175"/>
                  </a:cxn>
                  <a:cxn ang="0">
                    <a:pos x="29" y="185"/>
                  </a:cxn>
                  <a:cxn ang="0">
                    <a:pos x="29" y="185"/>
                  </a:cxn>
                  <a:cxn ang="0">
                    <a:pos x="19" y="175"/>
                  </a:cxn>
                  <a:cxn ang="0">
                    <a:pos x="19" y="175"/>
                  </a:cxn>
                  <a:cxn ang="0">
                    <a:pos x="10" y="166"/>
                  </a:cxn>
                  <a:cxn ang="0">
                    <a:pos x="0" y="156"/>
                  </a:cxn>
                  <a:cxn ang="0">
                    <a:pos x="0" y="146"/>
                  </a:cxn>
                  <a:cxn ang="0">
                    <a:pos x="19" y="136"/>
                  </a:cxn>
                  <a:cxn ang="0">
                    <a:pos x="29" y="136"/>
                  </a:cxn>
                  <a:cxn ang="0">
                    <a:pos x="29" y="136"/>
                  </a:cxn>
                  <a:cxn ang="0">
                    <a:pos x="39" y="146"/>
                  </a:cxn>
                  <a:cxn ang="0">
                    <a:pos x="49" y="146"/>
                  </a:cxn>
                </a:cxnLst>
                <a:rect l="0" t="0" r="r" b="b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37" name="Freeform 40"/>
            <p:cNvSpPr>
              <a:spLocks/>
            </p:cNvSpPr>
            <p:nvPr/>
          </p:nvSpPr>
          <p:spPr bwMode="auto">
            <a:xfrm>
              <a:off x="4458" y="3542"/>
              <a:ext cx="322" cy="449"/>
            </a:xfrm>
            <a:custGeom>
              <a:avLst/>
              <a:gdLst>
                <a:gd name="T0" fmla="*/ 126 w 322"/>
                <a:gd name="T1" fmla="*/ 136 h 449"/>
                <a:gd name="T2" fmla="*/ 117 w 322"/>
                <a:gd name="T3" fmla="*/ 107 h 449"/>
                <a:gd name="T4" fmla="*/ 97 w 322"/>
                <a:gd name="T5" fmla="*/ 127 h 449"/>
                <a:gd name="T6" fmla="*/ 97 w 322"/>
                <a:gd name="T7" fmla="*/ 117 h 449"/>
                <a:gd name="T8" fmla="*/ 117 w 322"/>
                <a:gd name="T9" fmla="*/ 78 h 449"/>
                <a:gd name="T10" fmla="*/ 117 w 322"/>
                <a:gd name="T11" fmla="*/ 19 h 449"/>
                <a:gd name="T12" fmla="*/ 126 w 322"/>
                <a:gd name="T13" fmla="*/ 19 h 449"/>
                <a:gd name="T14" fmla="*/ 146 w 322"/>
                <a:gd name="T15" fmla="*/ 19 h 449"/>
                <a:gd name="T16" fmla="*/ 156 w 322"/>
                <a:gd name="T17" fmla="*/ 39 h 449"/>
                <a:gd name="T18" fmla="*/ 166 w 322"/>
                <a:gd name="T19" fmla="*/ 68 h 449"/>
                <a:gd name="T20" fmla="*/ 205 w 322"/>
                <a:gd name="T21" fmla="*/ 68 h 449"/>
                <a:gd name="T22" fmla="*/ 205 w 322"/>
                <a:gd name="T23" fmla="*/ 39 h 449"/>
                <a:gd name="T24" fmla="*/ 224 w 322"/>
                <a:gd name="T25" fmla="*/ 48 h 449"/>
                <a:gd name="T26" fmla="*/ 244 w 322"/>
                <a:gd name="T27" fmla="*/ 68 h 449"/>
                <a:gd name="T28" fmla="*/ 273 w 322"/>
                <a:gd name="T29" fmla="*/ 68 h 449"/>
                <a:gd name="T30" fmla="*/ 283 w 322"/>
                <a:gd name="T31" fmla="*/ 78 h 449"/>
                <a:gd name="T32" fmla="*/ 302 w 322"/>
                <a:gd name="T33" fmla="*/ 88 h 449"/>
                <a:gd name="T34" fmla="*/ 302 w 322"/>
                <a:gd name="T35" fmla="*/ 97 h 449"/>
                <a:gd name="T36" fmla="*/ 302 w 322"/>
                <a:gd name="T37" fmla="*/ 117 h 449"/>
                <a:gd name="T38" fmla="*/ 312 w 322"/>
                <a:gd name="T39" fmla="*/ 136 h 449"/>
                <a:gd name="T40" fmla="*/ 322 w 322"/>
                <a:gd name="T41" fmla="*/ 166 h 449"/>
                <a:gd name="T42" fmla="*/ 312 w 322"/>
                <a:gd name="T43" fmla="*/ 205 h 449"/>
                <a:gd name="T44" fmla="*/ 302 w 322"/>
                <a:gd name="T45" fmla="*/ 224 h 449"/>
                <a:gd name="T46" fmla="*/ 322 w 322"/>
                <a:gd name="T47" fmla="*/ 252 h 449"/>
                <a:gd name="T48" fmla="*/ 312 w 322"/>
                <a:gd name="T49" fmla="*/ 281 h 449"/>
                <a:gd name="T50" fmla="*/ 292 w 322"/>
                <a:gd name="T51" fmla="*/ 301 h 449"/>
                <a:gd name="T52" fmla="*/ 273 w 322"/>
                <a:gd name="T53" fmla="*/ 320 h 449"/>
                <a:gd name="T54" fmla="*/ 244 w 322"/>
                <a:gd name="T55" fmla="*/ 330 h 449"/>
                <a:gd name="T56" fmla="*/ 214 w 322"/>
                <a:gd name="T57" fmla="*/ 350 h 449"/>
                <a:gd name="T58" fmla="*/ 195 w 322"/>
                <a:gd name="T59" fmla="*/ 369 h 449"/>
                <a:gd name="T60" fmla="*/ 185 w 322"/>
                <a:gd name="T61" fmla="*/ 379 h 449"/>
                <a:gd name="T62" fmla="*/ 156 w 322"/>
                <a:gd name="T63" fmla="*/ 379 h 449"/>
                <a:gd name="T64" fmla="*/ 136 w 322"/>
                <a:gd name="T65" fmla="*/ 418 h 449"/>
                <a:gd name="T66" fmla="*/ 107 w 322"/>
                <a:gd name="T67" fmla="*/ 418 h 449"/>
                <a:gd name="T68" fmla="*/ 87 w 322"/>
                <a:gd name="T69" fmla="*/ 408 h 449"/>
                <a:gd name="T70" fmla="*/ 48 w 322"/>
                <a:gd name="T71" fmla="*/ 418 h 449"/>
                <a:gd name="T72" fmla="*/ 68 w 322"/>
                <a:gd name="T73" fmla="*/ 438 h 449"/>
                <a:gd name="T74" fmla="*/ 29 w 322"/>
                <a:gd name="T75" fmla="*/ 438 h 449"/>
                <a:gd name="T76" fmla="*/ 0 w 322"/>
                <a:gd name="T77" fmla="*/ 408 h 449"/>
                <a:gd name="T78" fmla="*/ 9 w 322"/>
                <a:gd name="T79" fmla="*/ 389 h 449"/>
                <a:gd name="T80" fmla="*/ 0 w 322"/>
                <a:gd name="T81" fmla="*/ 369 h 449"/>
                <a:gd name="T82" fmla="*/ 29 w 322"/>
                <a:gd name="T83" fmla="*/ 359 h 449"/>
                <a:gd name="T84" fmla="*/ 48 w 322"/>
                <a:gd name="T85" fmla="*/ 340 h 449"/>
                <a:gd name="T86" fmla="*/ 68 w 322"/>
                <a:gd name="T87" fmla="*/ 340 h 449"/>
                <a:gd name="T88" fmla="*/ 87 w 322"/>
                <a:gd name="T89" fmla="*/ 311 h 449"/>
                <a:gd name="T90" fmla="*/ 117 w 322"/>
                <a:gd name="T91" fmla="*/ 291 h 449"/>
                <a:gd name="T92" fmla="*/ 97 w 322"/>
                <a:gd name="T93" fmla="*/ 272 h 449"/>
                <a:gd name="T94" fmla="*/ 87 w 322"/>
                <a:gd name="T95" fmla="*/ 252 h 449"/>
                <a:gd name="T96" fmla="*/ 107 w 322"/>
                <a:gd name="T97" fmla="*/ 252 h 449"/>
                <a:gd name="T98" fmla="*/ 107 w 322"/>
                <a:gd name="T99" fmla="*/ 224 h 449"/>
                <a:gd name="T100" fmla="*/ 97 w 322"/>
                <a:gd name="T101" fmla="*/ 224 h 449"/>
                <a:gd name="T102" fmla="*/ 117 w 322"/>
                <a:gd name="T103" fmla="*/ 195 h 449"/>
                <a:gd name="T104" fmla="*/ 126 w 322"/>
                <a:gd name="T105" fmla="*/ 166 h 449"/>
                <a:gd name="T106" fmla="*/ 126 w 322"/>
                <a:gd name="T107" fmla="*/ 156 h 449"/>
                <a:gd name="T108" fmla="*/ 136 w 322"/>
                <a:gd name="T109" fmla="*/ 136 h 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2"/>
                <a:gd name="T166" fmla="*/ 0 h 449"/>
                <a:gd name="T167" fmla="*/ 322 w 322"/>
                <a:gd name="T168" fmla="*/ 449 h 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2" h="449">
                  <a:moveTo>
                    <a:pt x="136" y="136"/>
                  </a:moveTo>
                  <a:lnTo>
                    <a:pt x="126" y="136"/>
                  </a:lnTo>
                  <a:lnTo>
                    <a:pt x="126" y="127"/>
                  </a:lnTo>
                  <a:lnTo>
                    <a:pt x="117" y="107"/>
                  </a:lnTo>
                  <a:lnTo>
                    <a:pt x="107" y="127"/>
                  </a:lnTo>
                  <a:lnTo>
                    <a:pt x="97" y="127"/>
                  </a:lnTo>
                  <a:lnTo>
                    <a:pt x="97" y="117"/>
                  </a:lnTo>
                  <a:lnTo>
                    <a:pt x="117" y="97"/>
                  </a:lnTo>
                  <a:lnTo>
                    <a:pt x="117" y="78"/>
                  </a:lnTo>
                  <a:lnTo>
                    <a:pt x="126" y="68"/>
                  </a:lnTo>
                  <a:lnTo>
                    <a:pt x="117" y="19"/>
                  </a:lnTo>
                  <a:lnTo>
                    <a:pt x="126" y="19"/>
                  </a:lnTo>
                  <a:lnTo>
                    <a:pt x="136" y="0"/>
                  </a:lnTo>
                  <a:lnTo>
                    <a:pt x="146" y="19"/>
                  </a:lnTo>
                  <a:lnTo>
                    <a:pt x="146" y="3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85" y="68"/>
                  </a:lnTo>
                  <a:lnTo>
                    <a:pt x="205" y="68"/>
                  </a:lnTo>
                  <a:lnTo>
                    <a:pt x="205" y="58"/>
                  </a:lnTo>
                  <a:lnTo>
                    <a:pt x="205" y="39"/>
                  </a:lnTo>
                  <a:lnTo>
                    <a:pt x="214" y="39"/>
                  </a:lnTo>
                  <a:lnTo>
                    <a:pt x="224" y="48"/>
                  </a:lnTo>
                  <a:lnTo>
                    <a:pt x="234" y="68"/>
                  </a:lnTo>
                  <a:lnTo>
                    <a:pt x="244" y="68"/>
                  </a:lnTo>
                  <a:lnTo>
                    <a:pt x="263" y="68"/>
                  </a:lnTo>
                  <a:lnTo>
                    <a:pt x="273" y="68"/>
                  </a:lnTo>
                  <a:lnTo>
                    <a:pt x="273" y="78"/>
                  </a:lnTo>
                  <a:lnTo>
                    <a:pt x="283" y="78"/>
                  </a:lnTo>
                  <a:lnTo>
                    <a:pt x="292" y="88"/>
                  </a:lnTo>
                  <a:lnTo>
                    <a:pt x="302" y="88"/>
                  </a:lnTo>
                  <a:lnTo>
                    <a:pt x="302" y="97"/>
                  </a:lnTo>
                  <a:lnTo>
                    <a:pt x="292" y="107"/>
                  </a:lnTo>
                  <a:lnTo>
                    <a:pt x="302" y="117"/>
                  </a:lnTo>
                  <a:lnTo>
                    <a:pt x="302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66"/>
                  </a:lnTo>
                  <a:lnTo>
                    <a:pt x="312" y="185"/>
                  </a:lnTo>
                  <a:lnTo>
                    <a:pt x="312" y="205"/>
                  </a:lnTo>
                  <a:lnTo>
                    <a:pt x="302" y="224"/>
                  </a:lnTo>
                  <a:lnTo>
                    <a:pt x="302" y="234"/>
                  </a:lnTo>
                  <a:lnTo>
                    <a:pt x="312" y="263"/>
                  </a:lnTo>
                  <a:lnTo>
                    <a:pt x="322" y="263"/>
                  </a:lnTo>
                  <a:lnTo>
                    <a:pt x="322" y="283"/>
                  </a:lnTo>
                  <a:lnTo>
                    <a:pt x="312" y="292"/>
                  </a:lnTo>
                  <a:lnTo>
                    <a:pt x="292" y="292"/>
                  </a:lnTo>
                  <a:lnTo>
                    <a:pt x="292" y="312"/>
                  </a:lnTo>
                  <a:lnTo>
                    <a:pt x="283" y="322"/>
                  </a:lnTo>
                  <a:lnTo>
                    <a:pt x="273" y="331"/>
                  </a:lnTo>
                  <a:lnTo>
                    <a:pt x="253" y="341"/>
                  </a:lnTo>
                  <a:lnTo>
                    <a:pt x="244" y="341"/>
                  </a:lnTo>
                  <a:lnTo>
                    <a:pt x="224" y="351"/>
                  </a:lnTo>
                  <a:lnTo>
                    <a:pt x="214" y="361"/>
                  </a:lnTo>
                  <a:lnTo>
                    <a:pt x="195" y="370"/>
                  </a:lnTo>
                  <a:lnTo>
                    <a:pt x="195" y="380"/>
                  </a:lnTo>
                  <a:lnTo>
                    <a:pt x="195" y="390"/>
                  </a:lnTo>
                  <a:lnTo>
                    <a:pt x="185" y="390"/>
                  </a:lnTo>
                  <a:lnTo>
                    <a:pt x="166" y="390"/>
                  </a:lnTo>
                  <a:lnTo>
                    <a:pt x="156" y="390"/>
                  </a:lnTo>
                  <a:lnTo>
                    <a:pt x="156" y="419"/>
                  </a:lnTo>
                  <a:lnTo>
                    <a:pt x="136" y="429"/>
                  </a:lnTo>
                  <a:lnTo>
                    <a:pt x="126" y="439"/>
                  </a:lnTo>
                  <a:lnTo>
                    <a:pt x="107" y="429"/>
                  </a:lnTo>
                  <a:lnTo>
                    <a:pt x="87" y="429"/>
                  </a:lnTo>
                  <a:lnTo>
                    <a:pt x="87" y="419"/>
                  </a:lnTo>
                  <a:lnTo>
                    <a:pt x="68" y="419"/>
                  </a:lnTo>
                  <a:lnTo>
                    <a:pt x="48" y="429"/>
                  </a:lnTo>
                  <a:lnTo>
                    <a:pt x="58" y="439"/>
                  </a:lnTo>
                  <a:lnTo>
                    <a:pt x="68" y="449"/>
                  </a:lnTo>
                  <a:lnTo>
                    <a:pt x="39" y="439"/>
                  </a:lnTo>
                  <a:lnTo>
                    <a:pt x="29" y="449"/>
                  </a:lnTo>
                  <a:lnTo>
                    <a:pt x="0" y="429"/>
                  </a:lnTo>
                  <a:lnTo>
                    <a:pt x="0" y="419"/>
                  </a:lnTo>
                  <a:lnTo>
                    <a:pt x="19" y="409"/>
                  </a:lnTo>
                  <a:lnTo>
                    <a:pt x="9" y="40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19" y="370"/>
                  </a:lnTo>
                  <a:lnTo>
                    <a:pt x="29" y="370"/>
                  </a:lnTo>
                  <a:lnTo>
                    <a:pt x="48" y="351"/>
                  </a:lnTo>
                  <a:lnTo>
                    <a:pt x="58" y="351"/>
                  </a:lnTo>
                  <a:lnTo>
                    <a:pt x="68" y="351"/>
                  </a:lnTo>
                  <a:lnTo>
                    <a:pt x="78" y="341"/>
                  </a:lnTo>
                  <a:lnTo>
                    <a:pt x="87" y="322"/>
                  </a:lnTo>
                  <a:lnTo>
                    <a:pt x="97" y="312"/>
                  </a:lnTo>
                  <a:lnTo>
                    <a:pt x="117" y="302"/>
                  </a:lnTo>
                  <a:lnTo>
                    <a:pt x="117" y="292"/>
                  </a:lnTo>
                  <a:lnTo>
                    <a:pt x="97" y="283"/>
                  </a:lnTo>
                  <a:lnTo>
                    <a:pt x="87" y="273"/>
                  </a:lnTo>
                  <a:lnTo>
                    <a:pt x="87" y="263"/>
                  </a:lnTo>
                  <a:lnTo>
                    <a:pt x="97" y="263"/>
                  </a:lnTo>
                  <a:lnTo>
                    <a:pt x="107" y="263"/>
                  </a:lnTo>
                  <a:lnTo>
                    <a:pt x="107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97" y="224"/>
                  </a:lnTo>
                  <a:lnTo>
                    <a:pt x="97" y="205"/>
                  </a:lnTo>
                  <a:lnTo>
                    <a:pt x="117" y="195"/>
                  </a:lnTo>
                  <a:lnTo>
                    <a:pt x="126" y="195"/>
                  </a:lnTo>
                  <a:lnTo>
                    <a:pt x="126" y="166"/>
                  </a:lnTo>
                  <a:lnTo>
                    <a:pt x="126" y="156"/>
                  </a:lnTo>
                  <a:lnTo>
                    <a:pt x="136" y="146"/>
                  </a:lnTo>
                  <a:lnTo>
                    <a:pt x="136" y="136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8" name="Freeform 39"/>
            <p:cNvSpPr>
              <a:spLocks/>
            </p:cNvSpPr>
            <p:nvPr/>
          </p:nvSpPr>
          <p:spPr bwMode="auto">
            <a:xfrm>
              <a:off x="1892" y="1650"/>
              <a:ext cx="273" cy="233"/>
            </a:xfrm>
            <a:custGeom>
              <a:avLst/>
              <a:gdLst/>
              <a:ahLst/>
              <a:cxnLst>
                <a:cxn ang="0">
                  <a:pos x="273" y="156"/>
                </a:cxn>
                <a:cxn ang="0">
                  <a:pos x="264" y="166"/>
                </a:cxn>
                <a:cxn ang="0">
                  <a:pos x="244" y="176"/>
                </a:cxn>
                <a:cxn ang="0">
                  <a:pos x="225" y="176"/>
                </a:cxn>
                <a:cxn ang="0">
                  <a:pos x="215" y="185"/>
                </a:cxn>
                <a:cxn ang="0">
                  <a:pos x="205" y="195"/>
                </a:cxn>
                <a:cxn ang="0">
                  <a:pos x="195" y="195"/>
                </a:cxn>
                <a:cxn ang="0">
                  <a:pos x="186" y="195"/>
                </a:cxn>
                <a:cxn ang="0">
                  <a:pos x="176" y="215"/>
                </a:cxn>
                <a:cxn ang="0">
                  <a:pos x="166" y="224"/>
                </a:cxn>
                <a:cxn ang="0">
                  <a:pos x="156" y="224"/>
                </a:cxn>
                <a:cxn ang="0">
                  <a:pos x="147" y="224"/>
                </a:cxn>
                <a:cxn ang="0">
                  <a:pos x="137" y="234"/>
                </a:cxn>
                <a:cxn ang="0">
                  <a:pos x="127" y="234"/>
                </a:cxn>
                <a:cxn ang="0">
                  <a:pos x="127" y="215"/>
                </a:cxn>
                <a:cxn ang="0">
                  <a:pos x="108" y="205"/>
                </a:cxn>
                <a:cxn ang="0">
                  <a:pos x="98" y="205"/>
                </a:cxn>
                <a:cxn ang="0">
                  <a:pos x="88" y="205"/>
                </a:cxn>
                <a:cxn ang="0">
                  <a:pos x="78" y="215"/>
                </a:cxn>
                <a:cxn ang="0">
                  <a:pos x="59" y="215"/>
                </a:cxn>
                <a:cxn ang="0">
                  <a:pos x="49" y="215"/>
                </a:cxn>
                <a:cxn ang="0">
                  <a:pos x="30" y="215"/>
                </a:cxn>
                <a:cxn ang="0">
                  <a:pos x="0" y="185"/>
                </a:cxn>
                <a:cxn ang="0">
                  <a:pos x="0" y="176"/>
                </a:cxn>
                <a:cxn ang="0">
                  <a:pos x="0" y="166"/>
                </a:cxn>
                <a:cxn ang="0">
                  <a:pos x="30" y="146"/>
                </a:cxn>
                <a:cxn ang="0">
                  <a:pos x="49" y="127"/>
                </a:cxn>
                <a:cxn ang="0">
                  <a:pos x="59" y="127"/>
                </a:cxn>
                <a:cxn ang="0">
                  <a:pos x="69" y="117"/>
                </a:cxn>
                <a:cxn ang="0">
                  <a:pos x="59" y="107"/>
                </a:cxn>
                <a:cxn ang="0">
                  <a:pos x="59" y="88"/>
                </a:cxn>
                <a:cxn ang="0">
                  <a:pos x="78" y="68"/>
                </a:cxn>
                <a:cxn ang="0">
                  <a:pos x="88" y="58"/>
                </a:cxn>
                <a:cxn ang="0">
                  <a:pos x="88" y="29"/>
                </a:cxn>
                <a:cxn ang="0">
                  <a:pos x="108" y="29"/>
                </a:cxn>
                <a:cxn ang="0">
                  <a:pos x="117" y="29"/>
                </a:cxn>
                <a:cxn ang="0">
                  <a:pos x="108" y="19"/>
                </a:cxn>
                <a:cxn ang="0">
                  <a:pos x="127" y="10"/>
                </a:cxn>
                <a:cxn ang="0">
                  <a:pos x="147" y="0"/>
                </a:cxn>
                <a:cxn ang="0">
                  <a:pos x="137" y="10"/>
                </a:cxn>
                <a:cxn ang="0">
                  <a:pos x="147" y="19"/>
                </a:cxn>
                <a:cxn ang="0">
                  <a:pos x="156" y="19"/>
                </a:cxn>
                <a:cxn ang="0">
                  <a:pos x="166" y="19"/>
                </a:cxn>
                <a:cxn ang="0">
                  <a:pos x="176" y="19"/>
                </a:cxn>
                <a:cxn ang="0">
                  <a:pos x="195" y="29"/>
                </a:cxn>
                <a:cxn ang="0">
                  <a:pos x="215" y="39"/>
                </a:cxn>
                <a:cxn ang="0">
                  <a:pos x="225" y="58"/>
                </a:cxn>
                <a:cxn ang="0">
                  <a:pos x="225" y="58"/>
                </a:cxn>
                <a:cxn ang="0">
                  <a:pos x="244" y="58"/>
                </a:cxn>
                <a:cxn ang="0">
                  <a:pos x="254" y="58"/>
                </a:cxn>
                <a:cxn ang="0">
                  <a:pos x="264" y="78"/>
                </a:cxn>
                <a:cxn ang="0">
                  <a:pos x="264" y="97"/>
                </a:cxn>
                <a:cxn ang="0">
                  <a:pos x="254" y="127"/>
                </a:cxn>
                <a:cxn ang="0">
                  <a:pos x="264" y="136"/>
                </a:cxn>
                <a:cxn ang="0">
                  <a:pos x="264" y="146"/>
                </a:cxn>
                <a:cxn ang="0">
                  <a:pos x="273" y="156"/>
                </a:cxn>
              </a:cxnLst>
              <a:rect l="0" t="0" r="r" b="b"/>
              <a:pathLst>
                <a:path w="273" h="234">
                  <a:moveTo>
                    <a:pt x="273" y="156"/>
                  </a:moveTo>
                  <a:lnTo>
                    <a:pt x="264" y="166"/>
                  </a:lnTo>
                  <a:lnTo>
                    <a:pt x="244" y="176"/>
                  </a:lnTo>
                  <a:lnTo>
                    <a:pt x="225" y="176"/>
                  </a:lnTo>
                  <a:lnTo>
                    <a:pt x="215" y="185"/>
                  </a:lnTo>
                  <a:lnTo>
                    <a:pt x="205" y="195"/>
                  </a:lnTo>
                  <a:lnTo>
                    <a:pt x="195" y="195"/>
                  </a:lnTo>
                  <a:lnTo>
                    <a:pt x="186" y="195"/>
                  </a:lnTo>
                  <a:lnTo>
                    <a:pt x="176" y="215"/>
                  </a:lnTo>
                  <a:lnTo>
                    <a:pt x="166" y="224"/>
                  </a:lnTo>
                  <a:lnTo>
                    <a:pt x="156" y="224"/>
                  </a:lnTo>
                  <a:lnTo>
                    <a:pt x="147" y="224"/>
                  </a:lnTo>
                  <a:lnTo>
                    <a:pt x="137" y="234"/>
                  </a:lnTo>
                  <a:lnTo>
                    <a:pt x="127" y="234"/>
                  </a:lnTo>
                  <a:lnTo>
                    <a:pt x="127" y="215"/>
                  </a:lnTo>
                  <a:lnTo>
                    <a:pt x="108" y="205"/>
                  </a:lnTo>
                  <a:lnTo>
                    <a:pt x="98" y="205"/>
                  </a:lnTo>
                  <a:lnTo>
                    <a:pt x="88" y="205"/>
                  </a:lnTo>
                  <a:lnTo>
                    <a:pt x="78" y="215"/>
                  </a:lnTo>
                  <a:lnTo>
                    <a:pt x="59" y="21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6"/>
                  </a:lnTo>
                  <a:lnTo>
                    <a:pt x="30" y="146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69" y="117"/>
                  </a:lnTo>
                  <a:lnTo>
                    <a:pt x="59" y="107"/>
                  </a:lnTo>
                  <a:lnTo>
                    <a:pt x="59" y="88"/>
                  </a:lnTo>
                  <a:lnTo>
                    <a:pt x="78" y="68"/>
                  </a:lnTo>
                  <a:lnTo>
                    <a:pt x="88" y="58"/>
                  </a:lnTo>
                  <a:lnTo>
                    <a:pt x="88" y="29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08" y="19"/>
                  </a:lnTo>
                  <a:lnTo>
                    <a:pt x="127" y="10"/>
                  </a:lnTo>
                  <a:lnTo>
                    <a:pt x="147" y="0"/>
                  </a:lnTo>
                  <a:lnTo>
                    <a:pt x="137" y="10"/>
                  </a:lnTo>
                  <a:lnTo>
                    <a:pt x="147" y="19"/>
                  </a:lnTo>
                  <a:lnTo>
                    <a:pt x="156" y="19"/>
                  </a:lnTo>
                  <a:lnTo>
                    <a:pt x="166" y="19"/>
                  </a:lnTo>
                  <a:lnTo>
                    <a:pt x="176" y="19"/>
                  </a:lnTo>
                  <a:lnTo>
                    <a:pt x="195" y="29"/>
                  </a:lnTo>
                  <a:lnTo>
                    <a:pt x="215" y="39"/>
                  </a:lnTo>
                  <a:lnTo>
                    <a:pt x="225" y="58"/>
                  </a:lnTo>
                  <a:lnTo>
                    <a:pt x="244" y="58"/>
                  </a:lnTo>
                  <a:lnTo>
                    <a:pt x="254" y="58"/>
                  </a:lnTo>
                  <a:lnTo>
                    <a:pt x="264" y="78"/>
                  </a:lnTo>
                  <a:lnTo>
                    <a:pt x="264" y="97"/>
                  </a:lnTo>
                  <a:lnTo>
                    <a:pt x="254" y="127"/>
                  </a:lnTo>
                  <a:lnTo>
                    <a:pt x="264" y="136"/>
                  </a:lnTo>
                  <a:lnTo>
                    <a:pt x="264" y="146"/>
                  </a:lnTo>
                  <a:lnTo>
                    <a:pt x="273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39" name="Group 36"/>
            <p:cNvGrpSpPr>
              <a:grpSpLocks/>
            </p:cNvGrpSpPr>
            <p:nvPr/>
          </p:nvGrpSpPr>
          <p:grpSpPr bwMode="auto">
            <a:xfrm>
              <a:off x="3863" y="917"/>
              <a:ext cx="624" cy="205"/>
              <a:chOff x="3863" y="917"/>
              <a:chExt cx="624" cy="205"/>
            </a:xfrm>
          </p:grpSpPr>
          <p:sp>
            <p:nvSpPr>
              <p:cNvPr id="660" name="Freeform 38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8DB3E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1" name="Freeform 37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/>
                <a:ahLst/>
                <a:cxnLst>
                  <a:cxn ang="0">
                    <a:pos x="39" y="127"/>
                  </a:cxn>
                  <a:cxn ang="0">
                    <a:pos x="19" y="127"/>
                  </a:cxn>
                  <a:cxn ang="0">
                    <a:pos x="58" y="98"/>
                  </a:cxn>
                  <a:cxn ang="0">
                    <a:pos x="87" y="88"/>
                  </a:cxn>
                  <a:cxn ang="0">
                    <a:pos x="97" y="88"/>
                  </a:cxn>
                  <a:cxn ang="0">
                    <a:pos x="107" y="78"/>
                  </a:cxn>
                  <a:cxn ang="0">
                    <a:pos x="136" y="78"/>
                  </a:cxn>
                  <a:cxn ang="0">
                    <a:pos x="136" y="59"/>
                  </a:cxn>
                  <a:cxn ang="0">
                    <a:pos x="175" y="78"/>
                  </a:cxn>
                  <a:cxn ang="0">
                    <a:pos x="156" y="49"/>
                  </a:cxn>
                  <a:cxn ang="0">
                    <a:pos x="175" y="39"/>
                  </a:cxn>
                  <a:cxn ang="0">
                    <a:pos x="185" y="20"/>
                  </a:cxn>
                  <a:cxn ang="0">
                    <a:pos x="205" y="29"/>
                  </a:cxn>
                  <a:cxn ang="0">
                    <a:pos x="234" y="20"/>
                  </a:cxn>
                  <a:cxn ang="0">
                    <a:pos x="244" y="20"/>
                  </a:cxn>
                  <a:cxn ang="0">
                    <a:pos x="292" y="10"/>
                  </a:cxn>
                  <a:cxn ang="0">
                    <a:pos x="331" y="10"/>
                  </a:cxn>
                  <a:cxn ang="0">
                    <a:pos x="370" y="10"/>
                  </a:cxn>
                  <a:cxn ang="0">
                    <a:pos x="380" y="20"/>
                  </a:cxn>
                  <a:cxn ang="0">
                    <a:pos x="409" y="10"/>
                  </a:cxn>
                  <a:cxn ang="0">
                    <a:pos x="429" y="29"/>
                  </a:cxn>
                  <a:cxn ang="0">
                    <a:pos x="478" y="49"/>
                  </a:cxn>
                  <a:cxn ang="0">
                    <a:pos x="526" y="39"/>
                  </a:cxn>
                  <a:cxn ang="0">
                    <a:pos x="546" y="29"/>
                  </a:cxn>
                  <a:cxn ang="0">
                    <a:pos x="604" y="20"/>
                  </a:cxn>
                  <a:cxn ang="0">
                    <a:pos x="624" y="59"/>
                  </a:cxn>
                  <a:cxn ang="0">
                    <a:pos x="585" y="98"/>
                  </a:cxn>
                  <a:cxn ang="0">
                    <a:pos x="497" y="117"/>
                  </a:cxn>
                  <a:cxn ang="0">
                    <a:pos x="429" y="107"/>
                  </a:cxn>
                  <a:cxn ang="0">
                    <a:pos x="361" y="107"/>
                  </a:cxn>
                  <a:cxn ang="0">
                    <a:pos x="341" y="98"/>
                  </a:cxn>
                  <a:cxn ang="0">
                    <a:pos x="302" y="117"/>
                  </a:cxn>
                  <a:cxn ang="0">
                    <a:pos x="283" y="117"/>
                  </a:cxn>
                  <a:cxn ang="0">
                    <a:pos x="263" y="137"/>
                  </a:cxn>
                  <a:cxn ang="0">
                    <a:pos x="234" y="137"/>
                  </a:cxn>
                  <a:cxn ang="0">
                    <a:pos x="234" y="117"/>
                  </a:cxn>
                  <a:cxn ang="0">
                    <a:pos x="205" y="137"/>
                  </a:cxn>
                  <a:cxn ang="0">
                    <a:pos x="195" y="137"/>
                  </a:cxn>
                  <a:cxn ang="0">
                    <a:pos x="165" y="156"/>
                  </a:cxn>
                  <a:cxn ang="0">
                    <a:pos x="156" y="137"/>
                  </a:cxn>
                  <a:cxn ang="0">
                    <a:pos x="146" y="166"/>
                  </a:cxn>
                  <a:cxn ang="0">
                    <a:pos x="126" y="176"/>
                  </a:cxn>
                  <a:cxn ang="0">
                    <a:pos x="107" y="156"/>
                  </a:cxn>
                  <a:cxn ang="0">
                    <a:pos x="97" y="195"/>
                  </a:cxn>
                  <a:cxn ang="0">
                    <a:pos x="87" y="195"/>
                  </a:cxn>
                  <a:cxn ang="0">
                    <a:pos x="68" y="205"/>
                  </a:cxn>
                  <a:cxn ang="0">
                    <a:pos x="58" y="176"/>
                  </a:cxn>
                  <a:cxn ang="0">
                    <a:pos x="19" y="146"/>
                  </a:cxn>
                </a:cxnLst>
                <a:rect l="0" t="0" r="r" b="b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40" name="Group 33"/>
            <p:cNvGrpSpPr>
              <a:grpSpLocks/>
            </p:cNvGrpSpPr>
            <p:nvPr/>
          </p:nvGrpSpPr>
          <p:grpSpPr bwMode="auto">
            <a:xfrm>
              <a:off x="3648" y="1054"/>
              <a:ext cx="263" cy="322"/>
              <a:chOff x="3648" y="1054"/>
              <a:chExt cx="263" cy="322"/>
            </a:xfrm>
          </p:grpSpPr>
          <p:sp>
            <p:nvSpPr>
              <p:cNvPr id="658" name="Freeform 35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  <a:close/>
                  </a:path>
                </a:pathLst>
              </a:custGeom>
              <a:solidFill>
                <a:srgbClr val="8DB3E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9" name="Freeform 34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/>
                <a:ahLst/>
                <a:cxnLst>
                  <a:cxn ang="0">
                    <a:pos x="127" y="312"/>
                  </a:cxn>
                  <a:cxn ang="0">
                    <a:pos x="117" y="283"/>
                  </a:cxn>
                  <a:cxn ang="0">
                    <a:pos x="117" y="244"/>
                  </a:cxn>
                  <a:cxn ang="0">
                    <a:pos x="137" y="185"/>
                  </a:cxn>
                  <a:cxn ang="0">
                    <a:pos x="137" y="156"/>
                  </a:cxn>
                  <a:cxn ang="0">
                    <a:pos x="166" y="136"/>
                  </a:cxn>
                  <a:cxn ang="0">
                    <a:pos x="176" y="127"/>
                  </a:cxn>
                  <a:cxn ang="0">
                    <a:pos x="185" y="107"/>
                  </a:cxn>
                  <a:cxn ang="0">
                    <a:pos x="205" y="97"/>
                  </a:cxn>
                  <a:cxn ang="0">
                    <a:pos x="215" y="88"/>
                  </a:cxn>
                  <a:cxn ang="0">
                    <a:pos x="234" y="97"/>
                  </a:cxn>
                  <a:cxn ang="0">
                    <a:pos x="244" y="78"/>
                  </a:cxn>
                  <a:cxn ang="0">
                    <a:pos x="244" y="68"/>
                  </a:cxn>
                  <a:cxn ang="0">
                    <a:pos x="263" y="78"/>
                  </a:cxn>
                  <a:cxn ang="0">
                    <a:pos x="263" y="58"/>
                  </a:cxn>
                  <a:cxn ang="0">
                    <a:pos x="244" y="29"/>
                  </a:cxn>
                  <a:cxn ang="0">
                    <a:pos x="215" y="19"/>
                  </a:cxn>
                  <a:cxn ang="0">
                    <a:pos x="195" y="0"/>
                  </a:cxn>
                  <a:cxn ang="0">
                    <a:pos x="176" y="9"/>
                  </a:cxn>
                  <a:cxn ang="0">
                    <a:pos x="166" y="19"/>
                  </a:cxn>
                  <a:cxn ang="0">
                    <a:pos x="156" y="29"/>
                  </a:cxn>
                  <a:cxn ang="0">
                    <a:pos x="137" y="19"/>
                  </a:cxn>
                  <a:cxn ang="0">
                    <a:pos x="117" y="29"/>
                  </a:cxn>
                  <a:cxn ang="0">
                    <a:pos x="127" y="39"/>
                  </a:cxn>
                  <a:cxn ang="0">
                    <a:pos x="127" y="49"/>
                  </a:cxn>
                  <a:cxn ang="0">
                    <a:pos x="117" y="39"/>
                  </a:cxn>
                  <a:cxn ang="0">
                    <a:pos x="98" y="58"/>
                  </a:cxn>
                  <a:cxn ang="0">
                    <a:pos x="88" y="58"/>
                  </a:cxn>
                  <a:cxn ang="0">
                    <a:pos x="78" y="78"/>
                  </a:cxn>
                  <a:cxn ang="0">
                    <a:pos x="68" y="68"/>
                  </a:cxn>
                  <a:cxn ang="0">
                    <a:pos x="59" y="58"/>
                  </a:cxn>
                  <a:cxn ang="0">
                    <a:pos x="39" y="58"/>
                  </a:cxn>
                  <a:cxn ang="0">
                    <a:pos x="10" y="88"/>
                  </a:cxn>
                  <a:cxn ang="0">
                    <a:pos x="0" y="107"/>
                  </a:cxn>
                  <a:cxn ang="0">
                    <a:pos x="10" y="127"/>
                  </a:cxn>
                  <a:cxn ang="0">
                    <a:pos x="29" y="117"/>
                  </a:cxn>
                  <a:cxn ang="0">
                    <a:pos x="29" y="136"/>
                  </a:cxn>
                  <a:cxn ang="0">
                    <a:pos x="49" y="156"/>
                  </a:cxn>
                  <a:cxn ang="0">
                    <a:pos x="49" y="156"/>
                  </a:cxn>
                  <a:cxn ang="0">
                    <a:pos x="59" y="166"/>
                  </a:cxn>
                  <a:cxn ang="0">
                    <a:pos x="49" y="175"/>
                  </a:cxn>
                  <a:cxn ang="0">
                    <a:pos x="39" y="185"/>
                  </a:cxn>
                  <a:cxn ang="0">
                    <a:pos x="49" y="195"/>
                  </a:cxn>
                  <a:cxn ang="0">
                    <a:pos x="39" y="205"/>
                  </a:cxn>
                  <a:cxn ang="0">
                    <a:pos x="29" y="195"/>
                  </a:cxn>
                  <a:cxn ang="0">
                    <a:pos x="10" y="214"/>
                  </a:cxn>
                  <a:cxn ang="0">
                    <a:pos x="20" y="234"/>
                  </a:cxn>
                  <a:cxn ang="0">
                    <a:pos x="39" y="244"/>
                  </a:cxn>
                  <a:cxn ang="0">
                    <a:pos x="39" y="253"/>
                  </a:cxn>
                  <a:cxn ang="0">
                    <a:pos x="49" y="273"/>
                  </a:cxn>
                  <a:cxn ang="0">
                    <a:pos x="59" y="263"/>
                  </a:cxn>
                  <a:cxn ang="0">
                    <a:pos x="78" y="302"/>
                  </a:cxn>
                  <a:cxn ang="0">
                    <a:pos x="88" y="292"/>
                  </a:cxn>
                  <a:cxn ang="0">
                    <a:pos x="88" y="283"/>
                  </a:cxn>
                  <a:cxn ang="0">
                    <a:pos x="88" y="302"/>
                  </a:cxn>
                  <a:cxn ang="0">
                    <a:pos x="107" y="322"/>
                  </a:cxn>
                </a:cxnLst>
                <a:rect l="0" t="0" r="r" b="b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41" name="Group 30"/>
            <p:cNvGrpSpPr>
              <a:grpSpLocks/>
            </p:cNvGrpSpPr>
            <p:nvPr/>
          </p:nvGrpSpPr>
          <p:grpSpPr bwMode="auto">
            <a:xfrm>
              <a:off x="3755" y="1424"/>
              <a:ext cx="59" cy="98"/>
              <a:chOff x="3755" y="1424"/>
              <a:chExt cx="59" cy="98"/>
            </a:xfrm>
          </p:grpSpPr>
          <p:sp>
            <p:nvSpPr>
              <p:cNvPr id="656" name="Freeform 32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7" name="Freeform 31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</a:path>
                </a:pathLst>
              </a:custGeom>
              <a:solidFill>
                <a:srgbClr val="C0C0C0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42" name="Group 27"/>
            <p:cNvGrpSpPr>
              <a:grpSpLocks/>
            </p:cNvGrpSpPr>
            <p:nvPr/>
          </p:nvGrpSpPr>
          <p:grpSpPr bwMode="auto">
            <a:xfrm>
              <a:off x="6720" y="1395"/>
              <a:ext cx="19" cy="20"/>
              <a:chOff x="6721" y="1395"/>
              <a:chExt cx="19" cy="20"/>
            </a:xfrm>
          </p:grpSpPr>
          <p:sp>
            <p:nvSpPr>
              <p:cNvPr id="654" name="Freeform 29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5" name="Freeform 28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43" name="Freeform 26"/>
            <p:cNvSpPr>
              <a:spLocks/>
            </p:cNvSpPr>
            <p:nvPr/>
          </p:nvSpPr>
          <p:spPr bwMode="auto">
            <a:xfrm>
              <a:off x="1737" y="1815"/>
              <a:ext cx="77" cy="59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44" name="Group 23"/>
            <p:cNvGrpSpPr>
              <a:grpSpLocks/>
            </p:cNvGrpSpPr>
            <p:nvPr/>
          </p:nvGrpSpPr>
          <p:grpSpPr bwMode="auto">
            <a:xfrm>
              <a:off x="1737" y="1815"/>
              <a:ext cx="77" cy="59"/>
              <a:chOff x="1737" y="1815"/>
              <a:chExt cx="77" cy="59"/>
            </a:xfrm>
          </p:grpSpPr>
          <p:sp>
            <p:nvSpPr>
              <p:cNvPr id="652" name="Freeform 25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3" name="Freeform 24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36 h 58"/>
                  <a:gd name="T22" fmla="*/ 78 w 78"/>
                  <a:gd name="T23" fmla="*/ 50 h 58"/>
                  <a:gd name="T24" fmla="*/ 78 w 78"/>
                  <a:gd name="T25" fmla="*/ 60 h 58"/>
                  <a:gd name="T26" fmla="*/ 69 w 78"/>
                  <a:gd name="T27" fmla="*/ 69 h 58"/>
                  <a:gd name="T28" fmla="*/ 59 w 78"/>
                  <a:gd name="T29" fmla="*/ 69 h 58"/>
                  <a:gd name="T30" fmla="*/ 39 w 78"/>
                  <a:gd name="T31" fmla="*/ 69 h 58"/>
                  <a:gd name="T32" fmla="*/ 30 w 78"/>
                  <a:gd name="T33" fmla="*/ 69 h 58"/>
                  <a:gd name="T34" fmla="*/ 20 w 78"/>
                  <a:gd name="T35" fmla="*/ 69 h 58"/>
                  <a:gd name="T36" fmla="*/ 10 w 78"/>
                  <a:gd name="T37" fmla="*/ 60 h 58"/>
                  <a:gd name="T38" fmla="*/ 0 w 78"/>
                  <a:gd name="T39" fmla="*/ 60 h 58"/>
                  <a:gd name="T40" fmla="*/ 0 w 78"/>
                  <a:gd name="T41" fmla="*/ 50 h 58"/>
                  <a:gd name="T42" fmla="*/ 0 w 78"/>
                  <a:gd name="T43" fmla="*/ 36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0070C0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45" name="Freeform 22"/>
            <p:cNvSpPr>
              <a:spLocks/>
            </p:cNvSpPr>
            <p:nvPr/>
          </p:nvSpPr>
          <p:spPr bwMode="auto">
            <a:xfrm>
              <a:off x="2567" y="2753"/>
              <a:ext cx="418" cy="418"/>
            </a:xfrm>
            <a:custGeom>
              <a:avLst/>
              <a:gdLst/>
              <a:ahLst/>
              <a:cxnLst>
                <a:cxn ang="0">
                  <a:pos x="30" y="342"/>
                </a:cxn>
                <a:cxn ang="0">
                  <a:pos x="69" y="361"/>
                </a:cxn>
                <a:cxn ang="0">
                  <a:pos x="49" y="381"/>
                </a:cxn>
                <a:cxn ang="0">
                  <a:pos x="39" y="410"/>
                </a:cxn>
                <a:cxn ang="0">
                  <a:pos x="88" y="410"/>
                </a:cxn>
                <a:cxn ang="0">
                  <a:pos x="117" y="420"/>
                </a:cxn>
                <a:cxn ang="0">
                  <a:pos x="127" y="381"/>
                </a:cxn>
                <a:cxn ang="0">
                  <a:pos x="137" y="371"/>
                </a:cxn>
                <a:cxn ang="0">
                  <a:pos x="176" y="361"/>
                </a:cxn>
                <a:cxn ang="0">
                  <a:pos x="205" y="391"/>
                </a:cxn>
                <a:cxn ang="0">
                  <a:pos x="234" y="371"/>
                </a:cxn>
                <a:cxn ang="0">
                  <a:pos x="215" y="352"/>
                </a:cxn>
                <a:cxn ang="0">
                  <a:pos x="195" y="322"/>
                </a:cxn>
                <a:cxn ang="0">
                  <a:pos x="225" y="332"/>
                </a:cxn>
                <a:cxn ang="0">
                  <a:pos x="225" y="303"/>
                </a:cxn>
                <a:cxn ang="0">
                  <a:pos x="205" y="293"/>
                </a:cxn>
                <a:cxn ang="0">
                  <a:pos x="225" y="274"/>
                </a:cxn>
                <a:cxn ang="0">
                  <a:pos x="254" y="274"/>
                </a:cxn>
                <a:cxn ang="0">
                  <a:pos x="273" y="293"/>
                </a:cxn>
                <a:cxn ang="0">
                  <a:pos x="293" y="303"/>
                </a:cxn>
                <a:cxn ang="0">
                  <a:pos x="332" y="313"/>
                </a:cxn>
                <a:cxn ang="0">
                  <a:pos x="371" y="322"/>
                </a:cxn>
                <a:cxn ang="0">
                  <a:pos x="371" y="303"/>
                </a:cxn>
                <a:cxn ang="0">
                  <a:pos x="381" y="293"/>
                </a:cxn>
                <a:cxn ang="0">
                  <a:pos x="381" y="264"/>
                </a:cxn>
                <a:cxn ang="0">
                  <a:pos x="352" y="244"/>
                </a:cxn>
                <a:cxn ang="0">
                  <a:pos x="332" y="235"/>
                </a:cxn>
                <a:cxn ang="0">
                  <a:pos x="342" y="205"/>
                </a:cxn>
                <a:cxn ang="0">
                  <a:pos x="371" y="196"/>
                </a:cxn>
                <a:cxn ang="0">
                  <a:pos x="410" y="186"/>
                </a:cxn>
                <a:cxn ang="0">
                  <a:pos x="410" y="147"/>
                </a:cxn>
                <a:cxn ang="0">
                  <a:pos x="410" y="127"/>
                </a:cxn>
                <a:cxn ang="0">
                  <a:pos x="410" y="98"/>
                </a:cxn>
                <a:cxn ang="0">
                  <a:pos x="381" y="59"/>
                </a:cxn>
                <a:cxn ang="0">
                  <a:pos x="352" y="69"/>
                </a:cxn>
                <a:cxn ang="0">
                  <a:pos x="283" y="20"/>
                </a:cxn>
                <a:cxn ang="0">
                  <a:pos x="254" y="10"/>
                </a:cxn>
                <a:cxn ang="0">
                  <a:pos x="234" y="39"/>
                </a:cxn>
                <a:cxn ang="0">
                  <a:pos x="225" y="59"/>
                </a:cxn>
                <a:cxn ang="0">
                  <a:pos x="234" y="78"/>
                </a:cxn>
                <a:cxn ang="0">
                  <a:pos x="205" y="88"/>
                </a:cxn>
                <a:cxn ang="0">
                  <a:pos x="186" y="78"/>
                </a:cxn>
                <a:cxn ang="0">
                  <a:pos x="166" y="78"/>
                </a:cxn>
                <a:cxn ang="0">
                  <a:pos x="147" y="59"/>
                </a:cxn>
                <a:cxn ang="0">
                  <a:pos x="127" y="59"/>
                </a:cxn>
                <a:cxn ang="0">
                  <a:pos x="137" y="30"/>
                </a:cxn>
                <a:cxn ang="0">
                  <a:pos x="88" y="30"/>
                </a:cxn>
                <a:cxn ang="0">
                  <a:pos x="59" y="59"/>
                </a:cxn>
                <a:cxn ang="0">
                  <a:pos x="78" y="117"/>
                </a:cxn>
                <a:cxn ang="0">
                  <a:pos x="127" y="137"/>
                </a:cxn>
                <a:cxn ang="0">
                  <a:pos x="156" y="137"/>
                </a:cxn>
                <a:cxn ang="0">
                  <a:pos x="205" y="137"/>
                </a:cxn>
                <a:cxn ang="0">
                  <a:pos x="215" y="147"/>
                </a:cxn>
                <a:cxn ang="0">
                  <a:pos x="186" y="176"/>
                </a:cxn>
                <a:cxn ang="0">
                  <a:pos x="156" y="196"/>
                </a:cxn>
                <a:cxn ang="0">
                  <a:pos x="127" y="186"/>
                </a:cxn>
                <a:cxn ang="0">
                  <a:pos x="98" y="205"/>
                </a:cxn>
                <a:cxn ang="0">
                  <a:pos x="69" y="215"/>
                </a:cxn>
                <a:cxn ang="0">
                  <a:pos x="39" y="264"/>
                </a:cxn>
                <a:cxn ang="0">
                  <a:pos x="39" y="274"/>
                </a:cxn>
                <a:cxn ang="0">
                  <a:pos x="10" y="293"/>
                </a:cxn>
                <a:cxn ang="0">
                  <a:pos x="10" y="332"/>
                </a:cxn>
                <a:cxn ang="0">
                  <a:pos x="20" y="342"/>
                </a:cxn>
              </a:cxnLst>
              <a:rect l="0" t="0" r="r" b="b"/>
              <a:pathLst>
                <a:path w="420" h="420">
                  <a:moveTo>
                    <a:pt x="20" y="342"/>
                  </a:moveTo>
                  <a:lnTo>
                    <a:pt x="30" y="342"/>
                  </a:lnTo>
                  <a:lnTo>
                    <a:pt x="59" y="352"/>
                  </a:lnTo>
                  <a:lnTo>
                    <a:pt x="69" y="361"/>
                  </a:lnTo>
                  <a:lnTo>
                    <a:pt x="69" y="381"/>
                  </a:lnTo>
                  <a:lnTo>
                    <a:pt x="49" y="381"/>
                  </a:lnTo>
                  <a:lnTo>
                    <a:pt x="30" y="391"/>
                  </a:lnTo>
                  <a:lnTo>
                    <a:pt x="39" y="410"/>
                  </a:lnTo>
                  <a:lnTo>
                    <a:pt x="69" y="410"/>
                  </a:lnTo>
                  <a:lnTo>
                    <a:pt x="88" y="410"/>
                  </a:lnTo>
                  <a:lnTo>
                    <a:pt x="108" y="420"/>
                  </a:lnTo>
                  <a:lnTo>
                    <a:pt x="117" y="420"/>
                  </a:lnTo>
                  <a:lnTo>
                    <a:pt x="127" y="400"/>
                  </a:lnTo>
                  <a:lnTo>
                    <a:pt x="127" y="381"/>
                  </a:lnTo>
                  <a:lnTo>
                    <a:pt x="127" y="361"/>
                  </a:lnTo>
                  <a:lnTo>
                    <a:pt x="137" y="371"/>
                  </a:lnTo>
                  <a:lnTo>
                    <a:pt x="156" y="371"/>
                  </a:lnTo>
                  <a:lnTo>
                    <a:pt x="176" y="361"/>
                  </a:lnTo>
                  <a:lnTo>
                    <a:pt x="186" y="371"/>
                  </a:lnTo>
                  <a:lnTo>
                    <a:pt x="205" y="391"/>
                  </a:lnTo>
                  <a:lnTo>
                    <a:pt x="225" y="391"/>
                  </a:lnTo>
                  <a:lnTo>
                    <a:pt x="234" y="371"/>
                  </a:lnTo>
                  <a:lnTo>
                    <a:pt x="225" y="361"/>
                  </a:lnTo>
                  <a:lnTo>
                    <a:pt x="215" y="352"/>
                  </a:lnTo>
                  <a:lnTo>
                    <a:pt x="186" y="332"/>
                  </a:lnTo>
                  <a:lnTo>
                    <a:pt x="195" y="322"/>
                  </a:lnTo>
                  <a:lnTo>
                    <a:pt x="205" y="322"/>
                  </a:lnTo>
                  <a:lnTo>
                    <a:pt x="225" y="332"/>
                  </a:lnTo>
                  <a:lnTo>
                    <a:pt x="225" y="322"/>
                  </a:lnTo>
                  <a:lnTo>
                    <a:pt x="225" y="303"/>
                  </a:lnTo>
                  <a:lnTo>
                    <a:pt x="205" y="303"/>
                  </a:lnTo>
                  <a:lnTo>
                    <a:pt x="205" y="293"/>
                  </a:lnTo>
                  <a:lnTo>
                    <a:pt x="215" y="283"/>
                  </a:lnTo>
                  <a:lnTo>
                    <a:pt x="225" y="274"/>
                  </a:lnTo>
                  <a:lnTo>
                    <a:pt x="244" y="274"/>
                  </a:lnTo>
                  <a:lnTo>
                    <a:pt x="254" y="274"/>
                  </a:lnTo>
                  <a:lnTo>
                    <a:pt x="254" y="293"/>
                  </a:lnTo>
                  <a:lnTo>
                    <a:pt x="273" y="293"/>
                  </a:lnTo>
                  <a:lnTo>
                    <a:pt x="283" y="313"/>
                  </a:lnTo>
                  <a:lnTo>
                    <a:pt x="293" y="303"/>
                  </a:lnTo>
                  <a:lnTo>
                    <a:pt x="312" y="313"/>
                  </a:lnTo>
                  <a:lnTo>
                    <a:pt x="332" y="313"/>
                  </a:lnTo>
                  <a:lnTo>
                    <a:pt x="352" y="322"/>
                  </a:lnTo>
                  <a:lnTo>
                    <a:pt x="371" y="322"/>
                  </a:lnTo>
                  <a:lnTo>
                    <a:pt x="381" y="332"/>
                  </a:lnTo>
                  <a:lnTo>
                    <a:pt x="371" y="303"/>
                  </a:lnTo>
                  <a:lnTo>
                    <a:pt x="371" y="293"/>
                  </a:lnTo>
                  <a:lnTo>
                    <a:pt x="381" y="293"/>
                  </a:lnTo>
                  <a:lnTo>
                    <a:pt x="391" y="274"/>
                  </a:lnTo>
                  <a:lnTo>
                    <a:pt x="381" y="264"/>
                  </a:lnTo>
                  <a:lnTo>
                    <a:pt x="361" y="264"/>
                  </a:lnTo>
                  <a:lnTo>
                    <a:pt x="352" y="244"/>
                  </a:lnTo>
                  <a:lnTo>
                    <a:pt x="332" y="244"/>
                  </a:lnTo>
                  <a:lnTo>
                    <a:pt x="332" y="235"/>
                  </a:lnTo>
                  <a:lnTo>
                    <a:pt x="342" y="225"/>
                  </a:lnTo>
                  <a:lnTo>
                    <a:pt x="342" y="205"/>
                  </a:lnTo>
                  <a:lnTo>
                    <a:pt x="361" y="205"/>
                  </a:lnTo>
                  <a:lnTo>
                    <a:pt x="371" y="196"/>
                  </a:lnTo>
                  <a:lnTo>
                    <a:pt x="371" y="186"/>
                  </a:lnTo>
                  <a:lnTo>
                    <a:pt x="410" y="186"/>
                  </a:lnTo>
                  <a:lnTo>
                    <a:pt x="410" y="166"/>
                  </a:lnTo>
                  <a:lnTo>
                    <a:pt x="410" y="147"/>
                  </a:lnTo>
                  <a:lnTo>
                    <a:pt x="420" y="137"/>
                  </a:lnTo>
                  <a:lnTo>
                    <a:pt x="410" y="127"/>
                  </a:lnTo>
                  <a:lnTo>
                    <a:pt x="420" y="108"/>
                  </a:lnTo>
                  <a:lnTo>
                    <a:pt x="410" y="98"/>
                  </a:lnTo>
                  <a:lnTo>
                    <a:pt x="400" y="78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2" y="69"/>
                  </a:lnTo>
                  <a:lnTo>
                    <a:pt x="322" y="49"/>
                  </a:lnTo>
                  <a:lnTo>
                    <a:pt x="283" y="20"/>
                  </a:lnTo>
                  <a:lnTo>
                    <a:pt x="273" y="0"/>
                  </a:lnTo>
                  <a:lnTo>
                    <a:pt x="254" y="10"/>
                  </a:lnTo>
                  <a:lnTo>
                    <a:pt x="254" y="30"/>
                  </a:lnTo>
                  <a:lnTo>
                    <a:pt x="234" y="39"/>
                  </a:lnTo>
                  <a:lnTo>
                    <a:pt x="234" y="49"/>
                  </a:lnTo>
                  <a:lnTo>
                    <a:pt x="225" y="59"/>
                  </a:lnTo>
                  <a:lnTo>
                    <a:pt x="234" y="59"/>
                  </a:lnTo>
                  <a:lnTo>
                    <a:pt x="234" y="78"/>
                  </a:lnTo>
                  <a:lnTo>
                    <a:pt x="205" y="69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186" y="78"/>
                  </a:lnTo>
                  <a:lnTo>
                    <a:pt x="176" y="78"/>
                  </a:lnTo>
                  <a:lnTo>
                    <a:pt x="166" y="78"/>
                  </a:lnTo>
                  <a:lnTo>
                    <a:pt x="147" y="78"/>
                  </a:lnTo>
                  <a:lnTo>
                    <a:pt x="147" y="59"/>
                  </a:lnTo>
                  <a:lnTo>
                    <a:pt x="127" y="69"/>
                  </a:lnTo>
                  <a:lnTo>
                    <a:pt x="127" y="59"/>
                  </a:lnTo>
                  <a:lnTo>
                    <a:pt x="147" y="49"/>
                  </a:lnTo>
                  <a:lnTo>
                    <a:pt x="137" y="30"/>
                  </a:lnTo>
                  <a:lnTo>
                    <a:pt x="127" y="20"/>
                  </a:lnTo>
                  <a:lnTo>
                    <a:pt x="88" y="30"/>
                  </a:lnTo>
                  <a:lnTo>
                    <a:pt x="78" y="59"/>
                  </a:lnTo>
                  <a:lnTo>
                    <a:pt x="59" y="59"/>
                  </a:lnTo>
                  <a:lnTo>
                    <a:pt x="69" y="88"/>
                  </a:lnTo>
                  <a:lnTo>
                    <a:pt x="78" y="117"/>
                  </a:lnTo>
                  <a:lnTo>
                    <a:pt x="108" y="117"/>
                  </a:lnTo>
                  <a:lnTo>
                    <a:pt x="127" y="137"/>
                  </a:lnTo>
                  <a:lnTo>
                    <a:pt x="137" y="137"/>
                  </a:lnTo>
                  <a:lnTo>
                    <a:pt x="156" y="137"/>
                  </a:lnTo>
                  <a:lnTo>
                    <a:pt x="176" y="147"/>
                  </a:lnTo>
                  <a:lnTo>
                    <a:pt x="205" y="137"/>
                  </a:lnTo>
                  <a:lnTo>
                    <a:pt x="215" y="137"/>
                  </a:lnTo>
                  <a:lnTo>
                    <a:pt x="215" y="147"/>
                  </a:lnTo>
                  <a:lnTo>
                    <a:pt x="205" y="166"/>
                  </a:lnTo>
                  <a:lnTo>
                    <a:pt x="186" y="176"/>
                  </a:lnTo>
                  <a:lnTo>
                    <a:pt x="176" y="186"/>
                  </a:lnTo>
                  <a:lnTo>
                    <a:pt x="156" y="196"/>
                  </a:lnTo>
                  <a:lnTo>
                    <a:pt x="147" y="186"/>
                  </a:lnTo>
                  <a:lnTo>
                    <a:pt x="127" y="186"/>
                  </a:lnTo>
                  <a:lnTo>
                    <a:pt x="108" y="186"/>
                  </a:lnTo>
                  <a:lnTo>
                    <a:pt x="98" y="205"/>
                  </a:lnTo>
                  <a:lnTo>
                    <a:pt x="78" y="215"/>
                  </a:lnTo>
                  <a:lnTo>
                    <a:pt x="69" y="215"/>
                  </a:lnTo>
                  <a:lnTo>
                    <a:pt x="59" y="244"/>
                  </a:lnTo>
                  <a:lnTo>
                    <a:pt x="39" y="264"/>
                  </a:lnTo>
                  <a:lnTo>
                    <a:pt x="49" y="274"/>
                  </a:lnTo>
                  <a:lnTo>
                    <a:pt x="39" y="274"/>
                  </a:lnTo>
                  <a:lnTo>
                    <a:pt x="30" y="274"/>
                  </a:lnTo>
                  <a:lnTo>
                    <a:pt x="10" y="293"/>
                  </a:lnTo>
                  <a:lnTo>
                    <a:pt x="0" y="322"/>
                  </a:lnTo>
                  <a:lnTo>
                    <a:pt x="10" y="332"/>
                  </a:lnTo>
                  <a:lnTo>
                    <a:pt x="10" y="342"/>
                  </a:lnTo>
                  <a:lnTo>
                    <a:pt x="20" y="34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6" name="Rectangle 21"/>
            <p:cNvSpPr>
              <a:spLocks noChangeArrowheads="1"/>
            </p:cNvSpPr>
            <p:nvPr/>
          </p:nvSpPr>
          <p:spPr bwMode="auto">
            <a:xfrm>
              <a:off x="2859" y="264"/>
              <a:ext cx="1698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7" name="Rectangle 19"/>
            <p:cNvSpPr>
              <a:spLocks noChangeArrowheads="1"/>
            </p:cNvSpPr>
            <p:nvPr/>
          </p:nvSpPr>
          <p:spPr bwMode="auto">
            <a:xfrm>
              <a:off x="1" y="1455"/>
              <a:ext cx="1405" cy="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8" name="Rectangle 17"/>
            <p:cNvSpPr>
              <a:spLocks noChangeArrowheads="1"/>
            </p:cNvSpPr>
            <p:nvPr/>
          </p:nvSpPr>
          <p:spPr bwMode="auto">
            <a:xfrm>
              <a:off x="487" y="3523"/>
              <a:ext cx="1405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9" name="Rectangle 15"/>
            <p:cNvSpPr>
              <a:spLocks noChangeArrowheads="1"/>
            </p:cNvSpPr>
            <p:nvPr/>
          </p:nvSpPr>
          <p:spPr bwMode="auto">
            <a:xfrm>
              <a:off x="1657" y="3328"/>
              <a:ext cx="1408" cy="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0" name="Rectangle 14"/>
            <p:cNvSpPr>
              <a:spLocks noChangeArrowheads="1"/>
            </p:cNvSpPr>
            <p:nvPr/>
          </p:nvSpPr>
          <p:spPr bwMode="auto">
            <a:xfrm>
              <a:off x="3745" y="1171"/>
              <a:ext cx="1405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1" name="Rectangle 11"/>
            <p:cNvSpPr>
              <a:spLocks noChangeArrowheads="1"/>
            </p:cNvSpPr>
            <p:nvPr/>
          </p:nvSpPr>
          <p:spPr bwMode="auto">
            <a:xfrm>
              <a:off x="6301" y="567"/>
              <a:ext cx="1403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20329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per Blue wor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0"/>
          <a:stretch/>
        </p:blipFill>
        <p:spPr>
          <a:xfrm>
            <a:off x="-5961" y="0"/>
            <a:ext cx="12197961" cy="68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1424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per blue wor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68" b="2112"/>
          <a:stretch/>
        </p:blipFill>
        <p:spPr>
          <a:xfrm>
            <a:off x="-16945" y="-36992"/>
            <a:ext cx="12208945" cy="689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3680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niper Blue wor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7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296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Uniper Blue wor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4" y="0"/>
            <a:ext cx="121877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61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Титульный лист - синий логотип Юнипро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52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5928" b="-1"/>
          <a:stretch/>
        </p:blipFill>
        <p:spPr>
          <a:xfrm>
            <a:off x="0" y="-7434"/>
            <a:ext cx="12192000" cy="686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6740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2">
            <a:extLst>
              <a:ext uri="{FF2B5EF4-FFF2-40B4-BE49-F238E27FC236}">
                <a16:creationId xmlns:a16="http://schemas.microsoft.com/office/drawing/2014/main" id="{6F00AD4D-0CB5-4CFF-A7CA-EC2B75F8C7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7302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2">
            <a:extLst>
              <a:ext uri="{FF2B5EF4-FFF2-40B4-BE49-F238E27FC236}">
                <a16:creationId xmlns:a16="http://schemas.microsoft.com/office/drawing/2014/main" id="{6F00AD4D-0CB5-4CFF-A7CA-EC2B75F8C7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6080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2">
            <a:extLst>
              <a:ext uri="{FF2B5EF4-FFF2-40B4-BE49-F238E27FC236}">
                <a16:creationId xmlns:a16="http://schemas.microsoft.com/office/drawing/2014/main" id="{6F00AD4D-0CB5-4CFF-A7CA-EC2B75F8C7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206" t="10064" r="2116" b="13259"/>
          <a:stretch/>
        </p:blipFill>
        <p:spPr>
          <a:xfrm rot="10800000" flipH="1">
            <a:off x="0" y="-1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0314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3778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7"/>
          <p:cNvSpPr>
            <a:spLocks noGrp="1"/>
          </p:cNvSpPr>
          <p:nvPr>
            <p:ph type="body" sz="quarter" idx="13"/>
          </p:nvPr>
        </p:nvSpPr>
        <p:spPr>
          <a:xfrm>
            <a:off x="9189287" y="6305880"/>
            <a:ext cx="2738967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56925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064700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74825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Название раздел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1"/>
          <p:cNvSpPr>
            <a:spLocks noGrp="1"/>
          </p:cNvSpPr>
          <p:nvPr>
            <p:ph type="body" sz="quarter" idx="12"/>
          </p:nvPr>
        </p:nvSpPr>
        <p:spPr>
          <a:xfrm>
            <a:off x="401055" y="372733"/>
            <a:ext cx="11213316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69AB46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C5E15895-11B0-4A5C-B13A-DC96839F08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CE82DA1A-230F-48FE-B1E1-402677BDC9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795299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ма Юнипро_синий лого на белом фон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901267F0-4F35-4A7E-ADA4-29AD796F4D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C1CC6FA8-3F8C-49BF-8390-961A9000D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6684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Титульный лист - синий логотип Юнипро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25811FF-9E03-4AF7-B9AB-BD56454B25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01775"/>
            <a:ext cx="2016125" cy="120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159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7D8467-4986-4E09-B566-DD6F9A028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AFBC788-0EC7-4FA1-A56C-C5406E7E42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92A7799-68AE-48BE-8593-DB270EF09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65209-E6BD-4D9B-9A6C-3E79CAE61F41}" type="datetimeFigureOut">
              <a:rPr lang="ru-RU" smtClean="0"/>
              <a:t>21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0881637-1BA9-47A5-BA41-AC60AE202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6904C02-719D-4A33-B2FD-99EE6B39D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2793B7-D27F-4EB9-B0DD-60790AB8287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18471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лист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317AE9A4-18CD-4D4C-9094-6DF329350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0288" y="6257100"/>
            <a:ext cx="6480000" cy="31050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D5B515D4-C7A9-4991-AB17-18F8D53D59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9D543ADB-E95E-4587-963D-D3C6AB2E96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6006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Титульный лист - синий логотип Юнипро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1423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4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7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643807" y="5371346"/>
            <a:ext cx="11008783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600" b="1" kern="1200" dirty="0" smtClean="0">
                <a:solidFill>
                  <a:srgbClr val="FFEA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692150"/>
            <a:ext cx="2016913" cy="121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808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 userDrawn="1">
          <p15:clr>
            <a:srgbClr val="FBAE40"/>
          </p15:clr>
        </p15:guide>
        <p15:guide id="2" pos="43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2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Relationship Id="rId9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5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9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63.xml"/><Relationship Id="rId42" Type="http://schemas.openxmlformats.org/officeDocument/2006/relationships/slideLayout" Target="../slideLayouts/slideLayout71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37" Type="http://schemas.openxmlformats.org/officeDocument/2006/relationships/slideLayout" Target="../slideLayouts/slideLayout66.xml"/><Relationship Id="rId40" Type="http://schemas.openxmlformats.org/officeDocument/2006/relationships/slideLayout" Target="../slideLayouts/slideLayout69.xml"/><Relationship Id="rId45" Type="http://schemas.openxmlformats.org/officeDocument/2006/relationships/tags" Target="../tags/tag5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4" Type="http://schemas.openxmlformats.org/officeDocument/2006/relationships/vmlDrawing" Target="../drawings/vmlDrawing5.v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slideLayout" Target="../slideLayouts/slideLayout64.xml"/><Relationship Id="rId43" Type="http://schemas.openxmlformats.org/officeDocument/2006/relationships/theme" Target="../theme/theme5.xml"/><Relationship Id="rId48" Type="http://schemas.openxmlformats.org/officeDocument/2006/relationships/image" Target="../media/image2.jpeg"/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38" Type="http://schemas.openxmlformats.org/officeDocument/2006/relationships/slideLayout" Target="../slideLayouts/slideLayout67.xml"/><Relationship Id="rId46" Type="http://schemas.openxmlformats.org/officeDocument/2006/relationships/oleObject" Target="../embeddings/oleObject5.bin"/><Relationship Id="rId20" Type="http://schemas.openxmlformats.org/officeDocument/2006/relationships/slideLayout" Target="../slideLayouts/slideLayout49.xml"/><Relationship Id="rId41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922878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5" y="6002369"/>
            <a:ext cx="909365" cy="636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854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10" r:id="rId2"/>
    <p:sldLayoutId id="2147483663" r:id="rId3"/>
    <p:sldLayoutId id="2147483747" r:id="rId4"/>
    <p:sldLayoutId id="2147483740" r:id="rId5"/>
    <p:sldLayoutId id="2147483801" r:id="rId6"/>
    <p:sldLayoutId id="2147483779" r:id="rId7"/>
    <p:sldLayoutId id="2147483781" r:id="rId8"/>
    <p:sldLayoutId id="2147483664" r:id="rId9"/>
    <p:sldLayoutId id="2147483668" r:id="rId10"/>
    <p:sldLayoutId id="2147483669" r:id="rId11"/>
    <p:sldLayoutId id="2147483670" r:id="rId12"/>
    <p:sldLayoutId id="2147483707" r:id="rId13"/>
    <p:sldLayoutId id="2147483666" r:id="rId14"/>
    <p:sldLayoutId id="2147483667" r:id="rId15"/>
    <p:sldLayoutId id="2147483709" r:id="rId16"/>
    <p:sldLayoutId id="2147483713" r:id="rId17"/>
    <p:sldLayoutId id="2147483715" r:id="rId18"/>
    <p:sldLayoutId id="2147483776" r:id="rId19"/>
    <p:sldLayoutId id="2147483780" r:id="rId20"/>
    <p:sldLayoutId id="2147483802" r:id="rId21"/>
    <p:sldLayoutId id="2147483848" r:id="rId22"/>
    <p:sldLayoutId id="214748385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8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2698564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Изображение 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74" y="6006057"/>
            <a:ext cx="895790" cy="60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7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78" r:id="rId2"/>
    <p:sldLayoutId id="2147483850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8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Изображение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74" y="6006057"/>
            <a:ext cx="895790" cy="60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34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78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925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4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5" y="6002369"/>
            <a:ext cx="909365" cy="636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138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7" r:id="rId31"/>
    <p:sldLayoutId id="2147483838" r:id="rId32"/>
    <p:sldLayoutId id="2147483839" r:id="rId33"/>
    <p:sldLayoutId id="2147483840" r:id="rId34"/>
    <p:sldLayoutId id="2147483841" r:id="rId35"/>
    <p:sldLayoutId id="2147483842" r:id="rId36"/>
    <p:sldLayoutId id="2147483843" r:id="rId37"/>
    <p:sldLayoutId id="2147483844" r:id="rId38"/>
    <p:sldLayoutId id="2147483845" r:id="rId39"/>
    <p:sldLayoutId id="2147483846" r:id="rId40"/>
    <p:sldLayoutId id="2147483847" r:id="rId41"/>
    <p:sldLayoutId id="2147483849" r:id="rId4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3.bin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28.png"/><Relationship Id="rId4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27.png"/><Relationship Id="rId4" Type="http://schemas.openxmlformats.org/officeDocument/2006/relationships/image" Target="../media/image32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A74054C-0C9B-4164-8725-6E479D5622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9" b="780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1343286-2DD2-4426-A4B4-67070F4B03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87" y="695667"/>
            <a:ext cx="2009506" cy="1205703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80EF38E4-E90E-443A-A67C-F5AFDE34C8DE}"/>
              </a:ext>
            </a:extLst>
          </p:cNvPr>
          <p:cNvSpPr txBox="1">
            <a:spLocks/>
          </p:cNvSpPr>
          <p:nvPr/>
        </p:nvSpPr>
        <p:spPr>
          <a:xfrm>
            <a:off x="674487" y="5329908"/>
            <a:ext cx="7990000" cy="8324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«Юнипро»</a:t>
            </a:r>
            <a:endParaRPr lang="de-DE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798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FBA6702-4840-416C-B7AD-F20975334B7F}"/>
              </a:ext>
            </a:extLst>
          </p:cNvPr>
          <p:cNvSpPr/>
          <p:nvPr/>
        </p:nvSpPr>
        <p:spPr>
          <a:xfrm>
            <a:off x="1253614" y="0"/>
            <a:ext cx="9204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ru-RU" sz="2800" dirty="0">
              <a:solidFill>
                <a:schemeClr val="bg1"/>
              </a:solidFill>
            </a:endParaRP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EBF8F72D-1652-4BBB-B821-A339D9776BC7}"/>
              </a:ext>
            </a:extLst>
          </p:cNvPr>
          <p:cNvGraphicFramePr/>
          <p:nvPr/>
        </p:nvGraphicFramePr>
        <p:xfrm>
          <a:off x="359098" y="2177136"/>
          <a:ext cx="12087284" cy="395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794B542-194C-48AC-B190-306A19FDEC88}"/>
              </a:ext>
            </a:extLst>
          </p:cNvPr>
          <p:cNvSpPr/>
          <p:nvPr/>
        </p:nvSpPr>
        <p:spPr>
          <a:xfrm>
            <a:off x="879603" y="523220"/>
            <a:ext cx="669317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dirty="0">
                <a:solidFill>
                  <a:srgbClr val="B5D4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пендиальная программ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BBC81A82-B012-4E5A-8C37-563FA836BB45}"/>
              </a:ext>
            </a:extLst>
          </p:cNvPr>
          <p:cNvCxnSpPr>
            <a:cxnSpLocks/>
          </p:cNvCxnSpPr>
          <p:nvPr/>
        </p:nvCxnSpPr>
        <p:spPr>
          <a:xfrm>
            <a:off x="4209361" y="2533196"/>
            <a:ext cx="0" cy="242460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5CB98B0F-010D-40EE-BA40-6134E7CF60BC}"/>
              </a:ext>
            </a:extLst>
          </p:cNvPr>
          <p:cNvCxnSpPr>
            <a:cxnSpLocks/>
          </p:cNvCxnSpPr>
          <p:nvPr/>
        </p:nvCxnSpPr>
        <p:spPr>
          <a:xfrm>
            <a:off x="7855723" y="2533196"/>
            <a:ext cx="0" cy="242460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26F12EE-3055-4415-AD0A-7168105B8794}"/>
              </a:ext>
            </a:extLst>
          </p:cNvPr>
          <p:cNvSpPr/>
          <p:nvPr/>
        </p:nvSpPr>
        <p:spPr>
          <a:xfrm>
            <a:off x="818942" y="1407695"/>
            <a:ext cx="315823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rgbClr val="B5D4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 программы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367D78C-8CC3-45AC-A7B6-A7E9EB9E4669}"/>
              </a:ext>
            </a:extLst>
          </p:cNvPr>
          <p:cNvSpPr/>
          <p:nvPr/>
        </p:nvSpPr>
        <p:spPr>
          <a:xfrm>
            <a:off x="4806456" y="1407695"/>
            <a:ext cx="290553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rgbClr val="B5D4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ремя обучения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8F3249E-0CF4-42E4-B2A2-D3898477E95A}"/>
              </a:ext>
            </a:extLst>
          </p:cNvPr>
          <p:cNvSpPr/>
          <p:nvPr/>
        </p:nvSpPr>
        <p:spPr>
          <a:xfrm>
            <a:off x="8214822" y="1407695"/>
            <a:ext cx="397717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solidFill>
                  <a:srgbClr val="B5D4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окончания </a:t>
            </a:r>
          </a:p>
          <a:p>
            <a:r>
              <a:rPr lang="ru-RU" sz="2200" b="1" dirty="0">
                <a:solidFill>
                  <a:srgbClr val="B5D4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бного заведения</a:t>
            </a:r>
          </a:p>
        </p:txBody>
      </p:sp>
    </p:spTree>
    <p:extLst>
      <p:ext uri="{BB962C8B-B14F-4D97-AF65-F5344CB8AC3E}">
        <p14:creationId xmlns:p14="http://schemas.microsoft.com/office/powerpoint/2010/main" val="1709040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">
            <a:extLst>
              <a:ext uri="{FF2B5EF4-FFF2-40B4-BE49-F238E27FC236}">
                <a16:creationId xmlns:a16="http://schemas.microsoft.com/office/drawing/2014/main" id="{6A5D69F7-D847-498C-AF42-DFE49E8BDC80}"/>
              </a:ext>
            </a:extLst>
          </p:cNvPr>
          <p:cNvSpPr txBox="1">
            <a:spLocks/>
          </p:cNvSpPr>
          <p:nvPr/>
        </p:nvSpPr>
        <p:spPr>
          <a:xfrm>
            <a:off x="587562" y="506981"/>
            <a:ext cx="7750192" cy="755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2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D0A4E94-D123-4845-9D48-3008E2A23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8" name="Текст 17">
            <a:extLst>
              <a:ext uri="{FF2B5EF4-FFF2-40B4-BE49-F238E27FC236}">
                <a16:creationId xmlns:a16="http://schemas.microsoft.com/office/drawing/2014/main" id="{DE9E7D7E-475A-4F88-8D01-93FE490CE7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Стипендиальная программа. </a:t>
            </a:r>
            <a:br>
              <a:rPr lang="ru-RU" dirty="0">
                <a:solidFill>
                  <a:srgbClr val="0078DC"/>
                </a:solidFill>
              </a:rPr>
            </a:br>
            <a:r>
              <a:rPr lang="ru-RU" dirty="0">
                <a:solidFill>
                  <a:srgbClr val="0078DC"/>
                </a:solidFill>
              </a:rPr>
              <a:t>Преимущества для студентов</a:t>
            </a:r>
          </a:p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EAFAB42-C3E1-4C16-98E3-2932DA23BD3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40" r="-24240"/>
          <a:stretch/>
        </p:blipFill>
        <p:spPr>
          <a:xfrm>
            <a:off x="6007713" y="0"/>
            <a:ext cx="10287874" cy="6858000"/>
          </a:xfrm>
          <a:custGeom>
            <a:avLst/>
            <a:gdLst>
              <a:gd name="connsiteX0" fmla="*/ 2047176 w 8516562"/>
              <a:gd name="connsiteY0" fmla="*/ 0 h 6866313"/>
              <a:gd name="connsiteX1" fmla="*/ 7966832 w 8516562"/>
              <a:gd name="connsiteY1" fmla="*/ 0 h 6866313"/>
              <a:gd name="connsiteX2" fmla="*/ 8516562 w 8516562"/>
              <a:gd name="connsiteY2" fmla="*/ 163901 h 6866313"/>
              <a:gd name="connsiteX3" fmla="*/ 6518253 w 8516562"/>
              <a:gd name="connsiteY3" fmla="*/ 6866313 h 6866313"/>
              <a:gd name="connsiteX4" fmla="*/ 0 w 8516562"/>
              <a:gd name="connsiteY4" fmla="*/ 6866313 h 686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6562" h="6866313">
                <a:moveTo>
                  <a:pt x="2047176" y="0"/>
                </a:moveTo>
                <a:lnTo>
                  <a:pt x="7966832" y="0"/>
                </a:lnTo>
                <a:lnTo>
                  <a:pt x="8516562" y="163901"/>
                </a:lnTo>
                <a:lnTo>
                  <a:pt x="6518253" y="6866313"/>
                </a:lnTo>
                <a:lnTo>
                  <a:pt x="0" y="6866313"/>
                </a:lnTo>
                <a:close/>
              </a:path>
            </a:pathLst>
          </a:custGeom>
        </p:spPr>
      </p:pic>
      <p:sp>
        <p:nvSpPr>
          <p:cNvPr id="11" name="Текст 16">
            <a:extLst>
              <a:ext uri="{FF2B5EF4-FFF2-40B4-BE49-F238E27FC236}">
                <a16:creationId xmlns:a16="http://schemas.microsoft.com/office/drawing/2014/main" id="{0340ACD5-7E3E-4B66-84CE-F31ACA5587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487" y="1530710"/>
            <a:ext cx="6079167" cy="2201719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</a:pPr>
            <a:r>
              <a:rPr lang="ru-RU" dirty="0">
                <a:solidFill>
                  <a:srgbClr val="5E5E5E"/>
                </a:solidFill>
              </a:rPr>
              <a:t>стабильная финансовая поддержка</a:t>
            </a:r>
            <a:br>
              <a:rPr lang="ru-RU" dirty="0">
                <a:solidFill>
                  <a:srgbClr val="5E5E5E"/>
                </a:solidFill>
              </a:rPr>
            </a:br>
            <a:r>
              <a:rPr lang="ru-RU" dirty="0">
                <a:solidFill>
                  <a:srgbClr val="5E5E5E"/>
                </a:solidFill>
              </a:rPr>
              <a:t>на весь период обучения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E5E5E"/>
                </a:solidFill>
              </a:rPr>
              <a:t>гарантированное место для прохождения практик </a:t>
            </a:r>
            <a:br>
              <a:rPr lang="ru-RU" dirty="0">
                <a:solidFill>
                  <a:srgbClr val="5E5E5E"/>
                </a:solidFill>
              </a:rPr>
            </a:br>
            <a:r>
              <a:rPr lang="ru-RU" dirty="0">
                <a:solidFill>
                  <a:srgbClr val="5E5E5E"/>
                </a:solidFill>
              </a:rPr>
              <a:t>и площадка для написания диплома, </a:t>
            </a:r>
            <a:br>
              <a:rPr lang="ru-RU" dirty="0">
                <a:solidFill>
                  <a:srgbClr val="5E5E5E"/>
                </a:solidFill>
              </a:rPr>
            </a:br>
            <a:r>
              <a:rPr lang="ru-RU" dirty="0">
                <a:solidFill>
                  <a:srgbClr val="5E5E5E"/>
                </a:solidFill>
              </a:rPr>
              <a:t>с поддержкой высококвалифицированных наставников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E5E5E"/>
                </a:solidFill>
              </a:rPr>
              <a:t>снижение риска ошибки в выборе сферы бизнеса, профессии при поиске работы после окончания вуза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E5E5E"/>
                </a:solidFill>
              </a:rPr>
              <a:t>минимальные сроки на адаптацию к специфике бизнеса, регламентам, культуре компании, коллективу и руководителю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5E5E5E"/>
                </a:solidFill>
              </a:rPr>
              <a:t>уверенность в будущем: компания </a:t>
            </a:r>
            <a:br>
              <a:rPr lang="ru-RU" dirty="0">
                <a:solidFill>
                  <a:srgbClr val="5E5E5E"/>
                </a:solidFill>
              </a:rPr>
            </a:br>
            <a:r>
              <a:rPr lang="ru-RU" dirty="0">
                <a:solidFill>
                  <a:srgbClr val="5E5E5E"/>
                </a:solidFill>
              </a:rPr>
              <a:t>заинтересована в 100% найме стипендиа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12" name="Текст 17">
            <a:extLst>
              <a:ext uri="{FF2B5EF4-FFF2-40B4-BE49-F238E27FC236}">
                <a16:creationId xmlns:a16="http://schemas.microsoft.com/office/drawing/2014/main" id="{B21A83CE-5309-4C00-AEB9-E45784846AFC}"/>
              </a:ext>
            </a:extLst>
          </p:cNvPr>
          <p:cNvSpPr txBox="1">
            <a:spLocks/>
          </p:cNvSpPr>
          <p:nvPr/>
        </p:nvSpPr>
        <p:spPr>
          <a:xfrm>
            <a:off x="553455" y="525133"/>
            <a:ext cx="11213316" cy="9874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57430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2">
            <a:extLst>
              <a:ext uri="{FF2B5EF4-FFF2-40B4-BE49-F238E27FC236}">
                <a16:creationId xmlns:a16="http://schemas.microsoft.com/office/drawing/2014/main" id="{9E30502E-E4D9-4D62-9C03-1AF46D0BDCD5}"/>
              </a:ext>
            </a:extLst>
          </p:cNvPr>
          <p:cNvSpPr txBox="1">
            <a:spLocks/>
          </p:cNvSpPr>
          <p:nvPr/>
        </p:nvSpPr>
        <p:spPr>
          <a:xfrm>
            <a:off x="691621" y="6200729"/>
            <a:ext cx="7344000" cy="288000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ABD382AC-66E8-4D99-AF6E-9AE095381AB8}"/>
              </a:ext>
            </a:extLst>
          </p:cNvPr>
          <p:cNvSpPr txBox="1">
            <a:spLocks/>
          </p:cNvSpPr>
          <p:nvPr/>
        </p:nvSpPr>
        <p:spPr>
          <a:xfrm>
            <a:off x="400222" y="716476"/>
            <a:ext cx="11791778" cy="9001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ждение практики для студентов 1-4 курсов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1C636B1-A4CC-421D-B0D2-75AD0C2574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269" y="1616589"/>
            <a:ext cx="6995195" cy="46541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452370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">
            <a:extLst>
              <a:ext uri="{FF2B5EF4-FFF2-40B4-BE49-F238E27FC236}">
                <a16:creationId xmlns:a16="http://schemas.microsoft.com/office/drawing/2014/main" id="{6A5D69F7-D847-498C-AF42-DFE49E8BDC80}"/>
              </a:ext>
            </a:extLst>
          </p:cNvPr>
          <p:cNvSpPr txBox="1">
            <a:spLocks/>
          </p:cNvSpPr>
          <p:nvPr/>
        </p:nvSpPr>
        <p:spPr>
          <a:xfrm>
            <a:off x="587562" y="506981"/>
            <a:ext cx="7750192" cy="755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2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D0A4E94-D123-4845-9D48-3008E2A23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8" name="Текст 17">
            <a:extLst>
              <a:ext uri="{FF2B5EF4-FFF2-40B4-BE49-F238E27FC236}">
                <a16:creationId xmlns:a16="http://schemas.microsoft.com/office/drawing/2014/main" id="{DE9E7D7E-475A-4F88-8D01-93FE490CE7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Практика в ПАО «Юнипро»</a:t>
            </a:r>
          </a:p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EAFAB42-C3E1-4C16-98E3-2932DA23BD3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30" r="-23030"/>
          <a:stretch/>
        </p:blipFill>
        <p:spPr>
          <a:xfrm>
            <a:off x="6008150" y="0"/>
            <a:ext cx="10287000" cy="6858000"/>
          </a:xfrm>
          <a:custGeom>
            <a:avLst/>
            <a:gdLst>
              <a:gd name="connsiteX0" fmla="*/ 2047176 w 8516562"/>
              <a:gd name="connsiteY0" fmla="*/ 0 h 6866313"/>
              <a:gd name="connsiteX1" fmla="*/ 7966832 w 8516562"/>
              <a:gd name="connsiteY1" fmla="*/ 0 h 6866313"/>
              <a:gd name="connsiteX2" fmla="*/ 8516562 w 8516562"/>
              <a:gd name="connsiteY2" fmla="*/ 163901 h 6866313"/>
              <a:gd name="connsiteX3" fmla="*/ 6518253 w 8516562"/>
              <a:gd name="connsiteY3" fmla="*/ 6866313 h 6866313"/>
              <a:gd name="connsiteX4" fmla="*/ 0 w 8516562"/>
              <a:gd name="connsiteY4" fmla="*/ 6866313 h 686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6562" h="6866313">
                <a:moveTo>
                  <a:pt x="2047176" y="0"/>
                </a:moveTo>
                <a:lnTo>
                  <a:pt x="7966832" y="0"/>
                </a:lnTo>
                <a:lnTo>
                  <a:pt x="8516562" y="163901"/>
                </a:lnTo>
                <a:lnTo>
                  <a:pt x="6518253" y="6866313"/>
                </a:lnTo>
                <a:lnTo>
                  <a:pt x="0" y="6866313"/>
                </a:lnTo>
                <a:close/>
              </a:path>
            </a:pathLst>
          </a:custGeom>
        </p:spPr>
      </p:pic>
      <p:sp>
        <p:nvSpPr>
          <p:cNvPr id="11" name="Текст 16">
            <a:extLst>
              <a:ext uri="{FF2B5EF4-FFF2-40B4-BE49-F238E27FC236}">
                <a16:creationId xmlns:a16="http://schemas.microsoft.com/office/drawing/2014/main" id="{0340ACD5-7E3E-4B66-84CE-F31ACA5587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487" y="1530710"/>
            <a:ext cx="7007422" cy="1240199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  <a:buNone/>
            </a:pPr>
            <a:r>
              <a:rPr lang="ru-RU" sz="2800" dirty="0">
                <a:solidFill>
                  <a:srgbClr val="5E5E5E"/>
                </a:solidFill>
              </a:rPr>
              <a:t>Хочешь пройти практику в Юнипро?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  <a:buNone/>
            </a:pPr>
            <a:r>
              <a:rPr lang="ru-RU" sz="2800" dirty="0">
                <a:solidFill>
                  <a:srgbClr val="5E5E5E"/>
                </a:solidFill>
              </a:rPr>
              <a:t>Присылай заявку* на </a:t>
            </a:r>
            <a:r>
              <a:rPr lang="ru-RU" sz="2800" b="1" dirty="0" err="1">
                <a:solidFill>
                  <a:srgbClr val="0078DC"/>
                </a:solidFill>
              </a:rPr>
              <a:t>hr@unipro.energ</a:t>
            </a:r>
            <a:r>
              <a:rPr lang="en-US" sz="2800" b="1" dirty="0">
                <a:solidFill>
                  <a:srgbClr val="0078DC"/>
                </a:solidFill>
              </a:rPr>
              <a:t>y</a:t>
            </a:r>
            <a:endParaRPr lang="ru-RU" sz="2800" b="1" dirty="0">
              <a:solidFill>
                <a:srgbClr val="0078DC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4E2FE68-57ED-4550-82B1-6B887D7B19B3}"/>
              </a:ext>
            </a:extLst>
          </p:cNvPr>
          <p:cNvSpPr/>
          <p:nvPr/>
        </p:nvSpPr>
        <p:spPr>
          <a:xfrm>
            <a:off x="335487" y="6246689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>
                <a:solidFill>
                  <a:srgbClr val="0078DC"/>
                </a:solidFill>
              </a:rPr>
              <a:t>*Заявки на практику принимаются за 3 месяца до ее начал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BE43D1B-EEF4-4C10-A11F-79A39705A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982" y="3429000"/>
            <a:ext cx="2664491" cy="2664491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A3D005D-DC75-496E-8645-9058F644B32E}"/>
              </a:ext>
            </a:extLst>
          </p:cNvPr>
          <p:cNvSpPr/>
          <p:nvPr/>
        </p:nvSpPr>
        <p:spPr>
          <a:xfrm>
            <a:off x="799214" y="3076785"/>
            <a:ext cx="49671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Отправь заявку прямо сейчас: </a:t>
            </a:r>
          </a:p>
        </p:txBody>
      </p:sp>
    </p:spTree>
    <p:extLst>
      <p:ext uri="{BB962C8B-B14F-4D97-AF65-F5344CB8AC3E}">
        <p14:creationId xmlns:p14="http://schemas.microsoft.com/office/powerpoint/2010/main" val="31453382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2">
            <a:extLst>
              <a:ext uri="{FF2B5EF4-FFF2-40B4-BE49-F238E27FC236}">
                <a16:creationId xmlns:a16="http://schemas.microsoft.com/office/drawing/2014/main" id="{9E30502E-E4D9-4D62-9C03-1AF46D0BDCD5}"/>
              </a:ext>
            </a:extLst>
          </p:cNvPr>
          <p:cNvSpPr txBox="1">
            <a:spLocks/>
          </p:cNvSpPr>
          <p:nvPr/>
        </p:nvSpPr>
        <p:spPr>
          <a:xfrm>
            <a:off x="691621" y="6200729"/>
            <a:ext cx="7344000" cy="288000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ABD382AC-66E8-4D99-AF6E-9AE095381AB8}"/>
              </a:ext>
            </a:extLst>
          </p:cNvPr>
          <p:cNvSpPr txBox="1">
            <a:spLocks/>
          </p:cNvSpPr>
          <p:nvPr/>
        </p:nvSpPr>
        <p:spPr>
          <a:xfrm>
            <a:off x="400222" y="369271"/>
            <a:ext cx="11791778" cy="9001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компании для выпускников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B03B23A-66B7-410C-9F9A-58378B8FA9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908" y="1390310"/>
            <a:ext cx="7570264" cy="50366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147438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">
            <a:extLst>
              <a:ext uri="{FF2B5EF4-FFF2-40B4-BE49-F238E27FC236}">
                <a16:creationId xmlns:a16="http://schemas.microsoft.com/office/drawing/2014/main" id="{6A5D69F7-D847-498C-AF42-DFE49E8BDC80}"/>
              </a:ext>
            </a:extLst>
          </p:cNvPr>
          <p:cNvSpPr txBox="1">
            <a:spLocks/>
          </p:cNvSpPr>
          <p:nvPr/>
        </p:nvSpPr>
        <p:spPr>
          <a:xfrm>
            <a:off x="587562" y="506981"/>
            <a:ext cx="7750192" cy="755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2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D0A4E94-D123-4845-9D48-3008E2A23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8" name="Текст 17">
            <a:extLst>
              <a:ext uri="{FF2B5EF4-FFF2-40B4-BE49-F238E27FC236}">
                <a16:creationId xmlns:a16="http://schemas.microsoft.com/office/drawing/2014/main" id="{DE9E7D7E-475A-4F88-8D01-93FE490CE7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Кто нужен ПАО «Юнипро»?</a:t>
            </a:r>
          </a:p>
          <a:p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EAFAB42-C3E1-4C16-98E3-2932DA23BD3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0" r="-13550"/>
          <a:stretch/>
        </p:blipFill>
        <p:spPr>
          <a:xfrm>
            <a:off x="6008624" y="0"/>
            <a:ext cx="10286051" cy="6858000"/>
          </a:xfrm>
          <a:custGeom>
            <a:avLst/>
            <a:gdLst>
              <a:gd name="connsiteX0" fmla="*/ 2047176 w 8516562"/>
              <a:gd name="connsiteY0" fmla="*/ 0 h 6866313"/>
              <a:gd name="connsiteX1" fmla="*/ 7966832 w 8516562"/>
              <a:gd name="connsiteY1" fmla="*/ 0 h 6866313"/>
              <a:gd name="connsiteX2" fmla="*/ 8516562 w 8516562"/>
              <a:gd name="connsiteY2" fmla="*/ 163901 h 6866313"/>
              <a:gd name="connsiteX3" fmla="*/ 6518253 w 8516562"/>
              <a:gd name="connsiteY3" fmla="*/ 6866313 h 6866313"/>
              <a:gd name="connsiteX4" fmla="*/ 0 w 8516562"/>
              <a:gd name="connsiteY4" fmla="*/ 6866313 h 686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6562" h="6866313">
                <a:moveTo>
                  <a:pt x="2047176" y="0"/>
                </a:moveTo>
                <a:lnTo>
                  <a:pt x="7966832" y="0"/>
                </a:lnTo>
                <a:lnTo>
                  <a:pt x="8516562" y="163901"/>
                </a:lnTo>
                <a:lnTo>
                  <a:pt x="6518253" y="6866313"/>
                </a:lnTo>
                <a:lnTo>
                  <a:pt x="0" y="6866313"/>
                </a:lnTo>
                <a:close/>
              </a:path>
            </a:pathLst>
          </a:custGeom>
        </p:spPr>
      </p:pic>
      <p:sp>
        <p:nvSpPr>
          <p:cNvPr id="11" name="Текст 16">
            <a:extLst>
              <a:ext uri="{FF2B5EF4-FFF2-40B4-BE49-F238E27FC236}">
                <a16:creationId xmlns:a16="http://schemas.microsoft.com/office/drawing/2014/main" id="{0340ACD5-7E3E-4B66-84CE-F31ACA5587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486" y="1530710"/>
            <a:ext cx="7630877" cy="1240199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  <a:buNone/>
            </a:pPr>
            <a:r>
              <a:rPr lang="ru-RU" sz="2200" b="1" dirty="0">
                <a:solidFill>
                  <a:srgbClr val="5E5E5E"/>
                </a:solidFill>
              </a:rPr>
              <a:t>Мы приглашаем молодых специалистов </a:t>
            </a:r>
            <a:br>
              <a:rPr lang="ru-RU" sz="2200" b="1" dirty="0">
                <a:solidFill>
                  <a:srgbClr val="5E5E5E"/>
                </a:solidFill>
              </a:rPr>
            </a:br>
            <a:r>
              <a:rPr lang="ru-RU" sz="2200" b="1" dirty="0">
                <a:solidFill>
                  <a:srgbClr val="5E5E5E"/>
                </a:solidFill>
              </a:rPr>
              <a:t>с профильным образованием на начальные позиции в ключевые подразделения производственного блока: 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</a:pPr>
            <a:r>
              <a:rPr lang="ru-RU" sz="2200" dirty="0">
                <a:solidFill>
                  <a:srgbClr val="5E5E5E"/>
                </a:solidFill>
              </a:rPr>
              <a:t>Котлотурбинный цех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</a:pPr>
            <a:r>
              <a:rPr lang="ru-RU" sz="2200" dirty="0">
                <a:solidFill>
                  <a:srgbClr val="5E5E5E"/>
                </a:solidFill>
              </a:rPr>
              <a:t>Электрический цех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</a:pPr>
            <a:r>
              <a:rPr lang="ru-RU" sz="2200" dirty="0">
                <a:solidFill>
                  <a:srgbClr val="5E5E5E"/>
                </a:solidFill>
              </a:rPr>
              <a:t>Цех централизованного  ремонта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</a:pPr>
            <a:r>
              <a:rPr lang="ru-RU" sz="2200" dirty="0">
                <a:solidFill>
                  <a:srgbClr val="5E5E5E"/>
                </a:solidFill>
              </a:rPr>
              <a:t>Химический цех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</a:pPr>
            <a:r>
              <a:rPr lang="ru-RU" sz="2200" dirty="0">
                <a:solidFill>
                  <a:srgbClr val="5E5E5E"/>
                </a:solidFill>
              </a:rPr>
              <a:t>Производственно-техническая служба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0775BB"/>
              </a:buClr>
            </a:pPr>
            <a:r>
              <a:rPr lang="ru-RU" sz="2200" dirty="0">
                <a:solidFill>
                  <a:srgbClr val="5E5E5E"/>
                </a:solidFill>
              </a:rPr>
              <a:t>Цех тепловой автоматики и измерений</a:t>
            </a:r>
          </a:p>
        </p:txBody>
      </p:sp>
      <p:sp>
        <p:nvSpPr>
          <p:cNvPr id="12" name="Текст 17">
            <a:extLst>
              <a:ext uri="{FF2B5EF4-FFF2-40B4-BE49-F238E27FC236}">
                <a16:creationId xmlns:a16="http://schemas.microsoft.com/office/drawing/2014/main" id="{B21A83CE-5309-4C00-AEB9-E45784846AFC}"/>
              </a:ext>
            </a:extLst>
          </p:cNvPr>
          <p:cNvSpPr txBox="1">
            <a:spLocks/>
          </p:cNvSpPr>
          <p:nvPr/>
        </p:nvSpPr>
        <p:spPr>
          <a:xfrm>
            <a:off x="553455" y="525133"/>
            <a:ext cx="11213316" cy="9874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44144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">
            <a:extLst>
              <a:ext uri="{FF2B5EF4-FFF2-40B4-BE49-F238E27FC236}">
                <a16:creationId xmlns:a16="http://schemas.microsoft.com/office/drawing/2014/main" id="{6A5D69F7-D847-498C-AF42-DFE49E8BDC80}"/>
              </a:ext>
            </a:extLst>
          </p:cNvPr>
          <p:cNvSpPr txBox="1">
            <a:spLocks/>
          </p:cNvSpPr>
          <p:nvPr/>
        </p:nvSpPr>
        <p:spPr>
          <a:xfrm>
            <a:off x="587562" y="506981"/>
            <a:ext cx="7750192" cy="755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2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7595BC90-AAD7-4A31-A223-06E54710E3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6364" y="1732891"/>
            <a:ext cx="6609345" cy="2070100"/>
          </a:xfrm>
        </p:spPr>
        <p:txBody>
          <a:bodyPr/>
          <a:lstStyle/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Программа </a:t>
            </a:r>
            <a:r>
              <a:rPr lang="ru-RU" sz="2200" b="1" dirty="0"/>
              <a:t>ускоренной подготовки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Программа </a:t>
            </a:r>
            <a:r>
              <a:rPr lang="ru-RU" sz="2200" b="1" dirty="0"/>
              <a:t>«Кадровый резерв»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Программы </a:t>
            </a:r>
            <a:r>
              <a:rPr lang="ru-RU" sz="2200" b="1" dirty="0"/>
              <a:t>наставничества</a:t>
            </a:r>
            <a:r>
              <a:rPr lang="ru-RU" sz="2200" dirty="0"/>
              <a:t> и профессиональной подготовки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200" b="1" dirty="0"/>
              <a:t>Спортивные и корпоративные </a:t>
            </a:r>
            <a:r>
              <a:rPr lang="ru-RU" sz="2200" dirty="0"/>
              <a:t>мероприятия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200" b="1" dirty="0"/>
              <a:t>Молодежные объединения</a:t>
            </a:r>
            <a:r>
              <a:rPr lang="ru-RU" sz="2200" dirty="0"/>
              <a:t> на станциях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200" dirty="0"/>
              <a:t>Волонтерская деятельность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18" name="Текст 17">
            <a:extLst>
              <a:ext uri="{FF2B5EF4-FFF2-40B4-BE49-F238E27FC236}">
                <a16:creationId xmlns:a16="http://schemas.microsoft.com/office/drawing/2014/main" id="{DE9E7D7E-475A-4F88-8D01-93FE490CE7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Программы для молодых специалистов</a:t>
            </a:r>
          </a:p>
          <a:p>
            <a:endParaRPr lang="ru-RU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D0A4E94-D123-4845-9D48-3008E2A23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EAFAB42-C3E1-4C16-98E3-2932DA23BD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50" t="66" r="-12050" b="-66"/>
          <a:stretch/>
        </p:blipFill>
        <p:spPr>
          <a:xfrm>
            <a:off x="6096000" y="0"/>
            <a:ext cx="8010217" cy="6863286"/>
          </a:xfrm>
          <a:custGeom>
            <a:avLst/>
            <a:gdLst>
              <a:gd name="connsiteX0" fmla="*/ 2047176 w 8516562"/>
              <a:gd name="connsiteY0" fmla="*/ 0 h 6866313"/>
              <a:gd name="connsiteX1" fmla="*/ 7966832 w 8516562"/>
              <a:gd name="connsiteY1" fmla="*/ 0 h 6866313"/>
              <a:gd name="connsiteX2" fmla="*/ 8516562 w 8516562"/>
              <a:gd name="connsiteY2" fmla="*/ 163901 h 6866313"/>
              <a:gd name="connsiteX3" fmla="*/ 6518253 w 8516562"/>
              <a:gd name="connsiteY3" fmla="*/ 6866313 h 6866313"/>
              <a:gd name="connsiteX4" fmla="*/ 0 w 8516562"/>
              <a:gd name="connsiteY4" fmla="*/ 6866313 h 686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6562" h="6866313">
                <a:moveTo>
                  <a:pt x="2047176" y="0"/>
                </a:moveTo>
                <a:lnTo>
                  <a:pt x="7966832" y="0"/>
                </a:lnTo>
                <a:lnTo>
                  <a:pt x="8516562" y="163901"/>
                </a:lnTo>
                <a:lnTo>
                  <a:pt x="6518253" y="6866313"/>
                </a:lnTo>
                <a:lnTo>
                  <a:pt x="0" y="6866313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74415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aphic 6">
            <a:extLst>
              <a:ext uri="{FF2B5EF4-FFF2-40B4-BE49-F238E27FC236}">
                <a16:creationId xmlns:a16="http://schemas.microsoft.com/office/drawing/2014/main" id="{10B57640-D57F-49B5-BB31-21299E0CCC95}"/>
              </a:ext>
            </a:extLst>
          </p:cNvPr>
          <p:cNvSpPr/>
          <p:nvPr/>
        </p:nvSpPr>
        <p:spPr>
          <a:xfrm>
            <a:off x="1542347" y="895154"/>
            <a:ext cx="3991429" cy="1710473"/>
          </a:xfrm>
          <a:custGeom>
            <a:avLst/>
            <a:gdLst>
              <a:gd name="connsiteX0" fmla="*/ 5130800 w 5648959"/>
              <a:gd name="connsiteY0" fmla="*/ 1976120 h 1976120"/>
              <a:gd name="connsiteX1" fmla="*/ 0 w 5648959"/>
              <a:gd name="connsiteY1" fmla="*/ 1976120 h 1976120"/>
              <a:gd name="connsiteX2" fmla="*/ 0 w 5648959"/>
              <a:gd name="connsiteY2" fmla="*/ 0 h 1976120"/>
              <a:gd name="connsiteX3" fmla="*/ 5648960 w 5648959"/>
              <a:gd name="connsiteY3" fmla="*/ 0 h 1976120"/>
              <a:gd name="connsiteX4" fmla="*/ 5648960 w 5648959"/>
              <a:gd name="connsiteY4" fmla="*/ 1457325 h 1976120"/>
              <a:gd name="connsiteX5" fmla="*/ 5130800 w 5648959"/>
              <a:gd name="connsiteY5" fmla="*/ 1976120 h 1976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8959" h="1976120">
                <a:moveTo>
                  <a:pt x="5130800" y="1976120"/>
                </a:moveTo>
                <a:lnTo>
                  <a:pt x="0" y="1976120"/>
                </a:lnTo>
                <a:lnTo>
                  <a:pt x="0" y="0"/>
                </a:lnTo>
                <a:lnTo>
                  <a:pt x="5648960" y="0"/>
                </a:lnTo>
                <a:lnTo>
                  <a:pt x="5648960" y="1457325"/>
                </a:lnTo>
                <a:cubicBezTo>
                  <a:pt x="5648960" y="1743710"/>
                  <a:pt x="5417185" y="1976120"/>
                  <a:pt x="5130800" y="1976120"/>
                </a:cubicBezTo>
                <a:close/>
              </a:path>
            </a:pathLst>
          </a:custGeom>
          <a:gradFill>
            <a:gsLst>
              <a:gs pos="45000">
                <a:schemeClr val="bg1"/>
              </a:gs>
              <a:gs pos="100000">
                <a:schemeClr val="bg1">
                  <a:alpha val="44000"/>
                </a:schemeClr>
              </a:gs>
            </a:gsLst>
            <a:lin ang="7200000" scaled="0"/>
          </a:gradFill>
          <a:ln w="76200" cap="flat">
            <a:noFill/>
            <a:prstDash val="solid"/>
            <a:miter/>
          </a:ln>
        </p:spPr>
        <p:txBody>
          <a:bodyPr rtlCol="0" anchor="ctr"/>
          <a:lstStyle/>
          <a:p>
            <a:pPr marL="449263" lvl="1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</a:pP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Средняя заработная плата</a:t>
            </a:r>
            <a:b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50 000 - 65 000 руб.</a:t>
            </a: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</a:b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(в зависимости от региона)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8D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Graphic 6">
            <a:extLst>
              <a:ext uri="{FF2B5EF4-FFF2-40B4-BE49-F238E27FC236}">
                <a16:creationId xmlns:a16="http://schemas.microsoft.com/office/drawing/2014/main" id="{79E59DB8-D6A5-4F6E-84C8-8D3B79C749E0}"/>
              </a:ext>
            </a:extLst>
          </p:cNvPr>
          <p:cNvSpPr/>
          <p:nvPr/>
        </p:nvSpPr>
        <p:spPr>
          <a:xfrm>
            <a:off x="1542347" y="2781226"/>
            <a:ext cx="3991429" cy="1710473"/>
          </a:xfrm>
          <a:custGeom>
            <a:avLst/>
            <a:gdLst>
              <a:gd name="connsiteX0" fmla="*/ 5130800 w 5648959"/>
              <a:gd name="connsiteY0" fmla="*/ 1976120 h 1976120"/>
              <a:gd name="connsiteX1" fmla="*/ 0 w 5648959"/>
              <a:gd name="connsiteY1" fmla="*/ 1976120 h 1976120"/>
              <a:gd name="connsiteX2" fmla="*/ 0 w 5648959"/>
              <a:gd name="connsiteY2" fmla="*/ 0 h 1976120"/>
              <a:gd name="connsiteX3" fmla="*/ 5648960 w 5648959"/>
              <a:gd name="connsiteY3" fmla="*/ 0 h 1976120"/>
              <a:gd name="connsiteX4" fmla="*/ 5648960 w 5648959"/>
              <a:gd name="connsiteY4" fmla="*/ 1457325 h 1976120"/>
              <a:gd name="connsiteX5" fmla="*/ 5130800 w 5648959"/>
              <a:gd name="connsiteY5" fmla="*/ 1976120 h 1976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8959" h="1976120">
                <a:moveTo>
                  <a:pt x="5130800" y="1976120"/>
                </a:moveTo>
                <a:lnTo>
                  <a:pt x="0" y="1976120"/>
                </a:lnTo>
                <a:lnTo>
                  <a:pt x="0" y="0"/>
                </a:lnTo>
                <a:lnTo>
                  <a:pt x="5648960" y="0"/>
                </a:lnTo>
                <a:lnTo>
                  <a:pt x="5648960" y="1457325"/>
                </a:lnTo>
                <a:cubicBezTo>
                  <a:pt x="5648960" y="1743710"/>
                  <a:pt x="5417185" y="1976120"/>
                  <a:pt x="5130800" y="1976120"/>
                </a:cubicBezTo>
                <a:close/>
              </a:path>
            </a:pathLst>
          </a:custGeom>
          <a:gradFill>
            <a:gsLst>
              <a:gs pos="45000">
                <a:schemeClr val="bg1"/>
              </a:gs>
              <a:gs pos="100000">
                <a:schemeClr val="bg1">
                  <a:alpha val="44000"/>
                </a:schemeClr>
              </a:gs>
            </a:gsLst>
            <a:lin ang="7200000" scaled="0"/>
          </a:gradFill>
          <a:ln w="76200" cap="flat">
            <a:noFill/>
            <a:prstDash val="solid"/>
            <a:miter/>
          </a:ln>
        </p:spPr>
        <p:txBody>
          <a:bodyPr rtlCol="0" anchor="ctr"/>
          <a:lstStyle/>
          <a:p>
            <a:pPr marL="449263" lvl="1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</a:pP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Оплата </a:t>
            </a: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авиа или ж/д билета </a:t>
            </a: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</a:b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до места расположения станции</a:t>
            </a:r>
          </a:p>
        </p:txBody>
      </p:sp>
      <p:sp>
        <p:nvSpPr>
          <p:cNvPr id="16" name="Graphic 6">
            <a:extLst>
              <a:ext uri="{FF2B5EF4-FFF2-40B4-BE49-F238E27FC236}">
                <a16:creationId xmlns:a16="http://schemas.microsoft.com/office/drawing/2014/main" id="{95DC88BC-8E55-4102-8284-55DC71F16E9E}"/>
              </a:ext>
            </a:extLst>
          </p:cNvPr>
          <p:cNvSpPr/>
          <p:nvPr/>
        </p:nvSpPr>
        <p:spPr>
          <a:xfrm>
            <a:off x="7831976" y="942186"/>
            <a:ext cx="3991429" cy="1710473"/>
          </a:xfrm>
          <a:custGeom>
            <a:avLst/>
            <a:gdLst>
              <a:gd name="connsiteX0" fmla="*/ 5130800 w 5648959"/>
              <a:gd name="connsiteY0" fmla="*/ 1976120 h 1976120"/>
              <a:gd name="connsiteX1" fmla="*/ 0 w 5648959"/>
              <a:gd name="connsiteY1" fmla="*/ 1976120 h 1976120"/>
              <a:gd name="connsiteX2" fmla="*/ 0 w 5648959"/>
              <a:gd name="connsiteY2" fmla="*/ 0 h 1976120"/>
              <a:gd name="connsiteX3" fmla="*/ 5648960 w 5648959"/>
              <a:gd name="connsiteY3" fmla="*/ 0 h 1976120"/>
              <a:gd name="connsiteX4" fmla="*/ 5648960 w 5648959"/>
              <a:gd name="connsiteY4" fmla="*/ 1457325 h 1976120"/>
              <a:gd name="connsiteX5" fmla="*/ 5130800 w 5648959"/>
              <a:gd name="connsiteY5" fmla="*/ 1976120 h 1976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8959" h="1976120">
                <a:moveTo>
                  <a:pt x="5130800" y="1976120"/>
                </a:moveTo>
                <a:lnTo>
                  <a:pt x="0" y="1976120"/>
                </a:lnTo>
                <a:lnTo>
                  <a:pt x="0" y="0"/>
                </a:lnTo>
                <a:lnTo>
                  <a:pt x="5648960" y="0"/>
                </a:lnTo>
                <a:lnTo>
                  <a:pt x="5648960" y="1457325"/>
                </a:lnTo>
                <a:cubicBezTo>
                  <a:pt x="5648960" y="1743710"/>
                  <a:pt x="5417185" y="1976120"/>
                  <a:pt x="5130800" y="1976120"/>
                </a:cubicBezTo>
                <a:close/>
              </a:path>
            </a:pathLst>
          </a:custGeom>
          <a:gradFill>
            <a:gsLst>
              <a:gs pos="45000">
                <a:schemeClr val="bg1"/>
              </a:gs>
              <a:gs pos="100000">
                <a:schemeClr val="bg1">
                  <a:alpha val="44000"/>
                </a:schemeClr>
              </a:gs>
            </a:gsLst>
            <a:lin ang="7200000" scaled="0"/>
          </a:gradFill>
          <a:ln w="76200" cap="flat">
            <a:noFill/>
            <a:prstDash val="solid"/>
            <a:miter/>
          </a:ln>
        </p:spPr>
        <p:txBody>
          <a:bodyPr rtlCol="0" anchor="ctr"/>
          <a:lstStyle/>
          <a:p>
            <a:pPr marL="363538" lvl="1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</a:pP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Единовременная</a:t>
            </a:r>
            <a:b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выплата подъемных в размере 1 оклада </a:t>
            </a:r>
          </a:p>
          <a:p>
            <a:pPr marL="625475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8D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Текст 1">
            <a:extLst>
              <a:ext uri="{FF2B5EF4-FFF2-40B4-BE49-F238E27FC236}">
                <a16:creationId xmlns:a16="http://schemas.microsoft.com/office/drawing/2014/main" id="{B9A99DB6-E8A4-49F4-AEAD-E13F034D63B1}"/>
              </a:ext>
            </a:extLst>
          </p:cNvPr>
          <p:cNvSpPr txBox="1">
            <a:spLocks/>
          </p:cNvSpPr>
          <p:nvPr/>
        </p:nvSpPr>
        <p:spPr>
          <a:xfrm>
            <a:off x="489342" y="381007"/>
            <a:ext cx="11213316" cy="9874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словия на первый год работы </a:t>
            </a:r>
          </a:p>
        </p:txBody>
      </p:sp>
      <p:sp>
        <p:nvSpPr>
          <p:cNvPr id="9" name="Graphic 6">
            <a:extLst>
              <a:ext uri="{FF2B5EF4-FFF2-40B4-BE49-F238E27FC236}">
                <a16:creationId xmlns:a16="http://schemas.microsoft.com/office/drawing/2014/main" id="{9B593D00-660D-47B2-9A9B-53FB71314794}"/>
              </a:ext>
            </a:extLst>
          </p:cNvPr>
          <p:cNvSpPr/>
          <p:nvPr/>
        </p:nvSpPr>
        <p:spPr>
          <a:xfrm>
            <a:off x="7831976" y="2781226"/>
            <a:ext cx="3991429" cy="1710473"/>
          </a:xfrm>
          <a:custGeom>
            <a:avLst/>
            <a:gdLst>
              <a:gd name="connsiteX0" fmla="*/ 5130800 w 5648959"/>
              <a:gd name="connsiteY0" fmla="*/ 1976120 h 1976120"/>
              <a:gd name="connsiteX1" fmla="*/ 0 w 5648959"/>
              <a:gd name="connsiteY1" fmla="*/ 1976120 h 1976120"/>
              <a:gd name="connsiteX2" fmla="*/ 0 w 5648959"/>
              <a:gd name="connsiteY2" fmla="*/ 0 h 1976120"/>
              <a:gd name="connsiteX3" fmla="*/ 5648960 w 5648959"/>
              <a:gd name="connsiteY3" fmla="*/ 0 h 1976120"/>
              <a:gd name="connsiteX4" fmla="*/ 5648960 w 5648959"/>
              <a:gd name="connsiteY4" fmla="*/ 1457325 h 1976120"/>
              <a:gd name="connsiteX5" fmla="*/ 5130800 w 5648959"/>
              <a:gd name="connsiteY5" fmla="*/ 1976120 h 1976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8959" h="1976120">
                <a:moveTo>
                  <a:pt x="5130800" y="1976120"/>
                </a:moveTo>
                <a:lnTo>
                  <a:pt x="0" y="1976120"/>
                </a:lnTo>
                <a:lnTo>
                  <a:pt x="0" y="0"/>
                </a:lnTo>
                <a:lnTo>
                  <a:pt x="5648960" y="0"/>
                </a:lnTo>
                <a:lnTo>
                  <a:pt x="5648960" y="1457325"/>
                </a:lnTo>
                <a:cubicBezTo>
                  <a:pt x="5648960" y="1743710"/>
                  <a:pt x="5417185" y="1976120"/>
                  <a:pt x="5130800" y="1976120"/>
                </a:cubicBezTo>
                <a:close/>
              </a:path>
            </a:pathLst>
          </a:custGeom>
          <a:gradFill>
            <a:gsLst>
              <a:gs pos="45000">
                <a:schemeClr val="bg1"/>
              </a:gs>
              <a:gs pos="100000">
                <a:schemeClr val="bg1">
                  <a:alpha val="44000"/>
                </a:schemeClr>
              </a:gs>
            </a:gsLst>
            <a:lin ang="7200000" scaled="0"/>
          </a:gradFill>
          <a:ln w="76200" cap="flat">
            <a:noFill/>
            <a:prstDash val="solid"/>
            <a:miter/>
          </a:ln>
        </p:spPr>
        <p:txBody>
          <a:bodyPr rtlCol="0" anchor="ctr"/>
          <a:lstStyle/>
          <a:p>
            <a:pPr marL="363538" lvl="1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</a:pP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Оплата аренды квартиры </a:t>
            </a: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иногородним </a:t>
            </a:r>
            <a:b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</a:b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молодым специалистам</a:t>
            </a:r>
          </a:p>
          <a:p>
            <a:pPr marL="625475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8D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Gruppieren 18">
            <a:extLst>
              <a:ext uri="{FF2B5EF4-FFF2-40B4-BE49-F238E27FC236}">
                <a16:creationId xmlns:a16="http://schemas.microsoft.com/office/drawing/2014/main" id="{4F272AA8-0DF6-4937-8032-7D31A416FEAA}"/>
              </a:ext>
            </a:extLst>
          </p:cNvPr>
          <p:cNvGrpSpPr/>
          <p:nvPr/>
        </p:nvGrpSpPr>
        <p:grpSpPr>
          <a:xfrm>
            <a:off x="446534" y="2846859"/>
            <a:ext cx="1005115" cy="1324993"/>
            <a:chOff x="3127031" y="3868854"/>
            <a:chExt cx="654580" cy="862899"/>
          </a:xfrm>
          <a:solidFill>
            <a:schemeClr val="bg1"/>
          </a:solidFill>
        </p:grpSpPr>
        <p:sp>
          <p:nvSpPr>
            <p:cNvPr id="11" name="Freihandform: Form 19">
              <a:extLst>
                <a:ext uri="{FF2B5EF4-FFF2-40B4-BE49-F238E27FC236}">
                  <a16:creationId xmlns:a16="http://schemas.microsoft.com/office/drawing/2014/main" id="{C620369C-0F7D-485B-BBBE-897DF07CBDAE}"/>
                </a:ext>
              </a:extLst>
            </p:cNvPr>
            <p:cNvSpPr/>
            <p:nvPr/>
          </p:nvSpPr>
          <p:spPr>
            <a:xfrm>
              <a:off x="3133698" y="4565077"/>
              <a:ext cx="639428" cy="166676"/>
            </a:xfrm>
            <a:custGeom>
              <a:avLst/>
              <a:gdLst>
                <a:gd name="connsiteX0" fmla="*/ 546847 w 639428"/>
                <a:gd name="connsiteY0" fmla="*/ 2273 h 166675"/>
                <a:gd name="connsiteX1" fmla="*/ 511391 w 639428"/>
                <a:gd name="connsiteY1" fmla="*/ 2273 h 166675"/>
                <a:gd name="connsiteX2" fmla="*/ 528968 w 639428"/>
                <a:gd name="connsiteY2" fmla="*/ 32881 h 166675"/>
                <a:gd name="connsiteX3" fmla="*/ 321381 w 639428"/>
                <a:gd name="connsiteY3" fmla="*/ 32881 h 166675"/>
                <a:gd name="connsiteX4" fmla="*/ 114097 w 639428"/>
                <a:gd name="connsiteY4" fmla="*/ 32881 h 166675"/>
                <a:gd name="connsiteX5" fmla="*/ 131674 w 639428"/>
                <a:gd name="connsiteY5" fmla="*/ 2273 h 166675"/>
                <a:gd name="connsiteX6" fmla="*/ 95914 w 639428"/>
                <a:gd name="connsiteY6" fmla="*/ 2273 h 166675"/>
                <a:gd name="connsiteX7" fmla="*/ 2273 w 639428"/>
                <a:gd name="connsiteY7" fmla="*/ 164403 h 166675"/>
                <a:gd name="connsiteX8" fmla="*/ 38335 w 639428"/>
                <a:gd name="connsiteY8" fmla="*/ 164403 h 166675"/>
                <a:gd name="connsiteX9" fmla="*/ 53185 w 639428"/>
                <a:gd name="connsiteY9" fmla="*/ 138644 h 166675"/>
                <a:gd name="connsiteX10" fmla="*/ 321078 w 639428"/>
                <a:gd name="connsiteY10" fmla="*/ 139856 h 166675"/>
                <a:gd name="connsiteX11" fmla="*/ 588971 w 639428"/>
                <a:gd name="connsiteY11" fmla="*/ 138644 h 166675"/>
                <a:gd name="connsiteX12" fmla="*/ 603820 w 639428"/>
                <a:gd name="connsiteY12" fmla="*/ 164403 h 166675"/>
                <a:gd name="connsiteX13" fmla="*/ 639883 w 639428"/>
                <a:gd name="connsiteY13" fmla="*/ 164403 h 166675"/>
                <a:gd name="connsiteX14" fmla="*/ 546847 w 639428"/>
                <a:gd name="connsiteY14" fmla="*/ 2273 h 166675"/>
                <a:gd name="connsiteX15" fmla="*/ 321381 w 639428"/>
                <a:gd name="connsiteY15" fmla="*/ 109248 h 166675"/>
                <a:gd name="connsiteX16" fmla="*/ 70761 w 639428"/>
                <a:gd name="connsiteY16" fmla="*/ 108036 h 166675"/>
                <a:gd name="connsiteX17" fmla="*/ 96217 w 639428"/>
                <a:gd name="connsiteY17" fmla="*/ 63185 h 166675"/>
                <a:gd name="connsiteX18" fmla="*/ 321381 w 639428"/>
                <a:gd name="connsiteY18" fmla="*/ 63185 h 166675"/>
                <a:gd name="connsiteX19" fmla="*/ 546544 w 639428"/>
                <a:gd name="connsiteY19" fmla="*/ 63185 h 166675"/>
                <a:gd name="connsiteX20" fmla="*/ 572000 w 639428"/>
                <a:gd name="connsiteY20" fmla="*/ 108036 h 166675"/>
                <a:gd name="connsiteX21" fmla="*/ 321381 w 639428"/>
                <a:gd name="connsiteY21" fmla="*/ 109248 h 1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39428" h="166675">
                  <a:moveTo>
                    <a:pt x="546847" y="2273"/>
                  </a:moveTo>
                  <a:lnTo>
                    <a:pt x="511391" y="2273"/>
                  </a:lnTo>
                  <a:lnTo>
                    <a:pt x="528968" y="32881"/>
                  </a:lnTo>
                  <a:lnTo>
                    <a:pt x="321381" y="32881"/>
                  </a:lnTo>
                  <a:lnTo>
                    <a:pt x="114097" y="32881"/>
                  </a:lnTo>
                  <a:lnTo>
                    <a:pt x="131674" y="2273"/>
                  </a:lnTo>
                  <a:lnTo>
                    <a:pt x="95914" y="2273"/>
                  </a:lnTo>
                  <a:lnTo>
                    <a:pt x="2273" y="164403"/>
                  </a:lnTo>
                  <a:lnTo>
                    <a:pt x="38335" y="164403"/>
                  </a:lnTo>
                  <a:lnTo>
                    <a:pt x="53185" y="138644"/>
                  </a:lnTo>
                  <a:lnTo>
                    <a:pt x="321078" y="139856"/>
                  </a:lnTo>
                  <a:lnTo>
                    <a:pt x="588971" y="138644"/>
                  </a:lnTo>
                  <a:lnTo>
                    <a:pt x="603820" y="164403"/>
                  </a:lnTo>
                  <a:lnTo>
                    <a:pt x="639883" y="164403"/>
                  </a:lnTo>
                  <a:lnTo>
                    <a:pt x="546847" y="2273"/>
                  </a:lnTo>
                  <a:close/>
                  <a:moveTo>
                    <a:pt x="321381" y="109248"/>
                  </a:moveTo>
                  <a:lnTo>
                    <a:pt x="70761" y="108036"/>
                  </a:lnTo>
                  <a:lnTo>
                    <a:pt x="96217" y="63185"/>
                  </a:lnTo>
                  <a:lnTo>
                    <a:pt x="321381" y="63185"/>
                  </a:lnTo>
                  <a:lnTo>
                    <a:pt x="546544" y="63185"/>
                  </a:lnTo>
                  <a:lnTo>
                    <a:pt x="572000" y="108036"/>
                  </a:lnTo>
                  <a:lnTo>
                    <a:pt x="321381" y="1092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  <p:sp>
          <p:nvSpPr>
            <p:cNvPr id="15" name="Freihandform: Form 20">
              <a:extLst>
                <a:ext uri="{FF2B5EF4-FFF2-40B4-BE49-F238E27FC236}">
                  <a16:creationId xmlns:a16="http://schemas.microsoft.com/office/drawing/2014/main" id="{5DC57D2A-3F3B-4D63-A14D-5F9A31BD0A83}"/>
                </a:ext>
              </a:extLst>
            </p:cNvPr>
            <p:cNvSpPr/>
            <p:nvPr/>
          </p:nvSpPr>
          <p:spPr>
            <a:xfrm>
              <a:off x="3127031" y="3868854"/>
              <a:ext cx="654580" cy="681855"/>
            </a:xfrm>
            <a:custGeom>
              <a:avLst/>
              <a:gdLst>
                <a:gd name="connsiteX0" fmla="*/ 633216 w 654580"/>
                <a:gd name="connsiteY0" fmla="*/ 306051 h 681854"/>
                <a:gd name="connsiteX1" fmla="*/ 570485 w 654580"/>
                <a:gd name="connsiteY1" fmla="*/ 83918 h 681854"/>
                <a:gd name="connsiteX2" fmla="*/ 462600 w 654580"/>
                <a:gd name="connsiteY2" fmla="*/ 2398 h 681854"/>
                <a:gd name="connsiteX3" fmla="*/ 342291 w 654580"/>
                <a:gd name="connsiteY3" fmla="*/ 2701 h 681854"/>
                <a:gd name="connsiteX4" fmla="*/ 328048 w 654580"/>
                <a:gd name="connsiteY4" fmla="*/ 2701 h 681854"/>
                <a:gd name="connsiteX5" fmla="*/ 313805 w 654580"/>
                <a:gd name="connsiteY5" fmla="*/ 2701 h 681854"/>
                <a:gd name="connsiteX6" fmla="*/ 193798 w 654580"/>
                <a:gd name="connsiteY6" fmla="*/ 2398 h 681854"/>
                <a:gd name="connsiteX7" fmla="*/ 85914 w 654580"/>
                <a:gd name="connsiteY7" fmla="*/ 83918 h 681854"/>
                <a:gd name="connsiteX8" fmla="*/ 22880 w 654580"/>
                <a:gd name="connsiteY8" fmla="*/ 306051 h 681854"/>
                <a:gd name="connsiteX9" fmla="*/ 2273 w 654580"/>
                <a:gd name="connsiteY9" fmla="*/ 548185 h 681854"/>
                <a:gd name="connsiteX10" fmla="*/ 102884 w 654580"/>
                <a:gd name="connsiteY10" fmla="*/ 682132 h 681854"/>
                <a:gd name="connsiteX11" fmla="*/ 162584 w 654580"/>
                <a:gd name="connsiteY11" fmla="*/ 682132 h 681854"/>
                <a:gd name="connsiteX12" fmla="*/ 162584 w 654580"/>
                <a:gd name="connsiteY12" fmla="*/ 682132 h 681854"/>
                <a:gd name="connsiteX13" fmla="*/ 254104 w 654580"/>
                <a:gd name="connsiteY13" fmla="*/ 682132 h 681854"/>
                <a:gd name="connsiteX14" fmla="*/ 279257 w 654580"/>
                <a:gd name="connsiteY14" fmla="*/ 682132 h 681854"/>
                <a:gd name="connsiteX15" fmla="*/ 328351 w 654580"/>
                <a:gd name="connsiteY15" fmla="*/ 682132 h 681854"/>
                <a:gd name="connsiteX16" fmla="*/ 377444 w 654580"/>
                <a:gd name="connsiteY16" fmla="*/ 682132 h 681854"/>
                <a:gd name="connsiteX17" fmla="*/ 402597 w 654580"/>
                <a:gd name="connsiteY17" fmla="*/ 682132 h 681854"/>
                <a:gd name="connsiteX18" fmla="*/ 494117 w 654580"/>
                <a:gd name="connsiteY18" fmla="*/ 682132 h 681854"/>
                <a:gd name="connsiteX19" fmla="*/ 494117 w 654580"/>
                <a:gd name="connsiteY19" fmla="*/ 682132 h 681854"/>
                <a:gd name="connsiteX20" fmla="*/ 553817 w 654580"/>
                <a:gd name="connsiteY20" fmla="*/ 682132 h 681854"/>
                <a:gd name="connsiteX21" fmla="*/ 654429 w 654580"/>
                <a:gd name="connsiteY21" fmla="*/ 548185 h 681854"/>
                <a:gd name="connsiteX22" fmla="*/ 633216 w 654580"/>
                <a:gd name="connsiteY22" fmla="*/ 306051 h 681854"/>
                <a:gd name="connsiteX23" fmla="*/ 242892 w 654580"/>
                <a:gd name="connsiteY23" fmla="*/ 526366 h 681854"/>
                <a:gd name="connsiteX24" fmla="*/ 197132 w 654580"/>
                <a:gd name="connsiteY24" fmla="*/ 572126 h 681854"/>
                <a:gd name="connsiteX25" fmla="*/ 194404 w 654580"/>
                <a:gd name="connsiteY25" fmla="*/ 572126 h 681854"/>
                <a:gd name="connsiteX26" fmla="*/ 148947 w 654580"/>
                <a:gd name="connsiteY26" fmla="*/ 526366 h 681854"/>
                <a:gd name="connsiteX27" fmla="*/ 148947 w 654580"/>
                <a:gd name="connsiteY27" fmla="*/ 524244 h 681854"/>
                <a:gd name="connsiteX28" fmla="*/ 194404 w 654580"/>
                <a:gd name="connsiteY28" fmla="*/ 478484 h 681854"/>
                <a:gd name="connsiteX29" fmla="*/ 197132 w 654580"/>
                <a:gd name="connsiteY29" fmla="*/ 478484 h 681854"/>
                <a:gd name="connsiteX30" fmla="*/ 242892 w 654580"/>
                <a:gd name="connsiteY30" fmla="*/ 524244 h 681854"/>
                <a:gd name="connsiteX31" fmla="*/ 242892 w 654580"/>
                <a:gd name="connsiteY31" fmla="*/ 526366 h 681854"/>
                <a:gd name="connsiteX32" fmla="*/ 507451 w 654580"/>
                <a:gd name="connsiteY32" fmla="*/ 526366 h 681854"/>
                <a:gd name="connsiteX33" fmla="*/ 461691 w 654580"/>
                <a:gd name="connsiteY33" fmla="*/ 572126 h 681854"/>
                <a:gd name="connsiteX34" fmla="*/ 458964 w 654580"/>
                <a:gd name="connsiteY34" fmla="*/ 572126 h 681854"/>
                <a:gd name="connsiteX35" fmla="*/ 413507 w 654580"/>
                <a:gd name="connsiteY35" fmla="*/ 526366 h 681854"/>
                <a:gd name="connsiteX36" fmla="*/ 413507 w 654580"/>
                <a:gd name="connsiteY36" fmla="*/ 524244 h 681854"/>
                <a:gd name="connsiteX37" fmla="*/ 458964 w 654580"/>
                <a:gd name="connsiteY37" fmla="*/ 478484 h 681854"/>
                <a:gd name="connsiteX38" fmla="*/ 461691 w 654580"/>
                <a:gd name="connsiteY38" fmla="*/ 478484 h 681854"/>
                <a:gd name="connsiteX39" fmla="*/ 507451 w 654580"/>
                <a:gd name="connsiteY39" fmla="*/ 524244 h 681854"/>
                <a:gd name="connsiteX40" fmla="*/ 507451 w 654580"/>
                <a:gd name="connsiteY40" fmla="*/ 526366 h 681854"/>
                <a:gd name="connsiteX41" fmla="*/ 88641 w 654580"/>
                <a:gd name="connsiteY41" fmla="*/ 284535 h 681854"/>
                <a:gd name="connsiteX42" fmla="*/ 126825 w 654580"/>
                <a:gd name="connsiteY42" fmla="*/ 116344 h 681854"/>
                <a:gd name="connsiteX43" fmla="*/ 529574 w 654580"/>
                <a:gd name="connsiteY43" fmla="*/ 116344 h 681854"/>
                <a:gd name="connsiteX44" fmla="*/ 567758 w 654580"/>
                <a:gd name="connsiteY44" fmla="*/ 284535 h 681854"/>
                <a:gd name="connsiteX45" fmla="*/ 88641 w 654580"/>
                <a:gd name="connsiteY45" fmla="*/ 284535 h 681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54580" h="681854">
                  <a:moveTo>
                    <a:pt x="633216" y="306051"/>
                  </a:moveTo>
                  <a:cubicBezTo>
                    <a:pt x="621700" y="229986"/>
                    <a:pt x="605335" y="153012"/>
                    <a:pt x="570485" y="83918"/>
                  </a:cubicBezTo>
                  <a:cubicBezTo>
                    <a:pt x="548060" y="39673"/>
                    <a:pt x="515331" y="2701"/>
                    <a:pt x="462600" y="2398"/>
                  </a:cubicBezTo>
                  <a:cubicBezTo>
                    <a:pt x="422598" y="2095"/>
                    <a:pt x="382596" y="2398"/>
                    <a:pt x="342291" y="2701"/>
                  </a:cubicBezTo>
                  <a:cubicBezTo>
                    <a:pt x="337442" y="2701"/>
                    <a:pt x="332897" y="2701"/>
                    <a:pt x="328048" y="2701"/>
                  </a:cubicBezTo>
                  <a:cubicBezTo>
                    <a:pt x="323199" y="2701"/>
                    <a:pt x="318653" y="2701"/>
                    <a:pt x="313805" y="2701"/>
                  </a:cubicBezTo>
                  <a:cubicBezTo>
                    <a:pt x="273803" y="2398"/>
                    <a:pt x="233800" y="2398"/>
                    <a:pt x="193798" y="2398"/>
                  </a:cubicBezTo>
                  <a:cubicBezTo>
                    <a:pt x="141068" y="2701"/>
                    <a:pt x="108036" y="39673"/>
                    <a:pt x="85914" y="83918"/>
                  </a:cubicBezTo>
                  <a:cubicBezTo>
                    <a:pt x="50760" y="153012"/>
                    <a:pt x="34699" y="229683"/>
                    <a:pt x="22880" y="306051"/>
                  </a:cubicBezTo>
                  <a:cubicBezTo>
                    <a:pt x="10758" y="386055"/>
                    <a:pt x="2273" y="466969"/>
                    <a:pt x="2273" y="548185"/>
                  </a:cubicBezTo>
                  <a:cubicBezTo>
                    <a:pt x="2273" y="599400"/>
                    <a:pt x="26517" y="682132"/>
                    <a:pt x="102884" y="682132"/>
                  </a:cubicBezTo>
                  <a:lnTo>
                    <a:pt x="162584" y="682132"/>
                  </a:lnTo>
                  <a:lnTo>
                    <a:pt x="162584" y="682132"/>
                  </a:lnTo>
                  <a:lnTo>
                    <a:pt x="254104" y="682132"/>
                  </a:lnTo>
                  <a:lnTo>
                    <a:pt x="279257" y="682132"/>
                  </a:lnTo>
                  <a:lnTo>
                    <a:pt x="328351" y="682132"/>
                  </a:lnTo>
                  <a:lnTo>
                    <a:pt x="377444" y="682132"/>
                  </a:lnTo>
                  <a:lnTo>
                    <a:pt x="402597" y="682132"/>
                  </a:lnTo>
                  <a:lnTo>
                    <a:pt x="494117" y="682132"/>
                  </a:lnTo>
                  <a:lnTo>
                    <a:pt x="494117" y="682132"/>
                  </a:lnTo>
                  <a:lnTo>
                    <a:pt x="553817" y="682132"/>
                  </a:lnTo>
                  <a:cubicBezTo>
                    <a:pt x="629882" y="682132"/>
                    <a:pt x="654429" y="599400"/>
                    <a:pt x="654429" y="548185"/>
                  </a:cubicBezTo>
                  <a:cubicBezTo>
                    <a:pt x="653823" y="466969"/>
                    <a:pt x="645337" y="386055"/>
                    <a:pt x="633216" y="306051"/>
                  </a:cubicBezTo>
                  <a:close/>
                  <a:moveTo>
                    <a:pt x="242892" y="526366"/>
                  </a:moveTo>
                  <a:cubicBezTo>
                    <a:pt x="242892" y="556367"/>
                    <a:pt x="227739" y="572126"/>
                    <a:pt x="197132" y="572126"/>
                  </a:cubicBezTo>
                  <a:lnTo>
                    <a:pt x="194404" y="572126"/>
                  </a:lnTo>
                  <a:cubicBezTo>
                    <a:pt x="164100" y="572126"/>
                    <a:pt x="148947" y="556367"/>
                    <a:pt x="148947" y="526366"/>
                  </a:cubicBezTo>
                  <a:lnTo>
                    <a:pt x="148947" y="524244"/>
                  </a:lnTo>
                  <a:cubicBezTo>
                    <a:pt x="148947" y="494243"/>
                    <a:pt x="164100" y="478484"/>
                    <a:pt x="194404" y="478484"/>
                  </a:cubicBezTo>
                  <a:lnTo>
                    <a:pt x="197132" y="478484"/>
                  </a:lnTo>
                  <a:cubicBezTo>
                    <a:pt x="227739" y="478484"/>
                    <a:pt x="242892" y="494243"/>
                    <a:pt x="242892" y="524244"/>
                  </a:cubicBezTo>
                  <a:lnTo>
                    <a:pt x="242892" y="526366"/>
                  </a:lnTo>
                  <a:close/>
                  <a:moveTo>
                    <a:pt x="507451" y="526366"/>
                  </a:moveTo>
                  <a:cubicBezTo>
                    <a:pt x="507451" y="556367"/>
                    <a:pt x="492299" y="572126"/>
                    <a:pt x="461691" y="572126"/>
                  </a:cubicBezTo>
                  <a:lnTo>
                    <a:pt x="458964" y="572126"/>
                  </a:lnTo>
                  <a:cubicBezTo>
                    <a:pt x="428659" y="572126"/>
                    <a:pt x="413507" y="556367"/>
                    <a:pt x="413507" y="526366"/>
                  </a:cubicBezTo>
                  <a:lnTo>
                    <a:pt x="413507" y="524244"/>
                  </a:lnTo>
                  <a:cubicBezTo>
                    <a:pt x="413507" y="494243"/>
                    <a:pt x="428659" y="478484"/>
                    <a:pt x="458964" y="478484"/>
                  </a:cubicBezTo>
                  <a:lnTo>
                    <a:pt x="461691" y="478484"/>
                  </a:lnTo>
                  <a:cubicBezTo>
                    <a:pt x="492299" y="478484"/>
                    <a:pt x="507451" y="494243"/>
                    <a:pt x="507451" y="524244"/>
                  </a:cubicBezTo>
                  <a:lnTo>
                    <a:pt x="507451" y="526366"/>
                  </a:lnTo>
                  <a:close/>
                  <a:moveTo>
                    <a:pt x="88641" y="284535"/>
                  </a:moveTo>
                  <a:lnTo>
                    <a:pt x="126825" y="116344"/>
                  </a:lnTo>
                  <a:lnTo>
                    <a:pt x="529574" y="116344"/>
                  </a:lnTo>
                  <a:lnTo>
                    <a:pt x="567758" y="284535"/>
                  </a:lnTo>
                  <a:lnTo>
                    <a:pt x="88641" y="2845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100" dirty="0"/>
            </a:p>
          </p:txBody>
        </p:sp>
      </p:grpSp>
      <p:sp>
        <p:nvSpPr>
          <p:cNvPr id="18" name="Freeform 17">
            <a:extLst>
              <a:ext uri="{FF2B5EF4-FFF2-40B4-BE49-F238E27FC236}">
                <a16:creationId xmlns:a16="http://schemas.microsoft.com/office/drawing/2014/main" id="{B259F146-AF8C-47BC-80DC-54DDEFCFE8D5}"/>
              </a:ext>
            </a:extLst>
          </p:cNvPr>
          <p:cNvSpPr>
            <a:spLocks noEditPoints="1"/>
          </p:cNvSpPr>
          <p:nvPr/>
        </p:nvSpPr>
        <p:spPr bwMode="auto">
          <a:xfrm>
            <a:off x="446535" y="1158882"/>
            <a:ext cx="1005115" cy="910102"/>
          </a:xfrm>
          <a:custGeom>
            <a:avLst/>
            <a:gdLst>
              <a:gd name="T0" fmla="*/ 312 w 851"/>
              <a:gd name="T1" fmla="*/ 120 h 770"/>
              <a:gd name="T2" fmla="*/ 0 w 851"/>
              <a:gd name="T3" fmla="*/ 0 h 770"/>
              <a:gd name="T4" fmla="*/ 541 w 851"/>
              <a:gd name="T5" fmla="*/ 42 h 770"/>
              <a:gd name="T6" fmla="*/ 548 w 851"/>
              <a:gd name="T7" fmla="*/ 724 h 770"/>
              <a:gd name="T8" fmla="*/ 552 w 851"/>
              <a:gd name="T9" fmla="*/ 770 h 770"/>
              <a:gd name="T10" fmla="*/ 0 w 851"/>
              <a:gd name="T11" fmla="*/ 652 h 770"/>
              <a:gd name="T12" fmla="*/ 277 w 851"/>
              <a:gd name="T13" fmla="*/ 164 h 770"/>
              <a:gd name="T14" fmla="*/ 24 w 851"/>
              <a:gd name="T15" fmla="*/ 284 h 770"/>
              <a:gd name="T16" fmla="*/ 277 w 851"/>
              <a:gd name="T17" fmla="*/ 164 h 770"/>
              <a:gd name="T18" fmla="*/ 280 w 851"/>
              <a:gd name="T19" fmla="*/ 608 h 770"/>
              <a:gd name="T20" fmla="*/ 24 w 851"/>
              <a:gd name="T21" fmla="*/ 489 h 770"/>
              <a:gd name="T22" fmla="*/ 224 w 851"/>
              <a:gd name="T23" fmla="*/ 389 h 770"/>
              <a:gd name="T24" fmla="*/ 49 w 851"/>
              <a:gd name="T25" fmla="*/ 446 h 770"/>
              <a:gd name="T26" fmla="*/ 225 w 851"/>
              <a:gd name="T27" fmla="*/ 326 h 770"/>
              <a:gd name="T28" fmla="*/ 224 w 851"/>
              <a:gd name="T29" fmla="*/ 389 h 770"/>
              <a:gd name="T30" fmla="*/ 572 w 851"/>
              <a:gd name="T31" fmla="*/ 97 h 770"/>
              <a:gd name="T32" fmla="*/ 851 w 851"/>
              <a:gd name="T33" fmla="*/ 389 h 770"/>
              <a:gd name="T34" fmla="*/ 553 w 851"/>
              <a:gd name="T35" fmla="*/ 673 h 770"/>
              <a:gd name="T36" fmla="*/ 276 w 851"/>
              <a:gd name="T37" fmla="*/ 380 h 770"/>
              <a:gd name="T38" fmla="*/ 713 w 851"/>
              <a:gd name="T39" fmla="*/ 389 h 770"/>
              <a:gd name="T40" fmla="*/ 572 w 851"/>
              <a:gd name="T41" fmla="*/ 233 h 770"/>
              <a:gd name="T42" fmla="*/ 412 w 851"/>
              <a:gd name="T43" fmla="*/ 380 h 770"/>
              <a:gd name="T44" fmla="*/ 553 w 851"/>
              <a:gd name="T45" fmla="*/ 537 h 770"/>
              <a:gd name="T46" fmla="*/ 713 w 851"/>
              <a:gd name="T47" fmla="*/ 389 h 770"/>
              <a:gd name="T48" fmla="*/ 543 w 851"/>
              <a:gd name="T49" fmla="*/ 345 h 770"/>
              <a:gd name="T50" fmla="*/ 611 w 851"/>
              <a:gd name="T51" fmla="*/ 348 h 770"/>
              <a:gd name="T52" fmla="*/ 603 w 851"/>
              <a:gd name="T53" fmla="*/ 376 h 770"/>
              <a:gd name="T54" fmla="*/ 540 w 851"/>
              <a:gd name="T55" fmla="*/ 378 h 770"/>
              <a:gd name="T56" fmla="*/ 543 w 851"/>
              <a:gd name="T57" fmla="*/ 393 h 770"/>
              <a:gd name="T58" fmla="*/ 603 w 851"/>
              <a:gd name="T59" fmla="*/ 397 h 770"/>
              <a:gd name="T60" fmla="*/ 595 w 851"/>
              <a:gd name="T61" fmla="*/ 425 h 770"/>
              <a:gd name="T62" fmla="*/ 540 w 851"/>
              <a:gd name="T63" fmla="*/ 426 h 770"/>
              <a:gd name="T64" fmla="*/ 605 w 851"/>
              <a:gd name="T65" fmla="*/ 454 h 770"/>
              <a:gd name="T66" fmla="*/ 648 w 851"/>
              <a:gd name="T67" fmla="*/ 468 h 770"/>
              <a:gd name="T68" fmla="*/ 572 w 851"/>
              <a:gd name="T69" fmla="*/ 520 h 770"/>
              <a:gd name="T70" fmla="*/ 483 w 851"/>
              <a:gd name="T71" fmla="*/ 425 h 770"/>
              <a:gd name="T72" fmla="*/ 465 w 851"/>
              <a:gd name="T73" fmla="*/ 421 h 770"/>
              <a:gd name="T74" fmla="*/ 468 w 851"/>
              <a:gd name="T75" fmla="*/ 393 h 770"/>
              <a:gd name="T76" fmla="*/ 485 w 851"/>
              <a:gd name="T77" fmla="*/ 390 h 770"/>
              <a:gd name="T78" fmla="*/ 483 w 851"/>
              <a:gd name="T79" fmla="*/ 376 h 770"/>
              <a:gd name="T80" fmla="*/ 465 w 851"/>
              <a:gd name="T81" fmla="*/ 372 h 770"/>
              <a:gd name="T82" fmla="*/ 468 w 851"/>
              <a:gd name="T83" fmla="*/ 345 h 770"/>
              <a:gd name="T84" fmla="*/ 485 w 851"/>
              <a:gd name="T85" fmla="*/ 341 h 770"/>
              <a:gd name="T86" fmla="*/ 649 w 851"/>
              <a:gd name="T87" fmla="*/ 297 h 770"/>
              <a:gd name="T88" fmla="*/ 612 w 851"/>
              <a:gd name="T89" fmla="*/ 318 h 770"/>
              <a:gd name="T90" fmla="*/ 573 w 851"/>
              <a:gd name="T91" fmla="*/ 296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51" h="770">
                <a:moveTo>
                  <a:pt x="541" y="42"/>
                </a:moveTo>
                <a:cubicBezTo>
                  <a:pt x="441" y="46"/>
                  <a:pt x="365" y="70"/>
                  <a:pt x="312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0"/>
                  <a:pt x="0" y="0"/>
                  <a:pt x="0" y="0"/>
                </a:cubicBezTo>
                <a:cubicBezTo>
                  <a:pt x="541" y="0"/>
                  <a:pt x="541" y="0"/>
                  <a:pt x="541" y="0"/>
                </a:cubicBezTo>
                <a:lnTo>
                  <a:pt x="541" y="42"/>
                </a:lnTo>
                <a:close/>
                <a:moveTo>
                  <a:pt x="312" y="652"/>
                </a:moveTo>
                <a:cubicBezTo>
                  <a:pt x="367" y="701"/>
                  <a:pt x="444" y="724"/>
                  <a:pt x="548" y="724"/>
                </a:cubicBezTo>
                <a:cubicBezTo>
                  <a:pt x="552" y="724"/>
                  <a:pt x="552" y="724"/>
                  <a:pt x="552" y="724"/>
                </a:cubicBezTo>
                <a:cubicBezTo>
                  <a:pt x="552" y="770"/>
                  <a:pt x="552" y="770"/>
                  <a:pt x="552" y="770"/>
                </a:cubicBezTo>
                <a:cubicBezTo>
                  <a:pt x="0" y="770"/>
                  <a:pt x="0" y="770"/>
                  <a:pt x="0" y="770"/>
                </a:cubicBezTo>
                <a:cubicBezTo>
                  <a:pt x="0" y="652"/>
                  <a:pt x="0" y="652"/>
                  <a:pt x="0" y="652"/>
                </a:cubicBezTo>
                <a:lnTo>
                  <a:pt x="312" y="652"/>
                </a:lnTo>
                <a:close/>
                <a:moveTo>
                  <a:pt x="277" y="164"/>
                </a:moveTo>
                <a:cubicBezTo>
                  <a:pt x="255" y="196"/>
                  <a:pt x="240" y="237"/>
                  <a:pt x="232" y="284"/>
                </a:cubicBezTo>
                <a:cubicBezTo>
                  <a:pt x="24" y="284"/>
                  <a:pt x="24" y="284"/>
                  <a:pt x="24" y="284"/>
                </a:cubicBezTo>
                <a:cubicBezTo>
                  <a:pt x="24" y="164"/>
                  <a:pt x="24" y="164"/>
                  <a:pt x="24" y="164"/>
                </a:cubicBezTo>
                <a:lnTo>
                  <a:pt x="277" y="164"/>
                </a:lnTo>
                <a:close/>
                <a:moveTo>
                  <a:pt x="232" y="489"/>
                </a:moveTo>
                <a:cubicBezTo>
                  <a:pt x="241" y="536"/>
                  <a:pt x="256" y="576"/>
                  <a:pt x="280" y="608"/>
                </a:cubicBezTo>
                <a:cubicBezTo>
                  <a:pt x="24" y="608"/>
                  <a:pt x="24" y="608"/>
                  <a:pt x="24" y="608"/>
                </a:cubicBezTo>
                <a:cubicBezTo>
                  <a:pt x="24" y="489"/>
                  <a:pt x="24" y="489"/>
                  <a:pt x="24" y="489"/>
                </a:cubicBezTo>
                <a:lnTo>
                  <a:pt x="232" y="489"/>
                </a:lnTo>
                <a:close/>
                <a:moveTo>
                  <a:pt x="224" y="389"/>
                </a:moveTo>
                <a:cubicBezTo>
                  <a:pt x="224" y="410"/>
                  <a:pt x="224" y="426"/>
                  <a:pt x="225" y="446"/>
                </a:cubicBezTo>
                <a:cubicBezTo>
                  <a:pt x="49" y="446"/>
                  <a:pt x="49" y="446"/>
                  <a:pt x="49" y="446"/>
                </a:cubicBezTo>
                <a:cubicBezTo>
                  <a:pt x="49" y="326"/>
                  <a:pt x="49" y="326"/>
                  <a:pt x="49" y="326"/>
                </a:cubicBezTo>
                <a:cubicBezTo>
                  <a:pt x="225" y="326"/>
                  <a:pt x="225" y="326"/>
                  <a:pt x="225" y="326"/>
                </a:cubicBezTo>
                <a:cubicBezTo>
                  <a:pt x="224" y="345"/>
                  <a:pt x="224" y="362"/>
                  <a:pt x="224" y="380"/>
                </a:cubicBezTo>
                <a:lnTo>
                  <a:pt x="224" y="389"/>
                </a:lnTo>
                <a:close/>
                <a:moveTo>
                  <a:pt x="553" y="97"/>
                </a:moveTo>
                <a:cubicBezTo>
                  <a:pt x="572" y="97"/>
                  <a:pt x="572" y="97"/>
                  <a:pt x="572" y="97"/>
                </a:cubicBezTo>
                <a:cubicBezTo>
                  <a:pt x="764" y="97"/>
                  <a:pt x="851" y="186"/>
                  <a:pt x="851" y="380"/>
                </a:cubicBezTo>
                <a:cubicBezTo>
                  <a:pt x="851" y="389"/>
                  <a:pt x="851" y="389"/>
                  <a:pt x="851" y="389"/>
                </a:cubicBezTo>
                <a:cubicBezTo>
                  <a:pt x="851" y="582"/>
                  <a:pt x="764" y="673"/>
                  <a:pt x="572" y="673"/>
                </a:cubicBezTo>
                <a:cubicBezTo>
                  <a:pt x="553" y="673"/>
                  <a:pt x="553" y="673"/>
                  <a:pt x="553" y="673"/>
                </a:cubicBezTo>
                <a:cubicBezTo>
                  <a:pt x="363" y="673"/>
                  <a:pt x="276" y="582"/>
                  <a:pt x="276" y="389"/>
                </a:cubicBezTo>
                <a:cubicBezTo>
                  <a:pt x="276" y="380"/>
                  <a:pt x="276" y="380"/>
                  <a:pt x="276" y="380"/>
                </a:cubicBezTo>
                <a:cubicBezTo>
                  <a:pt x="276" y="186"/>
                  <a:pt x="363" y="97"/>
                  <a:pt x="553" y="97"/>
                </a:cubicBezTo>
                <a:close/>
                <a:moveTo>
                  <a:pt x="713" y="389"/>
                </a:moveTo>
                <a:cubicBezTo>
                  <a:pt x="713" y="380"/>
                  <a:pt x="713" y="380"/>
                  <a:pt x="713" y="380"/>
                </a:cubicBezTo>
                <a:cubicBezTo>
                  <a:pt x="713" y="262"/>
                  <a:pt x="684" y="233"/>
                  <a:pt x="572" y="233"/>
                </a:cubicBezTo>
                <a:cubicBezTo>
                  <a:pt x="553" y="233"/>
                  <a:pt x="553" y="233"/>
                  <a:pt x="553" y="233"/>
                </a:cubicBezTo>
                <a:cubicBezTo>
                  <a:pt x="441" y="233"/>
                  <a:pt x="412" y="262"/>
                  <a:pt x="412" y="380"/>
                </a:cubicBezTo>
                <a:cubicBezTo>
                  <a:pt x="412" y="389"/>
                  <a:pt x="412" y="389"/>
                  <a:pt x="412" y="389"/>
                </a:cubicBezTo>
                <a:cubicBezTo>
                  <a:pt x="412" y="508"/>
                  <a:pt x="444" y="537"/>
                  <a:pt x="553" y="537"/>
                </a:cubicBezTo>
                <a:cubicBezTo>
                  <a:pt x="572" y="537"/>
                  <a:pt x="572" y="537"/>
                  <a:pt x="572" y="537"/>
                </a:cubicBezTo>
                <a:cubicBezTo>
                  <a:pt x="684" y="537"/>
                  <a:pt x="713" y="508"/>
                  <a:pt x="713" y="389"/>
                </a:cubicBezTo>
                <a:close/>
                <a:moveTo>
                  <a:pt x="540" y="341"/>
                </a:moveTo>
                <a:cubicBezTo>
                  <a:pt x="540" y="342"/>
                  <a:pt x="541" y="345"/>
                  <a:pt x="543" y="345"/>
                </a:cubicBezTo>
                <a:cubicBezTo>
                  <a:pt x="605" y="345"/>
                  <a:pt x="605" y="345"/>
                  <a:pt x="605" y="345"/>
                </a:cubicBezTo>
                <a:cubicBezTo>
                  <a:pt x="608" y="345"/>
                  <a:pt x="611" y="346"/>
                  <a:pt x="611" y="348"/>
                </a:cubicBezTo>
                <a:cubicBezTo>
                  <a:pt x="605" y="372"/>
                  <a:pt x="605" y="372"/>
                  <a:pt x="605" y="372"/>
                </a:cubicBezTo>
                <a:cubicBezTo>
                  <a:pt x="605" y="376"/>
                  <a:pt x="604" y="376"/>
                  <a:pt x="603" y="376"/>
                </a:cubicBezTo>
                <a:cubicBezTo>
                  <a:pt x="543" y="376"/>
                  <a:pt x="543" y="376"/>
                  <a:pt x="543" y="376"/>
                </a:cubicBezTo>
                <a:cubicBezTo>
                  <a:pt x="541" y="376"/>
                  <a:pt x="540" y="376"/>
                  <a:pt x="540" y="378"/>
                </a:cubicBezTo>
                <a:cubicBezTo>
                  <a:pt x="540" y="390"/>
                  <a:pt x="540" y="390"/>
                  <a:pt x="540" y="390"/>
                </a:cubicBezTo>
                <a:cubicBezTo>
                  <a:pt x="540" y="393"/>
                  <a:pt x="541" y="393"/>
                  <a:pt x="543" y="393"/>
                </a:cubicBezTo>
                <a:cubicBezTo>
                  <a:pt x="597" y="393"/>
                  <a:pt x="597" y="393"/>
                  <a:pt x="597" y="393"/>
                </a:cubicBezTo>
                <a:cubicBezTo>
                  <a:pt x="601" y="393"/>
                  <a:pt x="603" y="394"/>
                  <a:pt x="603" y="397"/>
                </a:cubicBezTo>
                <a:cubicBezTo>
                  <a:pt x="597" y="421"/>
                  <a:pt x="597" y="421"/>
                  <a:pt x="597" y="421"/>
                </a:cubicBezTo>
                <a:cubicBezTo>
                  <a:pt x="597" y="424"/>
                  <a:pt x="597" y="425"/>
                  <a:pt x="595" y="425"/>
                </a:cubicBezTo>
                <a:cubicBezTo>
                  <a:pt x="543" y="425"/>
                  <a:pt x="543" y="425"/>
                  <a:pt x="543" y="425"/>
                </a:cubicBezTo>
                <a:cubicBezTo>
                  <a:pt x="541" y="425"/>
                  <a:pt x="540" y="425"/>
                  <a:pt x="540" y="426"/>
                </a:cubicBezTo>
                <a:cubicBezTo>
                  <a:pt x="540" y="448"/>
                  <a:pt x="547" y="474"/>
                  <a:pt x="573" y="474"/>
                </a:cubicBezTo>
                <a:cubicBezTo>
                  <a:pt x="588" y="474"/>
                  <a:pt x="597" y="466"/>
                  <a:pt x="605" y="454"/>
                </a:cubicBezTo>
                <a:cubicBezTo>
                  <a:pt x="607" y="450"/>
                  <a:pt x="609" y="449"/>
                  <a:pt x="612" y="450"/>
                </a:cubicBezTo>
                <a:cubicBezTo>
                  <a:pt x="648" y="468"/>
                  <a:pt x="648" y="468"/>
                  <a:pt x="648" y="468"/>
                </a:cubicBezTo>
                <a:cubicBezTo>
                  <a:pt x="649" y="469"/>
                  <a:pt x="649" y="472"/>
                  <a:pt x="648" y="473"/>
                </a:cubicBezTo>
                <a:cubicBezTo>
                  <a:pt x="631" y="506"/>
                  <a:pt x="604" y="520"/>
                  <a:pt x="572" y="520"/>
                </a:cubicBezTo>
                <a:cubicBezTo>
                  <a:pt x="519" y="520"/>
                  <a:pt x="485" y="480"/>
                  <a:pt x="485" y="426"/>
                </a:cubicBezTo>
                <a:cubicBezTo>
                  <a:pt x="485" y="425"/>
                  <a:pt x="485" y="425"/>
                  <a:pt x="483" y="425"/>
                </a:cubicBezTo>
                <a:cubicBezTo>
                  <a:pt x="468" y="425"/>
                  <a:pt x="468" y="425"/>
                  <a:pt x="468" y="425"/>
                </a:cubicBezTo>
                <a:cubicBezTo>
                  <a:pt x="467" y="425"/>
                  <a:pt x="465" y="424"/>
                  <a:pt x="465" y="421"/>
                </a:cubicBezTo>
                <a:cubicBezTo>
                  <a:pt x="465" y="397"/>
                  <a:pt x="465" y="397"/>
                  <a:pt x="465" y="397"/>
                </a:cubicBezTo>
                <a:cubicBezTo>
                  <a:pt x="465" y="394"/>
                  <a:pt x="467" y="393"/>
                  <a:pt x="468" y="393"/>
                </a:cubicBezTo>
                <a:cubicBezTo>
                  <a:pt x="483" y="393"/>
                  <a:pt x="483" y="393"/>
                  <a:pt x="483" y="393"/>
                </a:cubicBezTo>
                <a:cubicBezTo>
                  <a:pt x="485" y="393"/>
                  <a:pt x="485" y="393"/>
                  <a:pt x="485" y="390"/>
                </a:cubicBezTo>
                <a:cubicBezTo>
                  <a:pt x="485" y="378"/>
                  <a:pt x="485" y="378"/>
                  <a:pt x="485" y="378"/>
                </a:cubicBezTo>
                <a:cubicBezTo>
                  <a:pt x="485" y="376"/>
                  <a:pt x="485" y="376"/>
                  <a:pt x="483" y="376"/>
                </a:cubicBezTo>
                <a:cubicBezTo>
                  <a:pt x="468" y="376"/>
                  <a:pt x="468" y="376"/>
                  <a:pt x="468" y="376"/>
                </a:cubicBezTo>
                <a:cubicBezTo>
                  <a:pt x="467" y="376"/>
                  <a:pt x="465" y="373"/>
                  <a:pt x="465" y="372"/>
                </a:cubicBezTo>
                <a:cubicBezTo>
                  <a:pt x="465" y="348"/>
                  <a:pt x="465" y="348"/>
                  <a:pt x="465" y="348"/>
                </a:cubicBezTo>
                <a:cubicBezTo>
                  <a:pt x="465" y="346"/>
                  <a:pt x="467" y="345"/>
                  <a:pt x="468" y="345"/>
                </a:cubicBezTo>
                <a:cubicBezTo>
                  <a:pt x="483" y="345"/>
                  <a:pt x="483" y="345"/>
                  <a:pt x="483" y="345"/>
                </a:cubicBezTo>
                <a:cubicBezTo>
                  <a:pt x="485" y="345"/>
                  <a:pt x="485" y="342"/>
                  <a:pt x="485" y="341"/>
                </a:cubicBezTo>
                <a:cubicBezTo>
                  <a:pt x="485" y="290"/>
                  <a:pt x="516" y="250"/>
                  <a:pt x="572" y="250"/>
                </a:cubicBezTo>
                <a:cubicBezTo>
                  <a:pt x="612" y="250"/>
                  <a:pt x="633" y="272"/>
                  <a:pt x="649" y="297"/>
                </a:cubicBezTo>
                <a:cubicBezTo>
                  <a:pt x="651" y="300"/>
                  <a:pt x="649" y="301"/>
                  <a:pt x="648" y="302"/>
                </a:cubicBezTo>
                <a:cubicBezTo>
                  <a:pt x="612" y="318"/>
                  <a:pt x="612" y="318"/>
                  <a:pt x="612" y="318"/>
                </a:cubicBezTo>
                <a:cubicBezTo>
                  <a:pt x="608" y="320"/>
                  <a:pt x="607" y="320"/>
                  <a:pt x="605" y="317"/>
                </a:cubicBezTo>
                <a:cubicBezTo>
                  <a:pt x="597" y="304"/>
                  <a:pt x="588" y="296"/>
                  <a:pt x="573" y="296"/>
                </a:cubicBezTo>
                <a:cubicBezTo>
                  <a:pt x="549" y="296"/>
                  <a:pt x="540" y="317"/>
                  <a:pt x="540" y="34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26">
            <a:extLst>
              <a:ext uri="{FF2B5EF4-FFF2-40B4-BE49-F238E27FC236}">
                <a16:creationId xmlns:a16="http://schemas.microsoft.com/office/drawing/2014/main" id="{3A1F2A45-F213-4740-BF68-1A3D3F2AF4DC}"/>
              </a:ext>
            </a:extLst>
          </p:cNvPr>
          <p:cNvSpPr>
            <a:spLocks noEditPoints="1"/>
          </p:cNvSpPr>
          <p:nvPr/>
        </p:nvSpPr>
        <p:spPr bwMode="auto">
          <a:xfrm>
            <a:off x="6837533" y="2983412"/>
            <a:ext cx="873696" cy="1212037"/>
          </a:xfrm>
          <a:custGeom>
            <a:avLst/>
            <a:gdLst>
              <a:gd name="T0" fmla="*/ 297 w 408"/>
              <a:gd name="T1" fmla="*/ 272 h 566"/>
              <a:gd name="T2" fmla="*/ 218 w 408"/>
              <a:gd name="T3" fmla="*/ 272 h 566"/>
              <a:gd name="T4" fmla="*/ 218 w 408"/>
              <a:gd name="T5" fmla="*/ 192 h 566"/>
              <a:gd name="T6" fmla="*/ 297 w 408"/>
              <a:gd name="T7" fmla="*/ 192 h 566"/>
              <a:gd name="T8" fmla="*/ 297 w 408"/>
              <a:gd name="T9" fmla="*/ 272 h 566"/>
              <a:gd name="T10" fmla="*/ 110 w 408"/>
              <a:gd name="T11" fmla="*/ 272 h 566"/>
              <a:gd name="T12" fmla="*/ 190 w 408"/>
              <a:gd name="T13" fmla="*/ 272 h 566"/>
              <a:gd name="T14" fmla="*/ 190 w 408"/>
              <a:gd name="T15" fmla="*/ 192 h 566"/>
              <a:gd name="T16" fmla="*/ 110 w 408"/>
              <a:gd name="T17" fmla="*/ 192 h 566"/>
              <a:gd name="T18" fmla="*/ 110 w 408"/>
              <a:gd name="T19" fmla="*/ 272 h 566"/>
              <a:gd name="T20" fmla="*/ 110 w 408"/>
              <a:gd name="T21" fmla="*/ 379 h 566"/>
              <a:gd name="T22" fmla="*/ 190 w 408"/>
              <a:gd name="T23" fmla="*/ 379 h 566"/>
              <a:gd name="T24" fmla="*/ 190 w 408"/>
              <a:gd name="T25" fmla="*/ 300 h 566"/>
              <a:gd name="T26" fmla="*/ 110 w 408"/>
              <a:gd name="T27" fmla="*/ 300 h 566"/>
              <a:gd name="T28" fmla="*/ 110 w 408"/>
              <a:gd name="T29" fmla="*/ 379 h 566"/>
              <a:gd name="T30" fmla="*/ 408 w 408"/>
              <a:gd name="T31" fmla="*/ 141 h 566"/>
              <a:gd name="T32" fmla="*/ 408 w 408"/>
              <a:gd name="T33" fmla="*/ 566 h 566"/>
              <a:gd name="T34" fmla="*/ 218 w 408"/>
              <a:gd name="T35" fmla="*/ 566 h 566"/>
              <a:gd name="T36" fmla="*/ 218 w 408"/>
              <a:gd name="T37" fmla="*/ 487 h 566"/>
              <a:gd name="T38" fmla="*/ 190 w 408"/>
              <a:gd name="T39" fmla="*/ 487 h 566"/>
              <a:gd name="T40" fmla="*/ 190 w 408"/>
              <a:gd name="T41" fmla="*/ 566 h 566"/>
              <a:gd name="T42" fmla="*/ 0 w 408"/>
              <a:gd name="T43" fmla="*/ 566 h 566"/>
              <a:gd name="T44" fmla="*/ 0 w 408"/>
              <a:gd name="T45" fmla="*/ 141 h 566"/>
              <a:gd name="T46" fmla="*/ 204 w 408"/>
              <a:gd name="T47" fmla="*/ 0 h 566"/>
              <a:gd name="T48" fmla="*/ 408 w 408"/>
              <a:gd name="T49" fmla="*/ 141 h 566"/>
              <a:gd name="T50" fmla="*/ 329 w 408"/>
              <a:gd name="T51" fmla="*/ 183 h 566"/>
              <a:gd name="T52" fmla="*/ 204 w 408"/>
              <a:gd name="T53" fmla="*/ 96 h 566"/>
              <a:gd name="T54" fmla="*/ 204 w 408"/>
              <a:gd name="T55" fmla="*/ 96 h 566"/>
              <a:gd name="T56" fmla="*/ 79 w 408"/>
              <a:gd name="T57" fmla="*/ 183 h 566"/>
              <a:gd name="T58" fmla="*/ 79 w 408"/>
              <a:gd name="T59" fmla="*/ 487 h 566"/>
              <a:gd name="T60" fmla="*/ 110 w 408"/>
              <a:gd name="T61" fmla="*/ 487 h 566"/>
              <a:gd name="T62" fmla="*/ 110 w 408"/>
              <a:gd name="T63" fmla="*/ 408 h 566"/>
              <a:gd name="T64" fmla="*/ 190 w 408"/>
              <a:gd name="T65" fmla="*/ 408 h 566"/>
              <a:gd name="T66" fmla="*/ 218 w 408"/>
              <a:gd name="T67" fmla="*/ 408 h 566"/>
              <a:gd name="T68" fmla="*/ 297 w 408"/>
              <a:gd name="T69" fmla="*/ 408 h 566"/>
              <a:gd name="T70" fmla="*/ 297 w 408"/>
              <a:gd name="T71" fmla="*/ 487 h 566"/>
              <a:gd name="T72" fmla="*/ 329 w 408"/>
              <a:gd name="T73" fmla="*/ 487 h 566"/>
              <a:gd name="T74" fmla="*/ 329 w 408"/>
              <a:gd name="T75" fmla="*/ 183 h 566"/>
              <a:gd name="T76" fmla="*/ 297 w 408"/>
              <a:gd name="T77" fmla="*/ 300 h 566"/>
              <a:gd name="T78" fmla="*/ 218 w 408"/>
              <a:gd name="T79" fmla="*/ 300 h 566"/>
              <a:gd name="T80" fmla="*/ 218 w 408"/>
              <a:gd name="T81" fmla="*/ 379 h 566"/>
              <a:gd name="T82" fmla="*/ 297 w 408"/>
              <a:gd name="T83" fmla="*/ 379 h 566"/>
              <a:gd name="T84" fmla="*/ 297 w 408"/>
              <a:gd name="T85" fmla="*/ 300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08" h="566">
                <a:moveTo>
                  <a:pt x="297" y="272"/>
                </a:moveTo>
                <a:lnTo>
                  <a:pt x="218" y="272"/>
                </a:lnTo>
                <a:lnTo>
                  <a:pt x="218" y="192"/>
                </a:lnTo>
                <a:lnTo>
                  <a:pt x="297" y="192"/>
                </a:lnTo>
                <a:lnTo>
                  <a:pt x="297" y="272"/>
                </a:lnTo>
                <a:close/>
                <a:moveTo>
                  <a:pt x="110" y="272"/>
                </a:moveTo>
                <a:lnTo>
                  <a:pt x="190" y="272"/>
                </a:lnTo>
                <a:lnTo>
                  <a:pt x="190" y="192"/>
                </a:lnTo>
                <a:lnTo>
                  <a:pt x="110" y="192"/>
                </a:lnTo>
                <a:lnTo>
                  <a:pt x="110" y="272"/>
                </a:lnTo>
                <a:close/>
                <a:moveTo>
                  <a:pt x="110" y="379"/>
                </a:moveTo>
                <a:lnTo>
                  <a:pt x="190" y="379"/>
                </a:lnTo>
                <a:lnTo>
                  <a:pt x="190" y="300"/>
                </a:lnTo>
                <a:lnTo>
                  <a:pt x="110" y="300"/>
                </a:lnTo>
                <a:lnTo>
                  <a:pt x="110" y="379"/>
                </a:lnTo>
                <a:close/>
                <a:moveTo>
                  <a:pt x="408" y="141"/>
                </a:moveTo>
                <a:lnTo>
                  <a:pt x="408" y="566"/>
                </a:lnTo>
                <a:lnTo>
                  <a:pt x="218" y="566"/>
                </a:lnTo>
                <a:lnTo>
                  <a:pt x="218" y="487"/>
                </a:lnTo>
                <a:lnTo>
                  <a:pt x="190" y="487"/>
                </a:lnTo>
                <a:lnTo>
                  <a:pt x="190" y="566"/>
                </a:lnTo>
                <a:lnTo>
                  <a:pt x="0" y="566"/>
                </a:lnTo>
                <a:lnTo>
                  <a:pt x="0" y="141"/>
                </a:lnTo>
                <a:lnTo>
                  <a:pt x="204" y="0"/>
                </a:lnTo>
                <a:lnTo>
                  <a:pt x="408" y="141"/>
                </a:lnTo>
                <a:close/>
                <a:moveTo>
                  <a:pt x="329" y="183"/>
                </a:moveTo>
                <a:lnTo>
                  <a:pt x="204" y="96"/>
                </a:lnTo>
                <a:lnTo>
                  <a:pt x="204" y="96"/>
                </a:lnTo>
                <a:lnTo>
                  <a:pt x="79" y="183"/>
                </a:lnTo>
                <a:lnTo>
                  <a:pt x="79" y="487"/>
                </a:lnTo>
                <a:lnTo>
                  <a:pt x="110" y="487"/>
                </a:lnTo>
                <a:lnTo>
                  <a:pt x="110" y="408"/>
                </a:lnTo>
                <a:lnTo>
                  <a:pt x="190" y="408"/>
                </a:lnTo>
                <a:lnTo>
                  <a:pt x="218" y="408"/>
                </a:lnTo>
                <a:lnTo>
                  <a:pt x="297" y="408"/>
                </a:lnTo>
                <a:lnTo>
                  <a:pt x="297" y="487"/>
                </a:lnTo>
                <a:lnTo>
                  <a:pt x="329" y="487"/>
                </a:lnTo>
                <a:lnTo>
                  <a:pt x="329" y="183"/>
                </a:lnTo>
                <a:close/>
                <a:moveTo>
                  <a:pt x="297" y="300"/>
                </a:moveTo>
                <a:lnTo>
                  <a:pt x="218" y="300"/>
                </a:lnTo>
                <a:lnTo>
                  <a:pt x="218" y="379"/>
                </a:lnTo>
                <a:lnTo>
                  <a:pt x="297" y="379"/>
                </a:lnTo>
                <a:lnTo>
                  <a:pt x="297" y="3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1100" dirty="0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776D2330-EDEC-4861-AD61-C3F002F0B1AD}"/>
              </a:ext>
            </a:extLst>
          </p:cNvPr>
          <p:cNvSpPr>
            <a:spLocks noEditPoints="1"/>
          </p:cNvSpPr>
          <p:nvPr/>
        </p:nvSpPr>
        <p:spPr bwMode="auto">
          <a:xfrm>
            <a:off x="6837533" y="1360574"/>
            <a:ext cx="873696" cy="873696"/>
          </a:xfrm>
          <a:custGeom>
            <a:avLst/>
            <a:gdLst>
              <a:gd name="T0" fmla="*/ 633 w 1266"/>
              <a:gd name="T1" fmla="*/ 0 h 1267"/>
              <a:gd name="T2" fmla="*/ 0 w 1266"/>
              <a:gd name="T3" fmla="*/ 623 h 1267"/>
              <a:gd name="T4" fmla="*/ 0 w 1266"/>
              <a:gd name="T5" fmla="*/ 633 h 1267"/>
              <a:gd name="T6" fmla="*/ 611 w 1266"/>
              <a:gd name="T7" fmla="*/ 1267 h 1267"/>
              <a:gd name="T8" fmla="*/ 655 w 1266"/>
              <a:gd name="T9" fmla="*/ 1267 h 1267"/>
              <a:gd name="T10" fmla="*/ 1266 w 1266"/>
              <a:gd name="T11" fmla="*/ 633 h 1267"/>
              <a:gd name="T12" fmla="*/ 1266 w 1266"/>
              <a:gd name="T13" fmla="*/ 623 h 1267"/>
              <a:gd name="T14" fmla="*/ 1080 w 1266"/>
              <a:gd name="T15" fmla="*/ 644 h 1267"/>
              <a:gd name="T16" fmla="*/ 984 w 1266"/>
              <a:gd name="T17" fmla="*/ 984 h 1267"/>
              <a:gd name="T18" fmla="*/ 655 w 1266"/>
              <a:gd name="T19" fmla="*/ 1080 h 1267"/>
              <a:gd name="T20" fmla="*/ 397 w 1266"/>
              <a:gd name="T21" fmla="*/ 1052 h 1267"/>
              <a:gd name="T22" fmla="*/ 214 w 1266"/>
              <a:gd name="T23" fmla="*/ 864 h 1267"/>
              <a:gd name="T24" fmla="*/ 186 w 1266"/>
              <a:gd name="T25" fmla="*/ 623 h 1267"/>
              <a:gd name="T26" fmla="*/ 282 w 1266"/>
              <a:gd name="T27" fmla="*/ 283 h 1267"/>
              <a:gd name="T28" fmla="*/ 611 w 1266"/>
              <a:gd name="T29" fmla="*/ 187 h 1267"/>
              <a:gd name="T30" fmla="*/ 869 w 1266"/>
              <a:gd name="T31" fmla="*/ 215 h 1267"/>
              <a:gd name="T32" fmla="*/ 1052 w 1266"/>
              <a:gd name="T33" fmla="*/ 402 h 1267"/>
              <a:gd name="T34" fmla="*/ 1080 w 1266"/>
              <a:gd name="T35" fmla="*/ 644 h 1267"/>
              <a:gd name="T36" fmla="*/ 463 w 1266"/>
              <a:gd name="T37" fmla="*/ 553 h 1267"/>
              <a:gd name="T38" fmla="*/ 366 w 1266"/>
              <a:gd name="T39" fmla="*/ 462 h 1267"/>
              <a:gd name="T40" fmla="*/ 456 w 1266"/>
              <a:gd name="T41" fmla="*/ 367 h 1267"/>
              <a:gd name="T42" fmla="*/ 553 w 1266"/>
              <a:gd name="T43" fmla="*/ 458 h 1267"/>
              <a:gd name="T44" fmla="*/ 900 w 1266"/>
              <a:gd name="T45" fmla="*/ 462 h 1267"/>
              <a:gd name="T46" fmla="*/ 803 w 1266"/>
              <a:gd name="T47" fmla="*/ 553 h 1267"/>
              <a:gd name="T48" fmla="*/ 713 w 1266"/>
              <a:gd name="T49" fmla="*/ 458 h 1267"/>
              <a:gd name="T50" fmla="*/ 810 w 1266"/>
              <a:gd name="T51" fmla="*/ 367 h 1267"/>
              <a:gd name="T52" fmla="*/ 900 w 1266"/>
              <a:gd name="T53" fmla="*/ 462 h 1267"/>
              <a:gd name="T54" fmla="*/ 296 w 1266"/>
              <a:gd name="T55" fmla="*/ 773 h 1267"/>
              <a:gd name="T56" fmla="*/ 519 w 1266"/>
              <a:gd name="T57" fmla="*/ 786 h 1267"/>
              <a:gd name="T58" fmla="*/ 747 w 1266"/>
              <a:gd name="T59" fmla="*/ 786 h 1267"/>
              <a:gd name="T60" fmla="*/ 970 w 1266"/>
              <a:gd name="T61" fmla="*/ 773 h 1267"/>
              <a:gd name="T62" fmla="*/ 633 w 1266"/>
              <a:gd name="T63" fmla="*/ 980 h 1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66" h="1267">
                <a:moveTo>
                  <a:pt x="655" y="0"/>
                </a:moveTo>
                <a:cubicBezTo>
                  <a:pt x="633" y="0"/>
                  <a:pt x="633" y="0"/>
                  <a:pt x="633" y="0"/>
                </a:cubicBezTo>
                <a:cubicBezTo>
                  <a:pt x="611" y="0"/>
                  <a:pt x="611" y="0"/>
                  <a:pt x="611" y="0"/>
                </a:cubicBezTo>
                <a:cubicBezTo>
                  <a:pt x="192" y="0"/>
                  <a:pt x="0" y="198"/>
                  <a:pt x="0" y="623"/>
                </a:cubicBezTo>
                <a:cubicBezTo>
                  <a:pt x="0" y="633"/>
                  <a:pt x="0" y="633"/>
                  <a:pt x="0" y="633"/>
                </a:cubicBezTo>
                <a:cubicBezTo>
                  <a:pt x="0" y="633"/>
                  <a:pt x="0" y="633"/>
                  <a:pt x="0" y="633"/>
                </a:cubicBezTo>
                <a:cubicBezTo>
                  <a:pt x="0" y="644"/>
                  <a:pt x="0" y="644"/>
                  <a:pt x="0" y="644"/>
                </a:cubicBezTo>
                <a:cubicBezTo>
                  <a:pt x="0" y="1068"/>
                  <a:pt x="192" y="1267"/>
                  <a:pt x="611" y="1267"/>
                </a:cubicBezTo>
                <a:cubicBezTo>
                  <a:pt x="633" y="1267"/>
                  <a:pt x="633" y="1267"/>
                  <a:pt x="633" y="1267"/>
                </a:cubicBezTo>
                <a:cubicBezTo>
                  <a:pt x="655" y="1267"/>
                  <a:pt x="655" y="1267"/>
                  <a:pt x="655" y="1267"/>
                </a:cubicBezTo>
                <a:cubicBezTo>
                  <a:pt x="1074" y="1267"/>
                  <a:pt x="1266" y="1068"/>
                  <a:pt x="1266" y="644"/>
                </a:cubicBezTo>
                <a:cubicBezTo>
                  <a:pt x="1266" y="633"/>
                  <a:pt x="1266" y="633"/>
                  <a:pt x="1266" y="633"/>
                </a:cubicBezTo>
                <a:cubicBezTo>
                  <a:pt x="1266" y="633"/>
                  <a:pt x="1266" y="633"/>
                  <a:pt x="1266" y="633"/>
                </a:cubicBezTo>
                <a:cubicBezTo>
                  <a:pt x="1266" y="623"/>
                  <a:pt x="1266" y="623"/>
                  <a:pt x="1266" y="623"/>
                </a:cubicBezTo>
                <a:cubicBezTo>
                  <a:pt x="1266" y="198"/>
                  <a:pt x="1074" y="0"/>
                  <a:pt x="655" y="0"/>
                </a:cubicBezTo>
                <a:close/>
                <a:moveTo>
                  <a:pt x="1080" y="644"/>
                </a:moveTo>
                <a:cubicBezTo>
                  <a:pt x="1080" y="731"/>
                  <a:pt x="1070" y="805"/>
                  <a:pt x="1052" y="864"/>
                </a:cubicBezTo>
                <a:cubicBezTo>
                  <a:pt x="1036" y="915"/>
                  <a:pt x="1014" y="954"/>
                  <a:pt x="984" y="984"/>
                </a:cubicBezTo>
                <a:cubicBezTo>
                  <a:pt x="955" y="1014"/>
                  <a:pt x="917" y="1036"/>
                  <a:pt x="869" y="1052"/>
                </a:cubicBezTo>
                <a:cubicBezTo>
                  <a:pt x="811" y="1070"/>
                  <a:pt x="739" y="1080"/>
                  <a:pt x="655" y="1080"/>
                </a:cubicBezTo>
                <a:cubicBezTo>
                  <a:pt x="611" y="1080"/>
                  <a:pt x="611" y="1080"/>
                  <a:pt x="611" y="1080"/>
                </a:cubicBezTo>
                <a:cubicBezTo>
                  <a:pt x="527" y="1080"/>
                  <a:pt x="455" y="1070"/>
                  <a:pt x="397" y="1052"/>
                </a:cubicBezTo>
                <a:cubicBezTo>
                  <a:pt x="349" y="1036"/>
                  <a:pt x="311" y="1014"/>
                  <a:pt x="282" y="984"/>
                </a:cubicBezTo>
                <a:cubicBezTo>
                  <a:pt x="252" y="954"/>
                  <a:pt x="230" y="915"/>
                  <a:pt x="214" y="864"/>
                </a:cubicBezTo>
                <a:cubicBezTo>
                  <a:pt x="196" y="805"/>
                  <a:pt x="186" y="731"/>
                  <a:pt x="186" y="644"/>
                </a:cubicBezTo>
                <a:cubicBezTo>
                  <a:pt x="186" y="623"/>
                  <a:pt x="186" y="623"/>
                  <a:pt x="186" y="623"/>
                </a:cubicBezTo>
                <a:cubicBezTo>
                  <a:pt x="186" y="536"/>
                  <a:pt x="196" y="462"/>
                  <a:pt x="214" y="402"/>
                </a:cubicBezTo>
                <a:cubicBezTo>
                  <a:pt x="230" y="352"/>
                  <a:pt x="252" y="313"/>
                  <a:pt x="282" y="283"/>
                </a:cubicBezTo>
                <a:cubicBezTo>
                  <a:pt x="311" y="253"/>
                  <a:pt x="349" y="231"/>
                  <a:pt x="397" y="215"/>
                </a:cubicBezTo>
                <a:cubicBezTo>
                  <a:pt x="455" y="196"/>
                  <a:pt x="527" y="187"/>
                  <a:pt x="611" y="187"/>
                </a:cubicBezTo>
                <a:cubicBezTo>
                  <a:pt x="655" y="187"/>
                  <a:pt x="655" y="187"/>
                  <a:pt x="655" y="187"/>
                </a:cubicBezTo>
                <a:cubicBezTo>
                  <a:pt x="739" y="187"/>
                  <a:pt x="811" y="196"/>
                  <a:pt x="869" y="215"/>
                </a:cubicBezTo>
                <a:cubicBezTo>
                  <a:pt x="917" y="231"/>
                  <a:pt x="955" y="253"/>
                  <a:pt x="984" y="283"/>
                </a:cubicBezTo>
                <a:cubicBezTo>
                  <a:pt x="1014" y="313"/>
                  <a:pt x="1036" y="352"/>
                  <a:pt x="1052" y="402"/>
                </a:cubicBezTo>
                <a:cubicBezTo>
                  <a:pt x="1070" y="462"/>
                  <a:pt x="1080" y="536"/>
                  <a:pt x="1080" y="623"/>
                </a:cubicBezTo>
                <a:lnTo>
                  <a:pt x="1080" y="644"/>
                </a:lnTo>
                <a:close/>
                <a:moveTo>
                  <a:pt x="553" y="462"/>
                </a:moveTo>
                <a:cubicBezTo>
                  <a:pt x="553" y="524"/>
                  <a:pt x="525" y="553"/>
                  <a:pt x="463" y="553"/>
                </a:cubicBezTo>
                <a:cubicBezTo>
                  <a:pt x="456" y="553"/>
                  <a:pt x="456" y="553"/>
                  <a:pt x="456" y="553"/>
                </a:cubicBezTo>
                <a:cubicBezTo>
                  <a:pt x="395" y="553"/>
                  <a:pt x="366" y="524"/>
                  <a:pt x="366" y="462"/>
                </a:cubicBezTo>
                <a:cubicBezTo>
                  <a:pt x="366" y="458"/>
                  <a:pt x="366" y="458"/>
                  <a:pt x="366" y="458"/>
                </a:cubicBezTo>
                <a:cubicBezTo>
                  <a:pt x="366" y="396"/>
                  <a:pt x="395" y="367"/>
                  <a:pt x="456" y="367"/>
                </a:cubicBezTo>
                <a:cubicBezTo>
                  <a:pt x="463" y="367"/>
                  <a:pt x="463" y="367"/>
                  <a:pt x="463" y="367"/>
                </a:cubicBezTo>
                <a:cubicBezTo>
                  <a:pt x="525" y="367"/>
                  <a:pt x="553" y="396"/>
                  <a:pt x="553" y="458"/>
                </a:cubicBezTo>
                <a:lnTo>
                  <a:pt x="553" y="462"/>
                </a:lnTo>
                <a:close/>
                <a:moveTo>
                  <a:pt x="900" y="462"/>
                </a:moveTo>
                <a:cubicBezTo>
                  <a:pt x="900" y="524"/>
                  <a:pt x="871" y="553"/>
                  <a:pt x="810" y="553"/>
                </a:cubicBezTo>
                <a:cubicBezTo>
                  <a:pt x="803" y="553"/>
                  <a:pt x="803" y="553"/>
                  <a:pt x="803" y="553"/>
                </a:cubicBezTo>
                <a:cubicBezTo>
                  <a:pt x="741" y="553"/>
                  <a:pt x="713" y="524"/>
                  <a:pt x="713" y="462"/>
                </a:cubicBezTo>
                <a:cubicBezTo>
                  <a:pt x="713" y="458"/>
                  <a:pt x="713" y="458"/>
                  <a:pt x="713" y="458"/>
                </a:cubicBezTo>
                <a:cubicBezTo>
                  <a:pt x="713" y="396"/>
                  <a:pt x="741" y="367"/>
                  <a:pt x="803" y="367"/>
                </a:cubicBezTo>
                <a:cubicBezTo>
                  <a:pt x="810" y="367"/>
                  <a:pt x="810" y="367"/>
                  <a:pt x="810" y="367"/>
                </a:cubicBezTo>
                <a:cubicBezTo>
                  <a:pt x="871" y="367"/>
                  <a:pt x="900" y="396"/>
                  <a:pt x="900" y="458"/>
                </a:cubicBezTo>
                <a:lnTo>
                  <a:pt x="900" y="462"/>
                </a:lnTo>
                <a:close/>
                <a:moveTo>
                  <a:pt x="633" y="980"/>
                </a:moveTo>
                <a:cubicBezTo>
                  <a:pt x="493" y="980"/>
                  <a:pt x="367" y="903"/>
                  <a:pt x="296" y="773"/>
                </a:cubicBezTo>
                <a:cubicBezTo>
                  <a:pt x="437" y="696"/>
                  <a:pt x="437" y="696"/>
                  <a:pt x="437" y="696"/>
                </a:cubicBezTo>
                <a:cubicBezTo>
                  <a:pt x="457" y="734"/>
                  <a:pt x="485" y="765"/>
                  <a:pt x="519" y="786"/>
                </a:cubicBezTo>
                <a:cubicBezTo>
                  <a:pt x="553" y="809"/>
                  <a:pt x="592" y="820"/>
                  <a:pt x="633" y="820"/>
                </a:cubicBezTo>
                <a:cubicBezTo>
                  <a:pt x="674" y="820"/>
                  <a:pt x="713" y="809"/>
                  <a:pt x="747" y="786"/>
                </a:cubicBezTo>
                <a:cubicBezTo>
                  <a:pt x="781" y="765"/>
                  <a:pt x="809" y="734"/>
                  <a:pt x="829" y="696"/>
                </a:cubicBezTo>
                <a:cubicBezTo>
                  <a:pt x="970" y="773"/>
                  <a:pt x="970" y="773"/>
                  <a:pt x="970" y="773"/>
                </a:cubicBezTo>
                <a:cubicBezTo>
                  <a:pt x="937" y="834"/>
                  <a:pt x="890" y="885"/>
                  <a:pt x="834" y="921"/>
                </a:cubicBezTo>
                <a:cubicBezTo>
                  <a:pt x="774" y="960"/>
                  <a:pt x="705" y="980"/>
                  <a:pt x="633" y="98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1100" dirty="0"/>
          </a:p>
        </p:txBody>
      </p:sp>
      <p:sp>
        <p:nvSpPr>
          <p:cNvPr id="13" name="Номер слайда 2">
            <a:extLst>
              <a:ext uri="{FF2B5EF4-FFF2-40B4-BE49-F238E27FC236}">
                <a16:creationId xmlns:a16="http://schemas.microsoft.com/office/drawing/2014/main" id="{81FB9D6B-C776-45DB-9446-25216A503428}"/>
              </a:ext>
            </a:extLst>
          </p:cNvPr>
          <p:cNvSpPr txBox="1">
            <a:spLocks/>
          </p:cNvSpPr>
          <p:nvPr/>
        </p:nvSpPr>
        <p:spPr>
          <a:xfrm>
            <a:off x="11643405" y="6257100"/>
            <a:ext cx="360000" cy="3105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defRPr lang="de-DE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800" dirty="0"/>
          </a:p>
        </p:txBody>
      </p:sp>
      <p:sp>
        <p:nvSpPr>
          <p:cNvPr id="21" name="Graphic 6">
            <a:extLst>
              <a:ext uri="{FF2B5EF4-FFF2-40B4-BE49-F238E27FC236}">
                <a16:creationId xmlns:a16="http://schemas.microsoft.com/office/drawing/2014/main" id="{A8C34096-24E1-407A-844F-38C1E0FF5C54}"/>
              </a:ext>
            </a:extLst>
          </p:cNvPr>
          <p:cNvSpPr/>
          <p:nvPr/>
        </p:nvSpPr>
        <p:spPr>
          <a:xfrm>
            <a:off x="3370034" y="4620266"/>
            <a:ext cx="5451931" cy="1947334"/>
          </a:xfrm>
          <a:custGeom>
            <a:avLst/>
            <a:gdLst>
              <a:gd name="connsiteX0" fmla="*/ 5130800 w 5648959"/>
              <a:gd name="connsiteY0" fmla="*/ 1976120 h 1976120"/>
              <a:gd name="connsiteX1" fmla="*/ 0 w 5648959"/>
              <a:gd name="connsiteY1" fmla="*/ 1976120 h 1976120"/>
              <a:gd name="connsiteX2" fmla="*/ 0 w 5648959"/>
              <a:gd name="connsiteY2" fmla="*/ 0 h 1976120"/>
              <a:gd name="connsiteX3" fmla="*/ 5648960 w 5648959"/>
              <a:gd name="connsiteY3" fmla="*/ 0 h 1976120"/>
              <a:gd name="connsiteX4" fmla="*/ 5648960 w 5648959"/>
              <a:gd name="connsiteY4" fmla="*/ 1457325 h 1976120"/>
              <a:gd name="connsiteX5" fmla="*/ 5130800 w 5648959"/>
              <a:gd name="connsiteY5" fmla="*/ 1976120 h 1976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8959" h="1976120">
                <a:moveTo>
                  <a:pt x="5130800" y="1976120"/>
                </a:moveTo>
                <a:lnTo>
                  <a:pt x="0" y="1976120"/>
                </a:lnTo>
                <a:lnTo>
                  <a:pt x="0" y="0"/>
                </a:lnTo>
                <a:lnTo>
                  <a:pt x="5648960" y="0"/>
                </a:lnTo>
                <a:lnTo>
                  <a:pt x="5648960" y="1457325"/>
                </a:lnTo>
                <a:cubicBezTo>
                  <a:pt x="5648960" y="1743710"/>
                  <a:pt x="5417185" y="1976120"/>
                  <a:pt x="5130800" y="1976120"/>
                </a:cubicBezTo>
                <a:close/>
              </a:path>
            </a:pathLst>
          </a:custGeom>
          <a:gradFill>
            <a:gsLst>
              <a:gs pos="45000">
                <a:schemeClr val="bg1"/>
              </a:gs>
              <a:gs pos="100000">
                <a:schemeClr val="bg1">
                  <a:alpha val="44000"/>
                </a:schemeClr>
              </a:gs>
            </a:gsLst>
            <a:lin ang="7200000" scaled="0"/>
          </a:gradFill>
          <a:ln w="76200" cap="flat">
            <a:noFill/>
            <a:prstDash val="solid"/>
            <a:miter/>
          </a:ln>
        </p:spPr>
        <p:txBody>
          <a:bodyPr rtlCol="0" anchor="ctr"/>
          <a:lstStyle/>
          <a:p>
            <a:pPr marL="735013" lvl="1" indent="-285750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ДМС: </a:t>
            </a:r>
            <a:r>
              <a:rPr lang="ru-RU" dirty="0">
                <a:solidFill>
                  <a:srgbClr val="5E5E5E"/>
                </a:solidFill>
                <a:cs typeface="Arial" panose="020B0604020202020204" pitchFamily="34" charset="0"/>
              </a:rPr>
              <a:t>полный спектр со стоматологией</a:t>
            </a:r>
          </a:p>
          <a:p>
            <a:pPr marL="735013" lvl="1" indent="-285750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Страхование жизни</a:t>
            </a:r>
          </a:p>
          <a:p>
            <a:pPr marL="735013" lvl="1" indent="-285750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Материальная помощь к отпуску</a:t>
            </a:r>
          </a:p>
          <a:p>
            <a:pPr marL="735013" lvl="1" indent="-285750">
              <a:lnSpc>
                <a:spcPct val="90000"/>
              </a:lnSpc>
              <a:spcBef>
                <a:spcPts val="500"/>
              </a:spcBef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78DC"/>
                </a:solidFill>
                <a:cs typeface="Arial" panose="020B0604020202020204" pitchFamily="34" charset="0"/>
              </a:rPr>
              <a:t>Оплата санаторно-курортного отдыха</a:t>
            </a:r>
          </a:p>
        </p:txBody>
      </p:sp>
      <p:sp>
        <p:nvSpPr>
          <p:cNvPr id="22" name="Freeform 31">
            <a:extLst>
              <a:ext uri="{FF2B5EF4-FFF2-40B4-BE49-F238E27FC236}">
                <a16:creationId xmlns:a16="http://schemas.microsoft.com/office/drawing/2014/main" id="{E967CF25-ADC9-4479-8117-2513E26ED0A0}"/>
              </a:ext>
            </a:extLst>
          </p:cNvPr>
          <p:cNvSpPr>
            <a:spLocks noEditPoints="1"/>
          </p:cNvSpPr>
          <p:nvPr/>
        </p:nvSpPr>
        <p:spPr bwMode="auto">
          <a:xfrm>
            <a:off x="2066887" y="4802896"/>
            <a:ext cx="1072984" cy="1299438"/>
          </a:xfrm>
          <a:custGeom>
            <a:avLst/>
            <a:gdLst>
              <a:gd name="T0" fmla="*/ 1057 w 1072"/>
              <a:gd name="T1" fmla="*/ 390 h 1333"/>
              <a:gd name="T2" fmla="*/ 1072 w 1072"/>
              <a:gd name="T3" fmla="*/ 340 h 1333"/>
              <a:gd name="T4" fmla="*/ 978 w 1072"/>
              <a:gd name="T5" fmla="*/ 246 h 1333"/>
              <a:gd name="T6" fmla="*/ 794 w 1072"/>
              <a:gd name="T7" fmla="*/ 246 h 1333"/>
              <a:gd name="T8" fmla="*/ 927 w 1072"/>
              <a:gd name="T9" fmla="*/ 0 h 1333"/>
              <a:gd name="T10" fmla="*/ 400 w 1072"/>
              <a:gd name="T11" fmla="*/ 0 h 1333"/>
              <a:gd name="T12" fmla="*/ 319 w 1072"/>
              <a:gd name="T13" fmla="*/ 46 h 1333"/>
              <a:gd name="T14" fmla="*/ 15 w 1072"/>
              <a:gd name="T15" fmla="*/ 602 h 1333"/>
              <a:gd name="T16" fmla="*/ 18 w 1072"/>
              <a:gd name="T17" fmla="*/ 694 h 1333"/>
              <a:gd name="T18" fmla="*/ 96 w 1072"/>
              <a:gd name="T19" fmla="*/ 740 h 1333"/>
              <a:gd name="T20" fmla="*/ 396 w 1072"/>
              <a:gd name="T21" fmla="*/ 740 h 1333"/>
              <a:gd name="T22" fmla="*/ 396 w 1072"/>
              <a:gd name="T23" fmla="*/ 1231 h 1333"/>
              <a:gd name="T24" fmla="*/ 396 w 1072"/>
              <a:gd name="T25" fmla="*/ 1240 h 1333"/>
              <a:gd name="T26" fmla="*/ 484 w 1072"/>
              <a:gd name="T27" fmla="*/ 1333 h 1333"/>
              <a:gd name="T28" fmla="*/ 486 w 1072"/>
              <a:gd name="T29" fmla="*/ 1333 h 1333"/>
              <a:gd name="T30" fmla="*/ 488 w 1072"/>
              <a:gd name="T31" fmla="*/ 1333 h 1333"/>
              <a:gd name="T32" fmla="*/ 489 w 1072"/>
              <a:gd name="T33" fmla="*/ 1333 h 1333"/>
              <a:gd name="T34" fmla="*/ 569 w 1072"/>
              <a:gd name="T35" fmla="*/ 1288 h 1333"/>
              <a:gd name="T36" fmla="*/ 569 w 1072"/>
              <a:gd name="T37" fmla="*/ 1288 h 1333"/>
              <a:gd name="T38" fmla="*/ 569 w 1072"/>
              <a:gd name="T39" fmla="*/ 1288 h 1333"/>
              <a:gd name="T40" fmla="*/ 574 w 1072"/>
              <a:gd name="T41" fmla="*/ 1280 h 1333"/>
              <a:gd name="T42" fmla="*/ 1057 w 1072"/>
              <a:gd name="T43" fmla="*/ 390 h 1333"/>
              <a:gd name="T44" fmla="*/ 255 w 1072"/>
              <a:gd name="T45" fmla="*/ 553 h 1333"/>
              <a:gd name="T46" fmla="*/ 455 w 1072"/>
              <a:gd name="T47" fmla="*/ 186 h 1333"/>
              <a:gd name="T48" fmla="*/ 614 w 1072"/>
              <a:gd name="T49" fmla="*/ 186 h 1333"/>
              <a:gd name="T50" fmla="*/ 478 w 1072"/>
              <a:gd name="T51" fmla="*/ 433 h 1333"/>
              <a:gd name="T52" fmla="*/ 822 w 1072"/>
              <a:gd name="T53" fmla="*/ 433 h 1333"/>
              <a:gd name="T54" fmla="*/ 583 w 1072"/>
              <a:gd name="T55" fmla="*/ 865 h 1333"/>
              <a:gd name="T56" fmla="*/ 583 w 1072"/>
              <a:gd name="T57" fmla="*/ 553 h 1333"/>
              <a:gd name="T58" fmla="*/ 255 w 1072"/>
              <a:gd name="T59" fmla="*/ 553 h 1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072" h="1333">
                <a:moveTo>
                  <a:pt x="1057" y="390"/>
                </a:moveTo>
                <a:cubicBezTo>
                  <a:pt x="1066" y="375"/>
                  <a:pt x="1072" y="358"/>
                  <a:pt x="1072" y="340"/>
                </a:cubicBezTo>
                <a:cubicBezTo>
                  <a:pt x="1072" y="288"/>
                  <a:pt x="1030" y="246"/>
                  <a:pt x="978" y="246"/>
                </a:cubicBezTo>
                <a:cubicBezTo>
                  <a:pt x="977" y="246"/>
                  <a:pt x="794" y="246"/>
                  <a:pt x="794" y="246"/>
                </a:cubicBezTo>
                <a:cubicBezTo>
                  <a:pt x="927" y="0"/>
                  <a:pt x="927" y="0"/>
                  <a:pt x="927" y="0"/>
                </a:cubicBezTo>
                <a:cubicBezTo>
                  <a:pt x="400" y="0"/>
                  <a:pt x="400" y="0"/>
                  <a:pt x="400" y="0"/>
                </a:cubicBezTo>
                <a:cubicBezTo>
                  <a:pt x="388" y="0"/>
                  <a:pt x="345" y="3"/>
                  <a:pt x="319" y="46"/>
                </a:cubicBezTo>
                <a:cubicBezTo>
                  <a:pt x="319" y="46"/>
                  <a:pt x="15" y="602"/>
                  <a:pt x="15" y="602"/>
                </a:cubicBezTo>
                <a:cubicBezTo>
                  <a:pt x="0" y="631"/>
                  <a:pt x="1" y="667"/>
                  <a:pt x="18" y="694"/>
                </a:cubicBezTo>
                <a:cubicBezTo>
                  <a:pt x="34" y="722"/>
                  <a:pt x="64" y="739"/>
                  <a:pt x="96" y="740"/>
                </a:cubicBezTo>
                <a:cubicBezTo>
                  <a:pt x="396" y="740"/>
                  <a:pt x="396" y="740"/>
                  <a:pt x="396" y="740"/>
                </a:cubicBezTo>
                <a:cubicBezTo>
                  <a:pt x="396" y="1231"/>
                  <a:pt x="396" y="1231"/>
                  <a:pt x="396" y="1231"/>
                </a:cubicBezTo>
                <a:cubicBezTo>
                  <a:pt x="396" y="1234"/>
                  <a:pt x="396" y="1237"/>
                  <a:pt x="396" y="1240"/>
                </a:cubicBezTo>
                <a:cubicBezTo>
                  <a:pt x="396" y="1290"/>
                  <a:pt x="435" y="1330"/>
                  <a:pt x="484" y="1333"/>
                </a:cubicBezTo>
                <a:cubicBezTo>
                  <a:pt x="485" y="1333"/>
                  <a:pt x="486" y="1333"/>
                  <a:pt x="486" y="1333"/>
                </a:cubicBezTo>
                <a:cubicBezTo>
                  <a:pt x="487" y="1333"/>
                  <a:pt x="487" y="1333"/>
                  <a:pt x="488" y="1333"/>
                </a:cubicBezTo>
                <a:cubicBezTo>
                  <a:pt x="488" y="1333"/>
                  <a:pt x="489" y="1333"/>
                  <a:pt x="489" y="1333"/>
                </a:cubicBezTo>
                <a:cubicBezTo>
                  <a:pt x="523" y="1333"/>
                  <a:pt x="553" y="1315"/>
                  <a:pt x="569" y="1288"/>
                </a:cubicBezTo>
                <a:cubicBezTo>
                  <a:pt x="569" y="1288"/>
                  <a:pt x="569" y="1288"/>
                  <a:pt x="569" y="1288"/>
                </a:cubicBezTo>
                <a:cubicBezTo>
                  <a:pt x="569" y="1288"/>
                  <a:pt x="569" y="1288"/>
                  <a:pt x="569" y="1288"/>
                </a:cubicBezTo>
                <a:cubicBezTo>
                  <a:pt x="571" y="1286"/>
                  <a:pt x="572" y="1283"/>
                  <a:pt x="574" y="1280"/>
                </a:cubicBezTo>
                <a:lnTo>
                  <a:pt x="1057" y="390"/>
                </a:lnTo>
                <a:close/>
                <a:moveTo>
                  <a:pt x="255" y="553"/>
                </a:moveTo>
                <a:cubicBezTo>
                  <a:pt x="455" y="186"/>
                  <a:pt x="455" y="186"/>
                  <a:pt x="455" y="186"/>
                </a:cubicBezTo>
                <a:cubicBezTo>
                  <a:pt x="614" y="186"/>
                  <a:pt x="614" y="186"/>
                  <a:pt x="614" y="186"/>
                </a:cubicBezTo>
                <a:cubicBezTo>
                  <a:pt x="478" y="433"/>
                  <a:pt x="478" y="433"/>
                  <a:pt x="478" y="433"/>
                </a:cubicBezTo>
                <a:cubicBezTo>
                  <a:pt x="822" y="433"/>
                  <a:pt x="822" y="433"/>
                  <a:pt x="822" y="433"/>
                </a:cubicBezTo>
                <a:cubicBezTo>
                  <a:pt x="822" y="433"/>
                  <a:pt x="661" y="716"/>
                  <a:pt x="583" y="865"/>
                </a:cubicBezTo>
                <a:cubicBezTo>
                  <a:pt x="583" y="553"/>
                  <a:pt x="583" y="553"/>
                  <a:pt x="583" y="553"/>
                </a:cubicBezTo>
                <a:lnTo>
                  <a:pt x="255" y="5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0300895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77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7">
            <a:extLst>
              <a:ext uri="{FF2B5EF4-FFF2-40B4-BE49-F238E27FC236}">
                <a16:creationId xmlns:a16="http://schemas.microsoft.com/office/drawing/2014/main" id="{E7143D38-56D6-4D58-847B-28068D993D95}"/>
              </a:ext>
            </a:extLst>
          </p:cNvPr>
          <p:cNvGrpSpPr/>
          <p:nvPr/>
        </p:nvGrpSpPr>
        <p:grpSpPr>
          <a:xfrm>
            <a:off x="5544760" y="-1057208"/>
            <a:ext cx="521035" cy="517467"/>
            <a:chOff x="454317" y="1992629"/>
            <a:chExt cx="431003" cy="428051"/>
          </a:xfrm>
        </p:grpSpPr>
        <p:sp>
          <p:nvSpPr>
            <p:cNvPr id="22" name="Freeform 25">
              <a:extLst>
                <a:ext uri="{FF2B5EF4-FFF2-40B4-BE49-F238E27FC236}">
                  <a16:creationId xmlns:a16="http://schemas.microsoft.com/office/drawing/2014/main" id="{9FF4F1DB-8439-4411-96FD-279B01410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17" y="1992629"/>
              <a:ext cx="431003" cy="428051"/>
            </a:xfrm>
            <a:custGeom>
              <a:avLst/>
              <a:gdLst>
                <a:gd name="T0" fmla="*/ 0 w 891"/>
                <a:gd name="T1" fmla="*/ 432 h 885"/>
                <a:gd name="T2" fmla="*/ 431 w 891"/>
                <a:gd name="T3" fmla="*/ 0 h 885"/>
                <a:gd name="T4" fmla="*/ 458 w 891"/>
                <a:gd name="T5" fmla="*/ 0 h 885"/>
                <a:gd name="T6" fmla="*/ 891 w 891"/>
                <a:gd name="T7" fmla="*/ 432 h 885"/>
                <a:gd name="T8" fmla="*/ 891 w 891"/>
                <a:gd name="T9" fmla="*/ 453 h 885"/>
                <a:gd name="T10" fmla="*/ 458 w 891"/>
                <a:gd name="T11" fmla="*/ 885 h 885"/>
                <a:gd name="T12" fmla="*/ 431 w 891"/>
                <a:gd name="T13" fmla="*/ 885 h 885"/>
                <a:gd name="T14" fmla="*/ 0 w 891"/>
                <a:gd name="T15" fmla="*/ 453 h 885"/>
                <a:gd name="T16" fmla="*/ 0 w 891"/>
                <a:gd name="T17" fmla="*/ 432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1" h="885">
                  <a:moveTo>
                    <a:pt x="0" y="432"/>
                  </a:moveTo>
                  <a:cubicBezTo>
                    <a:pt x="0" y="148"/>
                    <a:pt x="143" y="0"/>
                    <a:pt x="431" y="0"/>
                  </a:cubicBezTo>
                  <a:cubicBezTo>
                    <a:pt x="458" y="0"/>
                    <a:pt x="458" y="0"/>
                    <a:pt x="458" y="0"/>
                  </a:cubicBezTo>
                  <a:cubicBezTo>
                    <a:pt x="748" y="0"/>
                    <a:pt x="891" y="148"/>
                    <a:pt x="891" y="432"/>
                  </a:cubicBezTo>
                  <a:cubicBezTo>
                    <a:pt x="891" y="453"/>
                    <a:pt x="891" y="453"/>
                    <a:pt x="891" y="453"/>
                  </a:cubicBezTo>
                  <a:cubicBezTo>
                    <a:pt x="891" y="737"/>
                    <a:pt x="748" y="885"/>
                    <a:pt x="458" y="885"/>
                  </a:cubicBezTo>
                  <a:cubicBezTo>
                    <a:pt x="431" y="885"/>
                    <a:pt x="431" y="885"/>
                    <a:pt x="431" y="885"/>
                  </a:cubicBezTo>
                  <a:cubicBezTo>
                    <a:pt x="143" y="885"/>
                    <a:pt x="0" y="737"/>
                    <a:pt x="0" y="453"/>
                  </a:cubicBezTo>
                  <a:lnTo>
                    <a:pt x="0" y="432"/>
                  </a:lnTo>
                  <a:close/>
                </a:path>
              </a:pathLst>
            </a:custGeom>
            <a:solidFill>
              <a:srgbClr val="ED8C1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D04FAFB8-905C-468B-8605-C6893BB61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05" y="2057400"/>
              <a:ext cx="294146" cy="291372"/>
            </a:xfrm>
            <a:custGeom>
              <a:avLst/>
              <a:gdLst>
                <a:gd name="T0" fmla="*/ 0 w 891"/>
                <a:gd name="T1" fmla="*/ 432 h 885"/>
                <a:gd name="T2" fmla="*/ 431 w 891"/>
                <a:gd name="T3" fmla="*/ 0 h 885"/>
                <a:gd name="T4" fmla="*/ 458 w 891"/>
                <a:gd name="T5" fmla="*/ 0 h 885"/>
                <a:gd name="T6" fmla="*/ 891 w 891"/>
                <a:gd name="T7" fmla="*/ 432 h 885"/>
                <a:gd name="T8" fmla="*/ 891 w 891"/>
                <a:gd name="T9" fmla="*/ 453 h 885"/>
                <a:gd name="T10" fmla="*/ 458 w 891"/>
                <a:gd name="T11" fmla="*/ 885 h 885"/>
                <a:gd name="T12" fmla="*/ 431 w 891"/>
                <a:gd name="T13" fmla="*/ 885 h 885"/>
                <a:gd name="T14" fmla="*/ 0 w 891"/>
                <a:gd name="T15" fmla="*/ 453 h 885"/>
                <a:gd name="T16" fmla="*/ 0 w 891"/>
                <a:gd name="T17" fmla="*/ 432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1" h="885">
                  <a:moveTo>
                    <a:pt x="0" y="432"/>
                  </a:moveTo>
                  <a:cubicBezTo>
                    <a:pt x="0" y="148"/>
                    <a:pt x="143" y="0"/>
                    <a:pt x="431" y="0"/>
                  </a:cubicBezTo>
                  <a:cubicBezTo>
                    <a:pt x="458" y="0"/>
                    <a:pt x="458" y="0"/>
                    <a:pt x="458" y="0"/>
                  </a:cubicBezTo>
                  <a:cubicBezTo>
                    <a:pt x="748" y="0"/>
                    <a:pt x="891" y="148"/>
                    <a:pt x="891" y="432"/>
                  </a:cubicBezTo>
                  <a:cubicBezTo>
                    <a:pt x="891" y="453"/>
                    <a:pt x="891" y="453"/>
                    <a:pt x="891" y="453"/>
                  </a:cubicBezTo>
                  <a:cubicBezTo>
                    <a:pt x="891" y="737"/>
                    <a:pt x="748" y="885"/>
                    <a:pt x="458" y="885"/>
                  </a:cubicBezTo>
                  <a:cubicBezTo>
                    <a:pt x="431" y="885"/>
                    <a:pt x="431" y="885"/>
                    <a:pt x="431" y="885"/>
                  </a:cubicBezTo>
                  <a:cubicBezTo>
                    <a:pt x="143" y="885"/>
                    <a:pt x="0" y="737"/>
                    <a:pt x="0" y="453"/>
                  </a:cubicBez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600" b="1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24" name="Gruppieren 66">
            <a:extLst>
              <a:ext uri="{FF2B5EF4-FFF2-40B4-BE49-F238E27FC236}">
                <a16:creationId xmlns:a16="http://schemas.microsoft.com/office/drawing/2014/main" id="{71B5BA25-16B2-4EF6-8F2A-2C04EF3F1274}"/>
              </a:ext>
            </a:extLst>
          </p:cNvPr>
          <p:cNvGrpSpPr/>
          <p:nvPr/>
        </p:nvGrpSpPr>
        <p:grpSpPr>
          <a:xfrm>
            <a:off x="8971991" y="-1057208"/>
            <a:ext cx="521035" cy="517467"/>
            <a:chOff x="454317" y="1992629"/>
            <a:chExt cx="431003" cy="428051"/>
          </a:xfrm>
        </p:grpSpPr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BBF7FC79-C88D-4C17-9AEF-721028370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17" y="1992629"/>
              <a:ext cx="431003" cy="428051"/>
            </a:xfrm>
            <a:custGeom>
              <a:avLst/>
              <a:gdLst>
                <a:gd name="T0" fmla="*/ 0 w 891"/>
                <a:gd name="T1" fmla="*/ 432 h 885"/>
                <a:gd name="T2" fmla="*/ 431 w 891"/>
                <a:gd name="T3" fmla="*/ 0 h 885"/>
                <a:gd name="T4" fmla="*/ 458 w 891"/>
                <a:gd name="T5" fmla="*/ 0 h 885"/>
                <a:gd name="T6" fmla="*/ 891 w 891"/>
                <a:gd name="T7" fmla="*/ 432 h 885"/>
                <a:gd name="T8" fmla="*/ 891 w 891"/>
                <a:gd name="T9" fmla="*/ 453 h 885"/>
                <a:gd name="T10" fmla="*/ 458 w 891"/>
                <a:gd name="T11" fmla="*/ 885 h 885"/>
                <a:gd name="T12" fmla="*/ 431 w 891"/>
                <a:gd name="T13" fmla="*/ 885 h 885"/>
                <a:gd name="T14" fmla="*/ 0 w 891"/>
                <a:gd name="T15" fmla="*/ 453 h 885"/>
                <a:gd name="T16" fmla="*/ 0 w 891"/>
                <a:gd name="T17" fmla="*/ 432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1" h="885">
                  <a:moveTo>
                    <a:pt x="0" y="432"/>
                  </a:moveTo>
                  <a:cubicBezTo>
                    <a:pt x="0" y="148"/>
                    <a:pt x="143" y="0"/>
                    <a:pt x="431" y="0"/>
                  </a:cubicBezTo>
                  <a:cubicBezTo>
                    <a:pt x="458" y="0"/>
                    <a:pt x="458" y="0"/>
                    <a:pt x="458" y="0"/>
                  </a:cubicBezTo>
                  <a:cubicBezTo>
                    <a:pt x="748" y="0"/>
                    <a:pt x="891" y="148"/>
                    <a:pt x="891" y="432"/>
                  </a:cubicBezTo>
                  <a:cubicBezTo>
                    <a:pt x="891" y="453"/>
                    <a:pt x="891" y="453"/>
                    <a:pt x="891" y="453"/>
                  </a:cubicBezTo>
                  <a:cubicBezTo>
                    <a:pt x="891" y="737"/>
                    <a:pt x="748" y="885"/>
                    <a:pt x="458" y="885"/>
                  </a:cubicBezTo>
                  <a:cubicBezTo>
                    <a:pt x="431" y="885"/>
                    <a:pt x="431" y="885"/>
                    <a:pt x="431" y="885"/>
                  </a:cubicBezTo>
                  <a:cubicBezTo>
                    <a:pt x="143" y="885"/>
                    <a:pt x="0" y="737"/>
                    <a:pt x="0" y="453"/>
                  </a:cubicBezTo>
                  <a:lnTo>
                    <a:pt x="0" y="432"/>
                  </a:lnTo>
                  <a:close/>
                </a:path>
              </a:pathLst>
            </a:custGeom>
            <a:solidFill>
              <a:srgbClr val="69AB4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D467EB94-E8D7-4072-9F58-E90D114BF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05" y="2057400"/>
              <a:ext cx="294146" cy="291372"/>
            </a:xfrm>
            <a:custGeom>
              <a:avLst/>
              <a:gdLst>
                <a:gd name="T0" fmla="*/ 0 w 891"/>
                <a:gd name="T1" fmla="*/ 432 h 885"/>
                <a:gd name="T2" fmla="*/ 431 w 891"/>
                <a:gd name="T3" fmla="*/ 0 h 885"/>
                <a:gd name="T4" fmla="*/ 458 w 891"/>
                <a:gd name="T5" fmla="*/ 0 h 885"/>
                <a:gd name="T6" fmla="*/ 891 w 891"/>
                <a:gd name="T7" fmla="*/ 432 h 885"/>
                <a:gd name="T8" fmla="*/ 891 w 891"/>
                <a:gd name="T9" fmla="*/ 453 h 885"/>
                <a:gd name="T10" fmla="*/ 458 w 891"/>
                <a:gd name="T11" fmla="*/ 885 h 885"/>
                <a:gd name="T12" fmla="*/ 431 w 891"/>
                <a:gd name="T13" fmla="*/ 885 h 885"/>
                <a:gd name="T14" fmla="*/ 0 w 891"/>
                <a:gd name="T15" fmla="*/ 453 h 885"/>
                <a:gd name="T16" fmla="*/ 0 w 891"/>
                <a:gd name="T17" fmla="*/ 432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1" h="885">
                  <a:moveTo>
                    <a:pt x="0" y="432"/>
                  </a:moveTo>
                  <a:cubicBezTo>
                    <a:pt x="0" y="148"/>
                    <a:pt x="143" y="0"/>
                    <a:pt x="431" y="0"/>
                  </a:cubicBezTo>
                  <a:cubicBezTo>
                    <a:pt x="458" y="0"/>
                    <a:pt x="458" y="0"/>
                    <a:pt x="458" y="0"/>
                  </a:cubicBezTo>
                  <a:cubicBezTo>
                    <a:pt x="748" y="0"/>
                    <a:pt x="891" y="148"/>
                    <a:pt x="891" y="432"/>
                  </a:cubicBezTo>
                  <a:cubicBezTo>
                    <a:pt x="891" y="453"/>
                    <a:pt x="891" y="453"/>
                    <a:pt x="891" y="453"/>
                  </a:cubicBezTo>
                  <a:cubicBezTo>
                    <a:pt x="891" y="737"/>
                    <a:pt x="748" y="885"/>
                    <a:pt x="458" y="885"/>
                  </a:cubicBezTo>
                  <a:cubicBezTo>
                    <a:pt x="431" y="885"/>
                    <a:pt x="431" y="885"/>
                    <a:pt x="431" y="885"/>
                  </a:cubicBezTo>
                  <a:cubicBezTo>
                    <a:pt x="143" y="885"/>
                    <a:pt x="0" y="737"/>
                    <a:pt x="0" y="453"/>
                  </a:cubicBez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600" b="1" dirty="0">
                  <a:solidFill>
                    <a:srgbClr val="69AB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27" name="Gruppieren 73">
            <a:extLst>
              <a:ext uri="{FF2B5EF4-FFF2-40B4-BE49-F238E27FC236}">
                <a16:creationId xmlns:a16="http://schemas.microsoft.com/office/drawing/2014/main" id="{D2FE0CAA-62E8-413A-9A91-FD013478926B}"/>
              </a:ext>
            </a:extLst>
          </p:cNvPr>
          <p:cNvGrpSpPr/>
          <p:nvPr/>
        </p:nvGrpSpPr>
        <p:grpSpPr>
          <a:xfrm>
            <a:off x="12352420" y="-1057208"/>
            <a:ext cx="521035" cy="517467"/>
            <a:chOff x="454317" y="1992630"/>
            <a:chExt cx="431003" cy="428051"/>
          </a:xfrm>
        </p:grpSpPr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9850EE17-3293-4C2B-BDF8-59B473151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17" y="1992630"/>
              <a:ext cx="431003" cy="428051"/>
            </a:xfrm>
            <a:custGeom>
              <a:avLst/>
              <a:gdLst>
                <a:gd name="T0" fmla="*/ 0 w 891"/>
                <a:gd name="T1" fmla="*/ 432 h 885"/>
                <a:gd name="T2" fmla="*/ 431 w 891"/>
                <a:gd name="T3" fmla="*/ 0 h 885"/>
                <a:gd name="T4" fmla="*/ 458 w 891"/>
                <a:gd name="T5" fmla="*/ 0 h 885"/>
                <a:gd name="T6" fmla="*/ 891 w 891"/>
                <a:gd name="T7" fmla="*/ 432 h 885"/>
                <a:gd name="T8" fmla="*/ 891 w 891"/>
                <a:gd name="T9" fmla="*/ 453 h 885"/>
                <a:gd name="T10" fmla="*/ 458 w 891"/>
                <a:gd name="T11" fmla="*/ 885 h 885"/>
                <a:gd name="T12" fmla="*/ 431 w 891"/>
                <a:gd name="T13" fmla="*/ 885 h 885"/>
                <a:gd name="T14" fmla="*/ 0 w 891"/>
                <a:gd name="T15" fmla="*/ 453 h 885"/>
                <a:gd name="T16" fmla="*/ 0 w 891"/>
                <a:gd name="T17" fmla="*/ 432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1" h="885">
                  <a:moveTo>
                    <a:pt x="0" y="432"/>
                  </a:moveTo>
                  <a:cubicBezTo>
                    <a:pt x="0" y="148"/>
                    <a:pt x="143" y="0"/>
                    <a:pt x="431" y="0"/>
                  </a:cubicBezTo>
                  <a:cubicBezTo>
                    <a:pt x="458" y="0"/>
                    <a:pt x="458" y="0"/>
                    <a:pt x="458" y="0"/>
                  </a:cubicBezTo>
                  <a:cubicBezTo>
                    <a:pt x="748" y="0"/>
                    <a:pt x="891" y="148"/>
                    <a:pt x="891" y="432"/>
                  </a:cubicBezTo>
                  <a:cubicBezTo>
                    <a:pt x="891" y="453"/>
                    <a:pt x="891" y="453"/>
                    <a:pt x="891" y="453"/>
                  </a:cubicBezTo>
                  <a:cubicBezTo>
                    <a:pt x="891" y="737"/>
                    <a:pt x="748" y="885"/>
                    <a:pt x="458" y="885"/>
                  </a:cubicBezTo>
                  <a:cubicBezTo>
                    <a:pt x="431" y="885"/>
                    <a:pt x="431" y="885"/>
                    <a:pt x="431" y="885"/>
                  </a:cubicBezTo>
                  <a:cubicBezTo>
                    <a:pt x="143" y="885"/>
                    <a:pt x="0" y="737"/>
                    <a:pt x="0" y="453"/>
                  </a:cubicBezTo>
                  <a:lnTo>
                    <a:pt x="0" y="432"/>
                  </a:lnTo>
                  <a:close/>
                </a:path>
              </a:pathLst>
            </a:custGeom>
            <a:solidFill>
              <a:srgbClr val="0875B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368F5357-4EAF-4093-9511-C0A25CD74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105" y="2057400"/>
              <a:ext cx="294146" cy="291372"/>
            </a:xfrm>
            <a:custGeom>
              <a:avLst/>
              <a:gdLst>
                <a:gd name="T0" fmla="*/ 0 w 891"/>
                <a:gd name="T1" fmla="*/ 432 h 885"/>
                <a:gd name="T2" fmla="*/ 431 w 891"/>
                <a:gd name="T3" fmla="*/ 0 h 885"/>
                <a:gd name="T4" fmla="*/ 458 w 891"/>
                <a:gd name="T5" fmla="*/ 0 h 885"/>
                <a:gd name="T6" fmla="*/ 891 w 891"/>
                <a:gd name="T7" fmla="*/ 432 h 885"/>
                <a:gd name="T8" fmla="*/ 891 w 891"/>
                <a:gd name="T9" fmla="*/ 453 h 885"/>
                <a:gd name="T10" fmla="*/ 458 w 891"/>
                <a:gd name="T11" fmla="*/ 885 h 885"/>
                <a:gd name="T12" fmla="*/ 431 w 891"/>
                <a:gd name="T13" fmla="*/ 885 h 885"/>
                <a:gd name="T14" fmla="*/ 0 w 891"/>
                <a:gd name="T15" fmla="*/ 453 h 885"/>
                <a:gd name="T16" fmla="*/ 0 w 891"/>
                <a:gd name="T17" fmla="*/ 432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1" h="885">
                  <a:moveTo>
                    <a:pt x="0" y="432"/>
                  </a:moveTo>
                  <a:cubicBezTo>
                    <a:pt x="0" y="148"/>
                    <a:pt x="143" y="0"/>
                    <a:pt x="431" y="0"/>
                  </a:cubicBezTo>
                  <a:cubicBezTo>
                    <a:pt x="458" y="0"/>
                    <a:pt x="458" y="0"/>
                    <a:pt x="458" y="0"/>
                  </a:cubicBezTo>
                  <a:cubicBezTo>
                    <a:pt x="748" y="0"/>
                    <a:pt x="891" y="148"/>
                    <a:pt x="891" y="432"/>
                  </a:cubicBezTo>
                  <a:cubicBezTo>
                    <a:pt x="891" y="453"/>
                    <a:pt x="891" y="453"/>
                    <a:pt x="891" y="453"/>
                  </a:cubicBezTo>
                  <a:cubicBezTo>
                    <a:pt x="891" y="737"/>
                    <a:pt x="748" y="885"/>
                    <a:pt x="458" y="885"/>
                  </a:cubicBezTo>
                  <a:cubicBezTo>
                    <a:pt x="431" y="885"/>
                    <a:pt x="431" y="885"/>
                    <a:pt x="431" y="885"/>
                  </a:cubicBezTo>
                  <a:cubicBezTo>
                    <a:pt x="143" y="885"/>
                    <a:pt x="0" y="737"/>
                    <a:pt x="0" y="453"/>
                  </a:cubicBezTo>
                  <a:lnTo>
                    <a:pt x="0" y="4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600" b="1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3" name="Заголовок 1"/>
          <p:cNvSpPr txBox="1">
            <a:spLocks/>
          </p:cNvSpPr>
          <p:nvPr/>
        </p:nvSpPr>
        <p:spPr>
          <a:xfrm>
            <a:off x="419686" y="415824"/>
            <a:ext cx="11025062" cy="4741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тать стипендиатом или сотрудником Юнипро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953422F-2784-49A4-9A5D-D4591A3AF921}"/>
              </a:ext>
            </a:extLst>
          </p:cNvPr>
          <p:cNvSpPr/>
          <p:nvPr/>
        </p:nvSpPr>
        <p:spPr>
          <a:xfrm>
            <a:off x="7710390" y="5701297"/>
            <a:ext cx="26003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lvl="1" indent="-112713" defTabSz="10191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5493B"/>
              </a:buClr>
              <a:defRPr/>
            </a:pPr>
            <a:r>
              <a:rPr lang="ru-RU" sz="20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лать </a:t>
            </a:r>
          </a:p>
          <a:p>
            <a:pPr marL="114300" lvl="1" indent="-112713" defTabSz="10191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F5493B"/>
              </a:buClr>
              <a:defRPr/>
            </a:pPr>
            <a:r>
              <a:rPr lang="ru-RU" sz="20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юме</a:t>
            </a:r>
            <a:endParaRPr lang="en-US" sz="20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338" name="Picture 2" descr="http://qrcoder.ru/code/?hr%40unipro.energy&amp;4&amp;0">
            <a:extLst>
              <a:ext uri="{FF2B5EF4-FFF2-40B4-BE49-F238E27FC236}">
                <a16:creationId xmlns:a16="http://schemas.microsoft.com/office/drawing/2014/main" id="{3EEFD5AE-2AAC-4915-B9A0-5930530C3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3076" y="5184876"/>
            <a:ext cx="1257300" cy="125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pieren 36">
            <a:extLst>
              <a:ext uri="{FF2B5EF4-FFF2-40B4-BE49-F238E27FC236}">
                <a16:creationId xmlns:a16="http://schemas.microsoft.com/office/drawing/2014/main" id="{C7AFE028-A3A7-4A2B-9CB3-7022C9562F56}"/>
              </a:ext>
            </a:extLst>
          </p:cNvPr>
          <p:cNvGrpSpPr/>
          <p:nvPr/>
        </p:nvGrpSpPr>
        <p:grpSpPr>
          <a:xfrm>
            <a:off x="977773" y="2403046"/>
            <a:ext cx="3612020" cy="1283570"/>
            <a:chOff x="506730" y="1015683"/>
            <a:chExt cx="2657645" cy="971560"/>
          </a:xfrm>
        </p:grpSpPr>
        <p:grpSp>
          <p:nvGrpSpPr>
            <p:cNvPr id="34" name="Gruppieren 27">
              <a:extLst>
                <a:ext uri="{FF2B5EF4-FFF2-40B4-BE49-F238E27FC236}">
                  <a16:creationId xmlns:a16="http://schemas.microsoft.com/office/drawing/2014/main" id="{AE512375-0096-4D80-A6A9-2DAF8278F6FD}"/>
                </a:ext>
              </a:extLst>
            </p:cNvPr>
            <p:cNvGrpSpPr/>
            <p:nvPr/>
          </p:nvGrpSpPr>
          <p:grpSpPr>
            <a:xfrm>
              <a:off x="506730" y="1046162"/>
              <a:ext cx="943610" cy="941081"/>
              <a:chOff x="506730" y="1046162"/>
              <a:chExt cx="943610" cy="941081"/>
            </a:xfrm>
          </p:grpSpPr>
          <p:sp>
            <p:nvSpPr>
              <p:cNvPr id="41" name="Rechteck 4">
                <a:extLst>
                  <a:ext uri="{FF2B5EF4-FFF2-40B4-BE49-F238E27FC236}">
                    <a16:creationId xmlns:a16="http://schemas.microsoft.com/office/drawing/2014/main" id="{5C49669B-74D3-4AA2-8B45-BE10AD173142}"/>
                  </a:ext>
                </a:extLst>
              </p:cNvPr>
              <p:cNvSpPr/>
              <p:nvPr/>
            </p:nvSpPr>
            <p:spPr>
              <a:xfrm>
                <a:off x="506730" y="1051243"/>
                <a:ext cx="936000" cy="936000"/>
              </a:xfrm>
              <a:prstGeom prst="rect">
                <a:avLst/>
              </a:prstGeom>
              <a:solidFill>
                <a:srgbClr val="ED8C1C"/>
              </a:solidFill>
              <a:ln w="25400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 dirty="0"/>
              </a:p>
            </p:txBody>
          </p:sp>
          <p:pic>
            <p:nvPicPr>
              <p:cNvPr id="42" name="Grafik 26">
                <a:extLst>
                  <a:ext uri="{FF2B5EF4-FFF2-40B4-BE49-F238E27FC236}">
                    <a16:creationId xmlns:a16="http://schemas.microsoft.com/office/drawing/2014/main" id="{1132D9FC-1F4C-439F-91B4-DCFBECE0B8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102" r="32144" b="14923"/>
              <a:stretch/>
            </p:blipFill>
            <p:spPr>
              <a:xfrm>
                <a:off x="820165" y="1046162"/>
                <a:ext cx="630175" cy="940753"/>
              </a:xfrm>
              <a:prstGeom prst="rect">
                <a:avLst/>
              </a:prstGeom>
            </p:spPr>
          </p:pic>
        </p:grpSp>
        <p:sp>
          <p:nvSpPr>
            <p:cNvPr id="40" name="Rechteck 35">
              <a:extLst>
                <a:ext uri="{FF2B5EF4-FFF2-40B4-BE49-F238E27FC236}">
                  <a16:creationId xmlns:a16="http://schemas.microsoft.com/office/drawing/2014/main" id="{7FF75003-29F4-46B7-BFEF-0FAB23FBAF56}"/>
                </a:ext>
              </a:extLst>
            </p:cNvPr>
            <p:cNvSpPr/>
            <p:nvPr/>
          </p:nvSpPr>
          <p:spPr>
            <a:xfrm>
              <a:off x="1539485" y="1015683"/>
              <a:ext cx="1624890" cy="9360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0078DC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правь резюме на электронный адрес </a:t>
              </a:r>
              <a:r>
                <a:rPr lang="ru-RU" b="1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r@unipro.energy </a:t>
              </a:r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указанием в теме письма</a:t>
              </a:r>
            </a:p>
            <a:p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Стипендиальная программа» или «Молодой специалист работа», «Студент на практику»</a:t>
              </a:r>
              <a:endParaRPr lang="de-DE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82F03A03-7E3F-40F0-BA83-2B502174C5CA}"/>
              </a:ext>
            </a:extLst>
          </p:cNvPr>
          <p:cNvGrpSpPr/>
          <p:nvPr/>
        </p:nvGrpSpPr>
        <p:grpSpPr>
          <a:xfrm>
            <a:off x="4790738" y="2360694"/>
            <a:ext cx="3256506" cy="1278942"/>
            <a:chOff x="506730" y="2196783"/>
            <a:chExt cx="2396065" cy="968057"/>
          </a:xfrm>
        </p:grpSpPr>
        <p:grpSp>
          <p:nvGrpSpPr>
            <p:cNvPr id="45" name="Gruppieren 28">
              <a:extLst>
                <a:ext uri="{FF2B5EF4-FFF2-40B4-BE49-F238E27FC236}">
                  <a16:creationId xmlns:a16="http://schemas.microsoft.com/office/drawing/2014/main" id="{3B300E0A-713E-4F6A-BCB2-EF604FC17AD0}"/>
                </a:ext>
              </a:extLst>
            </p:cNvPr>
            <p:cNvGrpSpPr/>
            <p:nvPr/>
          </p:nvGrpSpPr>
          <p:grpSpPr>
            <a:xfrm>
              <a:off x="506730" y="2228840"/>
              <a:ext cx="941008" cy="936000"/>
              <a:chOff x="506730" y="2175500"/>
              <a:chExt cx="941008" cy="936000"/>
            </a:xfrm>
          </p:grpSpPr>
          <p:sp>
            <p:nvSpPr>
              <p:cNvPr id="47" name="Rechteck 7">
                <a:extLst>
                  <a:ext uri="{FF2B5EF4-FFF2-40B4-BE49-F238E27FC236}">
                    <a16:creationId xmlns:a16="http://schemas.microsoft.com/office/drawing/2014/main" id="{2A5A7840-9F41-44B1-89CF-ED3DFF7607B4}"/>
                  </a:ext>
                </a:extLst>
              </p:cNvPr>
              <p:cNvSpPr/>
              <p:nvPr/>
            </p:nvSpPr>
            <p:spPr>
              <a:xfrm>
                <a:off x="506730" y="2175500"/>
                <a:ext cx="936000" cy="936000"/>
              </a:xfrm>
              <a:prstGeom prst="rect">
                <a:avLst/>
              </a:prstGeom>
              <a:solidFill>
                <a:srgbClr val="69AB46"/>
              </a:solidFill>
              <a:ln w="25400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00"/>
              </a:p>
            </p:txBody>
          </p:sp>
          <p:pic>
            <p:nvPicPr>
              <p:cNvPr id="48" name="Grafik 24">
                <a:extLst>
                  <a:ext uri="{FF2B5EF4-FFF2-40B4-BE49-F238E27FC236}">
                    <a16:creationId xmlns:a16="http://schemas.microsoft.com/office/drawing/2014/main" id="{44A0379D-7B73-4E0A-A72A-5496B5DE8C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609" r="35046" b="2035"/>
              <a:stretch/>
            </p:blipFill>
            <p:spPr>
              <a:xfrm>
                <a:off x="925768" y="2175509"/>
                <a:ext cx="521970" cy="935991"/>
              </a:xfrm>
              <a:prstGeom prst="rect">
                <a:avLst/>
              </a:prstGeom>
            </p:spPr>
          </p:pic>
        </p:grpSp>
        <p:sp>
          <p:nvSpPr>
            <p:cNvPr id="46" name="Rechteck 40">
              <a:extLst>
                <a:ext uri="{FF2B5EF4-FFF2-40B4-BE49-F238E27FC236}">
                  <a16:creationId xmlns:a16="http://schemas.microsoft.com/office/drawing/2014/main" id="{558223FC-D987-4323-9375-A7820F64F019}"/>
                </a:ext>
              </a:extLst>
            </p:cNvPr>
            <p:cNvSpPr/>
            <p:nvPr/>
          </p:nvSpPr>
          <p:spPr>
            <a:xfrm>
              <a:off x="1534404" y="2196783"/>
              <a:ext cx="1368391" cy="9360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rgbClr val="0078DC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йди отбор: конкурс резюме, телефонное интервью и онлайн-тестирование</a:t>
              </a:r>
            </a:p>
            <a:p>
              <a:endParaRPr lang="de-DE" sz="1200" dirty="0">
                <a:solidFill>
                  <a:srgbClr val="5E5E5E"/>
                </a:solidFill>
              </a:endParaRP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9411163-B5B7-417E-B941-278788B88EC1}"/>
              </a:ext>
            </a:extLst>
          </p:cNvPr>
          <p:cNvGrpSpPr/>
          <p:nvPr/>
        </p:nvGrpSpPr>
        <p:grpSpPr>
          <a:xfrm>
            <a:off x="8351721" y="2409325"/>
            <a:ext cx="1272488" cy="1237454"/>
            <a:chOff x="8351721" y="2409325"/>
            <a:chExt cx="1272488" cy="1237454"/>
          </a:xfrm>
        </p:grpSpPr>
        <p:sp>
          <p:nvSpPr>
            <p:cNvPr id="50" name="Rechteck 11">
              <a:extLst>
                <a:ext uri="{FF2B5EF4-FFF2-40B4-BE49-F238E27FC236}">
                  <a16:creationId xmlns:a16="http://schemas.microsoft.com/office/drawing/2014/main" id="{08EC8AE3-ED0B-4362-B301-468ABB58DCB8}"/>
                </a:ext>
              </a:extLst>
            </p:cNvPr>
            <p:cNvSpPr/>
            <p:nvPr/>
          </p:nvSpPr>
          <p:spPr>
            <a:xfrm>
              <a:off x="8351721" y="2409325"/>
              <a:ext cx="1272124" cy="1236590"/>
            </a:xfrm>
            <a:prstGeom prst="rect">
              <a:avLst/>
            </a:prstGeom>
            <a:solidFill>
              <a:srgbClr val="DE3A6B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/>
            </a:p>
          </p:txBody>
        </p:sp>
        <p:pic>
          <p:nvPicPr>
            <p:cNvPr id="51" name="Grafik 30">
              <a:extLst>
                <a:ext uri="{FF2B5EF4-FFF2-40B4-BE49-F238E27FC236}">
                  <a16:creationId xmlns:a16="http://schemas.microsoft.com/office/drawing/2014/main" id="{A71A2F76-815C-485B-B1FE-BC0D4D144F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13085" r="35051" b="8212"/>
            <a:stretch/>
          </p:blipFill>
          <p:spPr>
            <a:xfrm>
              <a:off x="8836840" y="2410189"/>
              <a:ext cx="787369" cy="1236590"/>
            </a:xfrm>
            <a:prstGeom prst="rect">
              <a:avLst/>
            </a:prstGeom>
            <a:solidFill>
              <a:srgbClr val="DE3A6B"/>
            </a:solidFill>
          </p:spPr>
        </p:pic>
      </p:grpSp>
      <p:sp>
        <p:nvSpPr>
          <p:cNvPr id="52" name="Rechteck 46">
            <a:extLst>
              <a:ext uri="{FF2B5EF4-FFF2-40B4-BE49-F238E27FC236}">
                <a16:creationId xmlns:a16="http://schemas.microsoft.com/office/drawing/2014/main" id="{B1DDF436-620F-43CE-9280-B2DBE57D8ECC}"/>
              </a:ext>
            </a:extLst>
          </p:cNvPr>
          <p:cNvSpPr/>
          <p:nvPr/>
        </p:nvSpPr>
        <p:spPr>
          <a:xfrm>
            <a:off x="9733450" y="2367392"/>
            <a:ext cx="2001128" cy="12365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rgbClr val="0078DC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 предложение о стажировке, участии в стипендиальной программе  или работе</a:t>
            </a:r>
            <a:endParaRPr lang="de-DE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200" dirty="0">
              <a:solidFill>
                <a:srgbClr val="5E5E5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97125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419686" y="415824"/>
            <a:ext cx="8392718" cy="4741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800" b="1" dirty="0">
                <a:solidFill>
                  <a:srgbClr val="0078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е интересное о Юнипро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48DA33-E5FD-4298-B38A-34E6F947B64C}"/>
              </a:ext>
            </a:extLst>
          </p:cNvPr>
          <p:cNvSpPr/>
          <p:nvPr/>
        </p:nvSpPr>
        <p:spPr>
          <a:xfrm>
            <a:off x="5668159" y="566678"/>
            <a:ext cx="5584371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chemeClr val="accent2"/>
              </a:solidFill>
              <a:cs typeface="Arial" panose="020B0604020202020204" pitchFamily="34" charset="0"/>
            </a:endParaRPr>
          </a:p>
          <a:p>
            <a:r>
              <a:rPr lang="ru-RU" sz="2400" b="1" dirty="0">
                <a:solidFill>
                  <a:srgbClr val="FFE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о компании в онлайн-журнале «Юнипро Мегаватт»! </a:t>
            </a:r>
          </a:p>
          <a:p>
            <a:pPr eaLnBrk="0" fontAlgn="base" hangingPunct="0">
              <a:spcBef>
                <a:spcPts val="600"/>
              </a:spcBef>
              <a:spcAft>
                <a:spcPts val="600"/>
              </a:spcAft>
              <a:defRPr/>
            </a:pPr>
            <a:endParaRPr lang="ru-RU" sz="2400" b="1" dirty="0">
              <a:solidFill>
                <a:srgbClr val="FFEA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400" b="1" dirty="0">
                <a:solidFill>
                  <a:srgbClr val="FFE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йте на сайте </a:t>
            </a:r>
            <a:r>
              <a:rPr lang="en-US" sz="2400" b="1" dirty="0" err="1">
                <a:solidFill>
                  <a:srgbClr val="FFE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w.unipro.energy</a:t>
            </a:r>
            <a:r>
              <a:rPr lang="en-US" sz="2400" b="1" dirty="0">
                <a:solidFill>
                  <a:srgbClr val="FFE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42900" indent="-342900" eaLnBrk="0" fontAlgn="base" hangingPunct="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нды и новости энергетики</a:t>
            </a:r>
          </a:p>
          <a:p>
            <a:pPr marL="342900" indent="-342900" eaLnBrk="0" fontAlgn="base" hangingPunct="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сти Юнипро и аналитика</a:t>
            </a:r>
          </a:p>
          <a:p>
            <a:pPr marL="342900" indent="-342900" eaLnBrk="0" fontAlgn="base" hangingPunct="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онные идеи и  передовые технологии</a:t>
            </a:r>
          </a:p>
          <a:p>
            <a:pPr marL="342900" indent="-342900" eaLnBrk="0" fontAlgn="base" hangingPunct="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репортажи с места событий</a:t>
            </a:r>
          </a:p>
          <a:p>
            <a:pPr marL="342900" indent="-342900" eaLnBrk="0" fontAlgn="base" hangingPunct="0"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вью и многое другое</a:t>
            </a:r>
          </a:p>
          <a:p>
            <a:pPr marL="342900" indent="-34290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endParaRPr lang="en-US" sz="24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D6EA10B-CC6C-488E-A602-A7114E12F0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4667" r="869" b="21000"/>
          <a:stretch/>
        </p:blipFill>
        <p:spPr>
          <a:xfrm>
            <a:off x="0" y="0"/>
            <a:ext cx="5086350" cy="686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413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03CF3D5-84E6-41D8-888F-112076EDB0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6E6445D-B892-476F-B820-47408203B3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89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0960"/>
            <a:ext cx="12192000" cy="6921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1C44D17-FB69-4C94-A735-07E5C763FE03}"/>
              </a:ext>
            </a:extLst>
          </p:cNvPr>
          <p:cNvSpPr/>
          <p:nvPr/>
        </p:nvSpPr>
        <p:spPr>
          <a:xfrm>
            <a:off x="11731425" y="6414443"/>
            <a:ext cx="342592" cy="346593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08E17D2A-AFBC-4F0E-BCD5-CE0EB90463A4}"/>
              </a:ext>
            </a:extLst>
          </p:cNvPr>
          <p:cNvGrpSpPr/>
          <p:nvPr/>
        </p:nvGrpSpPr>
        <p:grpSpPr>
          <a:xfrm>
            <a:off x="292609" y="329184"/>
            <a:ext cx="5003099" cy="957393"/>
            <a:chOff x="401057" y="440944"/>
            <a:chExt cx="4957045" cy="937628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65C52ABB-4481-4849-9E42-2C697FE0D413}"/>
                </a:ext>
              </a:extLst>
            </p:cNvPr>
            <p:cNvSpPr/>
            <p:nvPr/>
          </p:nvSpPr>
          <p:spPr>
            <a:xfrm>
              <a:off x="401057" y="440944"/>
              <a:ext cx="4957045" cy="937628"/>
            </a:xfrm>
            <a:prstGeom prst="rect">
              <a:avLst/>
            </a:prstGeom>
            <a:solidFill>
              <a:srgbClr val="007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4" name="Текст 1">
              <a:extLst>
                <a:ext uri="{FF2B5EF4-FFF2-40B4-BE49-F238E27FC236}">
                  <a16:creationId xmlns:a16="http://schemas.microsoft.com/office/drawing/2014/main" id="{9AB4E0A1-BAF7-40DE-9D04-41B01C8B0B86}"/>
                </a:ext>
              </a:extLst>
            </p:cNvPr>
            <p:cNvSpPr txBox="1">
              <a:spLocks/>
            </p:cNvSpPr>
            <p:nvPr/>
          </p:nvSpPr>
          <p:spPr>
            <a:xfrm>
              <a:off x="740928" y="511031"/>
              <a:ext cx="4453371" cy="755457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defPPr>
                <a:defRPr lang="ru-RU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3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 компании </a:t>
              </a:r>
              <a:r>
                <a:rPr lang="ru-RU" sz="32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нипро</a:t>
              </a:r>
              <a:endPara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62DDBA2-A51E-4279-8E0B-CF90B036C667}"/>
              </a:ext>
            </a:extLst>
          </p:cNvPr>
          <p:cNvGrpSpPr/>
          <p:nvPr/>
        </p:nvGrpSpPr>
        <p:grpSpPr>
          <a:xfrm>
            <a:off x="7355973" y="1482049"/>
            <a:ext cx="3917832" cy="4636345"/>
            <a:chOff x="7399402" y="1591029"/>
            <a:chExt cx="3881768" cy="4540632"/>
          </a:xfrm>
        </p:grpSpPr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065340C1-52BC-4FE3-A9CE-C17A45B3D3FE}"/>
                </a:ext>
              </a:extLst>
            </p:cNvPr>
            <p:cNvGrpSpPr/>
            <p:nvPr/>
          </p:nvGrpSpPr>
          <p:grpSpPr>
            <a:xfrm>
              <a:off x="7399402" y="1591029"/>
              <a:ext cx="3857498" cy="1265646"/>
              <a:chOff x="7399402" y="764322"/>
              <a:chExt cx="3857498" cy="1265646"/>
            </a:xfrm>
          </p:grpSpPr>
          <p:sp>
            <p:nvSpPr>
              <p:cNvPr id="37" name="Прямоугольник 36">
                <a:extLst>
                  <a:ext uri="{FF2B5EF4-FFF2-40B4-BE49-F238E27FC236}">
                    <a16:creationId xmlns:a16="http://schemas.microsoft.com/office/drawing/2014/main" id="{53C6BD31-3BC9-49B5-8489-B2F4C79F1EE2}"/>
                  </a:ext>
                </a:extLst>
              </p:cNvPr>
              <p:cNvSpPr/>
              <p:nvPr/>
            </p:nvSpPr>
            <p:spPr>
              <a:xfrm>
                <a:off x="7447946" y="764322"/>
                <a:ext cx="3808954" cy="12656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Прямоугольник 37">
                <a:extLst>
                  <a:ext uri="{FF2B5EF4-FFF2-40B4-BE49-F238E27FC236}">
                    <a16:creationId xmlns:a16="http://schemas.microsoft.com/office/drawing/2014/main" id="{6094FB4B-2B84-43E0-9758-607FEFDA454A}"/>
                  </a:ext>
                </a:extLst>
              </p:cNvPr>
              <p:cNvSpPr/>
              <p:nvPr/>
            </p:nvSpPr>
            <p:spPr>
              <a:xfrm rot="16200000">
                <a:off x="7037822" y="1350647"/>
                <a:ext cx="820247" cy="97087"/>
              </a:xfrm>
              <a:prstGeom prst="rect">
                <a:avLst/>
              </a:prstGeom>
              <a:solidFill>
                <a:srgbClr val="69AB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grpSp>
            <p:nvGrpSpPr>
              <p:cNvPr id="39" name="Группа 38">
                <a:extLst>
                  <a:ext uri="{FF2B5EF4-FFF2-40B4-BE49-F238E27FC236}">
                    <a16:creationId xmlns:a16="http://schemas.microsoft.com/office/drawing/2014/main" id="{CE9C3BC0-3488-4F52-A6AE-CB9EC2E2E8E4}"/>
                  </a:ext>
                </a:extLst>
              </p:cNvPr>
              <p:cNvGrpSpPr/>
              <p:nvPr/>
            </p:nvGrpSpPr>
            <p:grpSpPr>
              <a:xfrm>
                <a:off x="8013512" y="955809"/>
                <a:ext cx="2868258" cy="853505"/>
                <a:chOff x="7242591" y="1712253"/>
                <a:chExt cx="2868258" cy="853505"/>
              </a:xfrm>
            </p:grpSpPr>
            <p:sp>
              <p:nvSpPr>
                <p:cNvPr id="41" name="Прямоугольник 40">
                  <a:extLst>
                    <a:ext uri="{FF2B5EF4-FFF2-40B4-BE49-F238E27FC236}">
                      <a16:creationId xmlns:a16="http://schemas.microsoft.com/office/drawing/2014/main" id="{0014E2A5-F47A-4529-957D-87FC4316741F}"/>
                    </a:ext>
                  </a:extLst>
                </p:cNvPr>
                <p:cNvSpPr/>
                <p:nvPr/>
              </p:nvSpPr>
              <p:spPr>
                <a:xfrm>
                  <a:off x="7242591" y="1712253"/>
                  <a:ext cx="2868258" cy="70788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8DC"/>
                      </a:solidFill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4500 чел.</a:t>
                  </a:r>
                  <a:endParaRPr kumimoji="0" lang="ru-RU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C"/>
                    </a:solidFill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Текст 2">
                  <a:extLst>
                    <a:ext uri="{FF2B5EF4-FFF2-40B4-BE49-F238E27FC236}">
                      <a16:creationId xmlns:a16="http://schemas.microsoft.com/office/drawing/2014/main" id="{1559A0B2-5EDD-4A5F-8DA3-386797661D40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242591" y="2265973"/>
                  <a:ext cx="2520315" cy="299785"/>
                </a:xfrm>
                <a:prstGeom prst="rect">
                  <a:avLst/>
                </a:prstGeom>
              </p:spPr>
              <p:txBody>
                <a:bodyPr/>
                <a:lstStyle>
                  <a:lvl1pPr marL="180975" indent="-180975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Clr>
                      <a:srgbClr val="0078DC"/>
                    </a:buClr>
                    <a:buFont typeface="Arial" panose="020B0604020202020204" pitchFamily="34" charset="0"/>
                    <a:buChar char="•"/>
                    <a:defRPr kumimoji="0" lang="ru-RU" sz="1800" b="0" i="0" u="none" strike="noStrike" kern="1200" cap="none" spc="0" normalizeH="0" baseline="0" dirty="0" smtClean="0">
                      <a:ln>
                        <a:noFill/>
                      </a:ln>
                      <a:solidFill>
                        <a:srgbClr val="5E5E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0"/>
                    </a:spcAft>
                    <a:buClr>
                      <a:srgbClr val="0078DC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078DC"/>
                      </a:solidFill>
                    </a:rPr>
                    <a:t>к</a:t>
                  </a:r>
                  <a:r>
                    <a:rPr kumimoji="0" lang="ru-RU" sz="14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8DC"/>
                      </a:solidFill>
                      <a:uLnTx/>
                      <a:uFillTx/>
                    </a:rPr>
                    <a:t>оличество сотрудников</a:t>
                  </a:r>
                </a:p>
              </p:txBody>
            </p:sp>
          </p:grpSp>
          <p:pic>
            <p:nvPicPr>
              <p:cNvPr id="40" name="Рисунок 39">
                <a:extLst>
                  <a:ext uri="{FF2B5EF4-FFF2-40B4-BE49-F238E27FC236}">
                    <a16:creationId xmlns:a16="http://schemas.microsoft.com/office/drawing/2014/main" id="{8F084A49-88F3-49FE-9552-7C75575FA5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56052" y="888759"/>
                <a:ext cx="273509" cy="270421"/>
              </a:xfrm>
              <a:prstGeom prst="rect">
                <a:avLst/>
              </a:prstGeom>
            </p:spPr>
          </p:pic>
        </p:grp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1DC51718-38C7-4C98-BEC4-EB5799E7385F}"/>
                </a:ext>
              </a:extLst>
            </p:cNvPr>
            <p:cNvGrpSpPr/>
            <p:nvPr/>
          </p:nvGrpSpPr>
          <p:grpSpPr>
            <a:xfrm>
              <a:off x="7399402" y="3228522"/>
              <a:ext cx="3857497" cy="1265646"/>
              <a:chOff x="7399402" y="2750186"/>
              <a:chExt cx="3857497" cy="1265646"/>
            </a:xfrm>
          </p:grpSpPr>
          <p:sp>
            <p:nvSpPr>
              <p:cNvPr id="31" name="Прямоугольник 30">
                <a:extLst>
                  <a:ext uri="{FF2B5EF4-FFF2-40B4-BE49-F238E27FC236}">
                    <a16:creationId xmlns:a16="http://schemas.microsoft.com/office/drawing/2014/main" id="{6F9BF484-FD6C-4B54-BFA8-D893841D8DA1}"/>
                  </a:ext>
                </a:extLst>
              </p:cNvPr>
              <p:cNvSpPr/>
              <p:nvPr/>
            </p:nvSpPr>
            <p:spPr>
              <a:xfrm>
                <a:off x="7447945" y="2750186"/>
                <a:ext cx="3808954" cy="126564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2" name="Группа 31">
                <a:extLst>
                  <a:ext uri="{FF2B5EF4-FFF2-40B4-BE49-F238E27FC236}">
                    <a16:creationId xmlns:a16="http://schemas.microsoft.com/office/drawing/2014/main" id="{824D0121-3A2A-416A-8C7A-E8730D6781E8}"/>
                  </a:ext>
                </a:extLst>
              </p:cNvPr>
              <p:cNvGrpSpPr/>
              <p:nvPr/>
            </p:nvGrpSpPr>
            <p:grpSpPr>
              <a:xfrm>
                <a:off x="8013512" y="2936099"/>
                <a:ext cx="2868258" cy="848742"/>
                <a:chOff x="7268309" y="1692972"/>
                <a:chExt cx="2868258" cy="848742"/>
              </a:xfrm>
            </p:grpSpPr>
            <p:sp>
              <p:nvSpPr>
                <p:cNvPr id="35" name="Прямоугольник 34">
                  <a:extLst>
                    <a:ext uri="{FF2B5EF4-FFF2-40B4-BE49-F238E27FC236}">
                      <a16:creationId xmlns:a16="http://schemas.microsoft.com/office/drawing/2014/main" id="{09D4D754-F5BE-42E9-A4F5-AD1650718194}"/>
                    </a:ext>
                  </a:extLst>
                </p:cNvPr>
                <p:cNvSpPr/>
                <p:nvPr/>
              </p:nvSpPr>
              <p:spPr>
                <a:xfrm>
                  <a:off x="7268309" y="1692972"/>
                  <a:ext cx="2868258" cy="70788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4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8DC"/>
                      </a:solidFill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5 ГРЭС</a:t>
                  </a:r>
                  <a:endParaRPr kumimoji="0" lang="ru-RU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8DC"/>
                    </a:solidFill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Текст 2">
                  <a:extLst>
                    <a:ext uri="{FF2B5EF4-FFF2-40B4-BE49-F238E27FC236}">
                      <a16:creationId xmlns:a16="http://schemas.microsoft.com/office/drawing/2014/main" id="{93A2132D-D700-4D96-8155-C4B1FE0CC01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315743" y="2241929"/>
                  <a:ext cx="2520315" cy="299785"/>
                </a:xfrm>
                <a:prstGeom prst="rect">
                  <a:avLst/>
                </a:prstGeom>
              </p:spPr>
              <p:txBody>
                <a:bodyPr/>
                <a:lstStyle>
                  <a:lvl1pPr marL="180975" indent="-180975" algn="l" defTabSz="914400" rtl="0" eaLnBrk="1" latinLnBrk="0" hangingPunct="1">
                    <a:lnSpc>
                      <a:spcPct val="90000"/>
                    </a:lnSpc>
                    <a:spcBef>
                      <a:spcPts val="1000"/>
                    </a:spcBef>
                    <a:buClr>
                      <a:srgbClr val="0078DC"/>
                    </a:buClr>
                    <a:buFont typeface="Arial" panose="020B0604020202020204" pitchFamily="34" charset="0"/>
                    <a:buChar char="•"/>
                    <a:defRPr kumimoji="0" lang="ru-RU" sz="1800" b="0" i="0" u="none" strike="noStrike" kern="1200" cap="none" spc="0" normalizeH="0" baseline="0" dirty="0" smtClean="0">
                      <a:ln>
                        <a:noFill/>
                      </a:ln>
                      <a:solidFill>
                        <a:srgbClr val="5E5E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0"/>
                    </a:spcAft>
                    <a:buClr>
                      <a:srgbClr val="0078DC"/>
                    </a:buClr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ru-RU" sz="14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8DC"/>
                      </a:solidFill>
                      <a:uLnTx/>
                      <a:uFillTx/>
                    </a:rPr>
                    <a:t>в активе компании</a:t>
                  </a:r>
                </a:p>
              </p:txBody>
            </p:sp>
          </p:grpSp>
          <p:sp>
            <p:nvSpPr>
              <p:cNvPr id="33" name="Прямоугольник 32">
                <a:extLst>
                  <a:ext uri="{FF2B5EF4-FFF2-40B4-BE49-F238E27FC236}">
                    <a16:creationId xmlns:a16="http://schemas.microsoft.com/office/drawing/2014/main" id="{B49638AE-4A82-4036-AFD9-906C61E89E5D}"/>
                  </a:ext>
                </a:extLst>
              </p:cNvPr>
              <p:cNvSpPr/>
              <p:nvPr/>
            </p:nvSpPr>
            <p:spPr>
              <a:xfrm rot="16200000">
                <a:off x="7037822" y="3380456"/>
                <a:ext cx="820247" cy="97087"/>
              </a:xfrm>
              <a:prstGeom prst="rect">
                <a:avLst/>
              </a:prstGeom>
              <a:solidFill>
                <a:srgbClr val="69AB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4" name="Рисунок 33">
                <a:extLst>
                  <a:ext uri="{FF2B5EF4-FFF2-40B4-BE49-F238E27FC236}">
                    <a16:creationId xmlns:a16="http://schemas.microsoft.com/office/drawing/2014/main" id="{B7795F1F-7B26-4E07-A005-E00A8CCD09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56052" y="2883664"/>
                <a:ext cx="271801" cy="270421"/>
              </a:xfrm>
              <a:prstGeom prst="rect">
                <a:avLst/>
              </a:prstGeom>
            </p:spPr>
          </p:pic>
        </p:grpSp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0CFBEC50-6A54-4FE8-8DE5-DA618586D778}"/>
                </a:ext>
              </a:extLst>
            </p:cNvPr>
            <p:cNvGrpSpPr/>
            <p:nvPr/>
          </p:nvGrpSpPr>
          <p:grpSpPr>
            <a:xfrm>
              <a:off x="7423672" y="4866015"/>
              <a:ext cx="3857498" cy="1265646"/>
              <a:chOff x="7423672" y="4866015"/>
              <a:chExt cx="3857498" cy="1265646"/>
            </a:xfrm>
          </p:grpSpPr>
          <p:grpSp>
            <p:nvGrpSpPr>
              <p:cNvPr id="24" name="Группа 23">
                <a:extLst>
                  <a:ext uri="{FF2B5EF4-FFF2-40B4-BE49-F238E27FC236}">
                    <a16:creationId xmlns:a16="http://schemas.microsoft.com/office/drawing/2014/main" id="{8269E946-40CF-480F-99F4-1B0125DB81AA}"/>
                  </a:ext>
                </a:extLst>
              </p:cNvPr>
              <p:cNvGrpSpPr/>
              <p:nvPr/>
            </p:nvGrpSpPr>
            <p:grpSpPr>
              <a:xfrm>
                <a:off x="7472216" y="4866015"/>
                <a:ext cx="3808954" cy="1265646"/>
                <a:chOff x="7447945" y="4816593"/>
                <a:chExt cx="3808954" cy="1265646"/>
              </a:xfrm>
            </p:grpSpPr>
            <p:sp>
              <p:nvSpPr>
                <p:cNvPr id="26" name="Прямоугольник 25">
                  <a:extLst>
                    <a:ext uri="{FF2B5EF4-FFF2-40B4-BE49-F238E27FC236}">
                      <a16:creationId xmlns:a16="http://schemas.microsoft.com/office/drawing/2014/main" id="{E2FF0606-0003-444D-90C7-04E0383FFB94}"/>
                    </a:ext>
                  </a:extLst>
                </p:cNvPr>
                <p:cNvSpPr/>
                <p:nvPr/>
              </p:nvSpPr>
              <p:spPr>
                <a:xfrm>
                  <a:off x="7447945" y="4816593"/>
                  <a:ext cx="3808954" cy="126564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grpSp>
              <p:nvGrpSpPr>
                <p:cNvPr id="27" name="Группа 26">
                  <a:extLst>
                    <a:ext uri="{FF2B5EF4-FFF2-40B4-BE49-F238E27FC236}">
                      <a16:creationId xmlns:a16="http://schemas.microsoft.com/office/drawing/2014/main" id="{609088D0-CDD9-4B47-8A1A-2E2AA78CCA4D}"/>
                    </a:ext>
                  </a:extLst>
                </p:cNvPr>
                <p:cNvGrpSpPr/>
                <p:nvPr/>
              </p:nvGrpSpPr>
              <p:grpSpPr>
                <a:xfrm>
                  <a:off x="7960853" y="5025148"/>
                  <a:ext cx="2868258" cy="878997"/>
                  <a:chOff x="7215650" y="1731476"/>
                  <a:chExt cx="2868258" cy="878997"/>
                </a:xfrm>
              </p:grpSpPr>
              <p:sp>
                <p:nvSpPr>
                  <p:cNvPr id="29" name="Прямоугольник 28">
                    <a:extLst>
                      <a:ext uri="{FF2B5EF4-FFF2-40B4-BE49-F238E27FC236}">
                        <a16:creationId xmlns:a16="http://schemas.microsoft.com/office/drawing/2014/main" id="{FA95792D-14C4-4867-8142-122AC0C1503C}"/>
                      </a:ext>
                    </a:extLst>
                  </p:cNvPr>
                  <p:cNvSpPr/>
                  <p:nvPr/>
                </p:nvSpPr>
                <p:spPr>
                  <a:xfrm>
                    <a:off x="7215650" y="1731476"/>
                    <a:ext cx="2868258" cy="707886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ru-RU" sz="4000" b="1" dirty="0">
                        <a:solidFill>
                          <a:srgbClr val="0078D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1,3</a:t>
                    </a:r>
                    <a:r>
                      <a:rPr kumimoji="0" lang="ru-RU" sz="4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DC"/>
                        </a:solidFill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ГВт</a:t>
                    </a:r>
                    <a:endParaRPr kumimoji="0" lang="ru-RU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8DC"/>
                      </a:solidFill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0" name="Текст 2">
                    <a:extLst>
                      <a:ext uri="{FF2B5EF4-FFF2-40B4-BE49-F238E27FC236}">
                        <a16:creationId xmlns:a16="http://schemas.microsoft.com/office/drawing/2014/main" id="{B3E0DFEA-134C-4679-8E6C-11C0EB7D05AF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7255049" y="2310688"/>
                    <a:ext cx="2520315" cy="299785"/>
                  </a:xfrm>
                  <a:prstGeom prst="rect">
                    <a:avLst/>
                  </a:prstGeom>
                </p:spPr>
                <p:txBody>
                  <a:bodyPr/>
                  <a:lstStyle>
                    <a:lvl1pPr marL="180975" indent="-180975" algn="l" defTabSz="914400" rtl="0" eaLnBrk="1" latinLnBrk="0" hangingPunct="1">
                      <a:lnSpc>
                        <a:spcPct val="90000"/>
                      </a:lnSpc>
                      <a:spcBef>
                        <a:spcPts val="1000"/>
                      </a:spcBef>
                      <a:buClr>
                        <a:srgbClr val="0078DC"/>
                      </a:buClr>
                      <a:buFont typeface="Arial" panose="020B0604020202020204" pitchFamily="34" charset="0"/>
                      <a:buChar char="•"/>
                      <a:defRPr kumimoji="0" lang="ru-RU" sz="18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5E5E5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lvl1pPr>
                    <a:lvl2pPr marL="6858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1430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6002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574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90000"/>
                      </a:lnSpc>
                      <a:spcBef>
                        <a:spcPts val="1000"/>
                      </a:spcBef>
                      <a:spcAft>
                        <a:spcPts val="0"/>
                      </a:spcAft>
                      <a:buClr>
                        <a:srgbClr val="0078DC"/>
                      </a:buClr>
                      <a:buSzTx/>
                      <a:buFont typeface="Arial" panose="020B0604020202020204" pitchFamily="34" charset="0"/>
                      <a:buNone/>
                      <a:tabLst/>
                      <a:defRPr/>
                    </a:pPr>
                    <a:r>
                      <a:rPr kumimoji="0" lang="ru-RU" sz="14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8DC"/>
                        </a:solidFill>
                        <a:uLnTx/>
                        <a:uFillTx/>
                      </a:rPr>
                      <a:t>установленная мощность</a:t>
                    </a:r>
                  </a:p>
                </p:txBody>
              </p:sp>
            </p:grpSp>
            <p:pic>
              <p:nvPicPr>
                <p:cNvPr id="28" name="Рисунок 27">
                  <a:extLst>
                    <a:ext uri="{FF2B5EF4-FFF2-40B4-BE49-F238E27FC236}">
                      <a16:creationId xmlns:a16="http://schemas.microsoft.com/office/drawing/2014/main" id="{F8F775A4-65C5-49CD-9185-5B07E8A137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alphaModFix amt="7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857421" y="4948936"/>
                  <a:ext cx="272184" cy="393579"/>
                </a:xfrm>
                <a:prstGeom prst="rect">
                  <a:avLst/>
                </a:prstGeom>
              </p:spPr>
            </p:pic>
          </p:grpSp>
          <p:sp>
            <p:nvSpPr>
              <p:cNvPr id="25" name="Прямоугольник 24">
                <a:extLst>
                  <a:ext uri="{FF2B5EF4-FFF2-40B4-BE49-F238E27FC236}">
                    <a16:creationId xmlns:a16="http://schemas.microsoft.com/office/drawing/2014/main" id="{F07FC7A4-3778-4E07-B38F-EBC14DA6C0ED}"/>
                  </a:ext>
                </a:extLst>
              </p:cNvPr>
              <p:cNvSpPr/>
              <p:nvPr/>
            </p:nvSpPr>
            <p:spPr>
              <a:xfrm rot="16200000">
                <a:off x="7062092" y="5540229"/>
                <a:ext cx="820247" cy="97087"/>
              </a:xfrm>
              <a:prstGeom prst="rect">
                <a:avLst/>
              </a:prstGeom>
              <a:solidFill>
                <a:srgbClr val="69AB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9BA7B2E-2B65-4426-B071-5C64F74695F0}"/>
              </a:ext>
            </a:extLst>
          </p:cNvPr>
          <p:cNvGrpSpPr/>
          <p:nvPr/>
        </p:nvGrpSpPr>
        <p:grpSpPr>
          <a:xfrm>
            <a:off x="299492" y="2016452"/>
            <a:ext cx="5252983" cy="1430623"/>
            <a:chOff x="407877" y="2114400"/>
            <a:chExt cx="5204629" cy="140108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BB0FA9A-BFB4-4D12-8B5D-B55EC390A3EE}"/>
                </a:ext>
              </a:extLst>
            </p:cNvPr>
            <p:cNvSpPr txBox="1"/>
            <p:nvPr/>
          </p:nvSpPr>
          <p:spPr>
            <a:xfrm>
              <a:off x="739204" y="2114400"/>
              <a:ext cx="4873302" cy="140108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600"/>
                </a:lnSpc>
                <a:buClr>
                  <a:srgbClr val="0078DC"/>
                </a:buClr>
              </a:pPr>
              <a:r>
                <a:rPr lang="ru-RU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О «</a:t>
              </a:r>
              <a:r>
                <a:rPr lang="ru-RU" sz="20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нипро</a:t>
              </a:r>
              <a:r>
                <a:rPr lang="ru-RU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– </a:t>
              </a:r>
            </a:p>
            <a:p>
              <a:pPr>
                <a:lnSpc>
                  <a:spcPts val="2600"/>
                </a:lnSpc>
                <a:buClr>
                  <a:srgbClr val="0078DC"/>
                </a:buClr>
              </a:pPr>
              <a:r>
                <a:rPr lang="ru-RU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иболее эффективная компания </a:t>
              </a:r>
            </a:p>
            <a:p>
              <a:pPr>
                <a:lnSpc>
                  <a:spcPts val="2600"/>
                </a:lnSpc>
                <a:buClr>
                  <a:srgbClr val="0078DC"/>
                </a:buClr>
              </a:pPr>
              <a:r>
                <a:rPr lang="ru-RU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тепловой электроэнергетике России </a:t>
              </a: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2C9E602E-3DDE-4F90-A420-A1AF2F516E43}"/>
                </a:ext>
              </a:extLst>
            </p:cNvPr>
            <p:cNvSpPr/>
            <p:nvPr/>
          </p:nvSpPr>
          <p:spPr>
            <a:xfrm rot="16200000">
              <a:off x="-134671" y="2766400"/>
              <a:ext cx="1182183" cy="97087"/>
            </a:xfrm>
            <a:prstGeom prst="rect">
              <a:avLst/>
            </a:prstGeom>
            <a:solidFill>
              <a:srgbClr val="69AB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0944A"/>
                </a:solidFill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E2889D5-C541-42B6-85F1-4CABF2793272}"/>
              </a:ext>
            </a:extLst>
          </p:cNvPr>
          <p:cNvGrpSpPr/>
          <p:nvPr/>
        </p:nvGrpSpPr>
        <p:grpSpPr>
          <a:xfrm>
            <a:off x="334254" y="3649149"/>
            <a:ext cx="6452017" cy="2167254"/>
            <a:chOff x="334254" y="3678991"/>
            <a:chExt cx="6155129" cy="1910949"/>
          </a:xfrm>
        </p:grpSpPr>
        <p:sp>
          <p:nvSpPr>
            <p:cNvPr id="17" name="Текст 2">
              <a:extLst>
                <a:ext uri="{FF2B5EF4-FFF2-40B4-BE49-F238E27FC236}">
                  <a16:creationId xmlns:a16="http://schemas.microsoft.com/office/drawing/2014/main" id="{57B84497-ACAE-47BE-8BAC-AE85AAC6E020}"/>
                </a:ext>
              </a:extLst>
            </p:cNvPr>
            <p:cNvSpPr txBox="1">
              <a:spLocks/>
            </p:cNvSpPr>
            <p:nvPr/>
          </p:nvSpPr>
          <p:spPr>
            <a:xfrm>
              <a:off x="633897" y="3678991"/>
              <a:ext cx="5855486" cy="1688451"/>
            </a:xfrm>
            <a:prstGeom prst="rect">
              <a:avLst/>
            </a:prstGeom>
          </p:spPr>
          <p:txBody>
            <a:bodyPr/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78DC"/>
                </a:buClr>
                <a:buFont typeface="Arial" panose="020B0604020202020204" pitchFamily="34" charset="0"/>
                <a:buChar char="•"/>
                <a:defRPr kumimoji="0" lang="ru-RU" sz="1800" b="0" i="0" u="none" strike="noStrike" kern="1200" cap="none" spc="0" normalizeH="0" baseline="0" dirty="0" smtClean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>
                <a:lnSpc>
                  <a:spcPct val="100000"/>
                </a:lnSpc>
                <a:spcAft>
                  <a:spcPts val="600"/>
                </a:spcAft>
                <a:buNone/>
              </a:pPr>
              <a:r>
                <a:rPr lang="ru-RU" sz="2000" b="1" dirty="0">
                  <a:solidFill>
                    <a:schemeClr val="bg1"/>
                  </a:solidFill>
                </a:rPr>
                <a:t>Согласно Указу Президента Российской Федерации № 302 от 25 апреля 2023 года 83,73% акций ПАО «Юнипро», принадлежащих концерну </a:t>
              </a:r>
              <a:r>
                <a:rPr lang="ru-RU" sz="2000" b="1" dirty="0" err="1">
                  <a:solidFill>
                    <a:schemeClr val="bg1"/>
                  </a:solidFill>
                </a:rPr>
                <a:t>Uniper</a:t>
              </a:r>
              <a:r>
                <a:rPr lang="ru-RU" sz="2000" b="1" dirty="0">
                  <a:solidFill>
                    <a:schemeClr val="bg1"/>
                  </a:solidFill>
                </a:rPr>
                <a:t> SE, переданы во временное управление Федеральному агентству по управлению государственным имуществом (Росимущество)</a:t>
              </a: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F1911BD6-5ECB-4C20-A269-5F68D598B8ED}"/>
                </a:ext>
              </a:extLst>
            </p:cNvPr>
            <p:cNvSpPr/>
            <p:nvPr/>
          </p:nvSpPr>
          <p:spPr>
            <a:xfrm rot="16200000">
              <a:off x="-525964" y="4636243"/>
              <a:ext cx="1813915" cy="93480"/>
            </a:xfrm>
            <a:prstGeom prst="rect">
              <a:avLst/>
            </a:prstGeom>
            <a:solidFill>
              <a:srgbClr val="69AB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69AB46"/>
                </a:solidFill>
              </a:endParaRPr>
            </a:p>
          </p:txBody>
        </p:sp>
      </p:grp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DC4A562-2688-4545-901B-F90989BAF3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94" y="6151067"/>
            <a:ext cx="617313" cy="37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9339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42">
            <a:extLst>
              <a:ext uri="{FF2B5EF4-FFF2-40B4-BE49-F238E27FC236}">
                <a16:creationId xmlns:a16="http://schemas.microsoft.com/office/drawing/2014/main" id="{343FF4DF-19D8-48F6-8323-EB23D1279761}"/>
              </a:ext>
            </a:extLst>
          </p:cNvPr>
          <p:cNvSpPr/>
          <p:nvPr/>
        </p:nvSpPr>
        <p:spPr>
          <a:xfrm>
            <a:off x="0" y="0"/>
            <a:ext cx="12208853" cy="6858000"/>
          </a:xfrm>
          <a:prstGeom prst="rect">
            <a:avLst/>
          </a:prstGeom>
          <a:solidFill>
            <a:srgbClr val="0775BB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419686" y="415824"/>
            <a:ext cx="8392718" cy="4741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нипро в соцсетях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0A0BA5B-BF4C-42D0-8DC4-A448ECFC8049}"/>
              </a:ext>
            </a:extLst>
          </p:cNvPr>
          <p:cNvSpPr/>
          <p:nvPr/>
        </p:nvSpPr>
        <p:spPr>
          <a:xfrm>
            <a:off x="5245386" y="1775414"/>
            <a:ext cx="53227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chemeClr val="accent2"/>
              </a:solidFill>
              <a:cs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FFEA00"/>
                </a:solidFill>
                <a:cs typeface="Arial" panose="020B0604020202020204" pitchFamily="34" charset="0"/>
              </a:rPr>
              <a:t>Подписывайся </a:t>
            </a:r>
            <a:br>
              <a:rPr lang="ru-RU" sz="2400" b="1" dirty="0">
                <a:solidFill>
                  <a:srgbClr val="FFEA00"/>
                </a:solidFill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FFEA00"/>
                </a:solidFill>
                <a:cs typeface="Arial" panose="020B0604020202020204" pitchFamily="34" charset="0"/>
              </a:rPr>
              <a:t>в социальных сетях</a:t>
            </a:r>
            <a:endParaRPr lang="en-US" sz="2400" b="1" dirty="0">
              <a:solidFill>
                <a:srgbClr val="FFEA00"/>
              </a:solidFill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A0EE57D-BCD1-4803-B915-9B755701FE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356" y="3503431"/>
            <a:ext cx="1905000" cy="1905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48DA33-E5FD-4298-B38A-34E6F947B64C}"/>
              </a:ext>
            </a:extLst>
          </p:cNvPr>
          <p:cNvSpPr/>
          <p:nvPr/>
        </p:nvSpPr>
        <p:spPr>
          <a:xfrm>
            <a:off x="419686" y="1775414"/>
            <a:ext cx="363210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chemeClr val="accent2"/>
              </a:solidFill>
              <a:cs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FFEA00"/>
                </a:solidFill>
                <a:cs typeface="Arial" panose="020B0604020202020204" pitchFamily="34" charset="0"/>
              </a:rPr>
              <a:t>Заходи </a:t>
            </a:r>
            <a:br>
              <a:rPr lang="ru-RU" sz="2400" b="1" dirty="0">
                <a:solidFill>
                  <a:srgbClr val="FFEA00"/>
                </a:solidFill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FFEA00"/>
                </a:solidFill>
                <a:cs typeface="Arial" panose="020B0604020202020204" pitchFamily="34" charset="0"/>
              </a:rPr>
              <a:t>на сайт Юнипро </a:t>
            </a:r>
            <a:endParaRPr lang="en-US" sz="2400" b="1" dirty="0">
              <a:solidFill>
                <a:srgbClr val="FFEA00"/>
              </a:solidFill>
              <a:cs typeface="Arial" panose="020B060402020202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E62E743-7C31-4AF0-A387-7772912E368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35" y="2903733"/>
            <a:ext cx="917621" cy="55057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B1B46E9-63E8-4434-A81F-09E8C26E22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774" y="3470768"/>
            <a:ext cx="1905000" cy="19050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DEFC215-1D6F-44CA-9003-0E453D25DFA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379" y="3470768"/>
            <a:ext cx="1905000" cy="1905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F8A3707-F61F-43B6-8F7A-7A35CAB9D51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403" y="2822713"/>
            <a:ext cx="648055" cy="648055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DAB67FC7-C75F-4903-821F-D59553F251B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3498" y="2812775"/>
            <a:ext cx="658707" cy="647082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30AB442-1BBB-41FA-BF0A-1F372CA0B4D9}"/>
              </a:ext>
            </a:extLst>
          </p:cNvPr>
          <p:cNvSpPr/>
          <p:nvPr/>
        </p:nvSpPr>
        <p:spPr>
          <a:xfrm>
            <a:off x="11734578" y="6400578"/>
            <a:ext cx="339438" cy="3394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2249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3E0B610-F400-4E94-A858-B0595CABF6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094" y="8250107"/>
            <a:ext cx="513986" cy="308392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AB69C807-74BE-4381-B451-4A1B7C35B8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85" r="-19185"/>
          <a:stretch/>
        </p:blipFill>
        <p:spPr bwMode="auto">
          <a:xfrm>
            <a:off x="5759450" y="0"/>
            <a:ext cx="10287874" cy="6858000"/>
          </a:xfrm>
          <a:prstGeom prst="parallelogram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512B0D1-E30C-4DC9-A60F-E47C0F68D4C2}"/>
              </a:ext>
            </a:extLst>
          </p:cNvPr>
          <p:cNvSpPr/>
          <p:nvPr/>
        </p:nvSpPr>
        <p:spPr>
          <a:xfrm>
            <a:off x="387242" y="765175"/>
            <a:ext cx="5962914" cy="29546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!</a:t>
            </a:r>
          </a:p>
          <a:p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йт компании:  www.unipro.energy</a:t>
            </a:r>
          </a:p>
          <a:p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сти Юнипро: www.mw.unipro.energy</a:t>
            </a:r>
          </a:p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езюме: </a:t>
            </a:r>
            <a:r>
              <a:rPr lang="ru-RU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@unipro.energy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404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125F1E57-9EB1-4ACA-B460-3ECB8817FF57}"/>
              </a:ext>
            </a:extLst>
          </p:cNvPr>
          <p:cNvGrpSpPr/>
          <p:nvPr/>
        </p:nvGrpSpPr>
        <p:grpSpPr>
          <a:xfrm>
            <a:off x="401057" y="440944"/>
            <a:ext cx="6432843" cy="937628"/>
            <a:chOff x="401057" y="440944"/>
            <a:chExt cx="6432843" cy="937628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CE0300D6-EB00-40FE-BEEB-91305207F462}"/>
                </a:ext>
              </a:extLst>
            </p:cNvPr>
            <p:cNvSpPr/>
            <p:nvPr/>
          </p:nvSpPr>
          <p:spPr>
            <a:xfrm>
              <a:off x="401057" y="440944"/>
              <a:ext cx="5542543" cy="937628"/>
            </a:xfrm>
            <a:prstGeom prst="rect">
              <a:avLst/>
            </a:prstGeom>
            <a:solidFill>
              <a:srgbClr val="007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0078DC"/>
                </a:solidFill>
              </a:endParaRPr>
            </a:p>
          </p:txBody>
        </p:sp>
        <p:sp>
          <p:nvSpPr>
            <p:cNvPr id="15" name="Текст 1">
              <a:extLst>
                <a:ext uri="{FF2B5EF4-FFF2-40B4-BE49-F238E27FC236}">
                  <a16:creationId xmlns:a16="http://schemas.microsoft.com/office/drawing/2014/main" id="{6A5D69F7-D847-498C-AF42-DFE49E8BDC80}"/>
                </a:ext>
              </a:extLst>
            </p:cNvPr>
            <p:cNvSpPr txBox="1">
              <a:spLocks/>
            </p:cNvSpPr>
            <p:nvPr/>
          </p:nvSpPr>
          <p:spPr>
            <a:xfrm>
              <a:off x="740928" y="511031"/>
              <a:ext cx="6092972" cy="755457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defPPr>
                <a:defRPr lang="ru-RU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3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ложение в отрасли *</a:t>
              </a:r>
            </a:p>
          </p:txBody>
        </p:sp>
      </p:grp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D0A4E94-D123-4845-9D48-3008E2A23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5D57A402-71E5-4131-9933-9AD9471955BB}"/>
              </a:ext>
            </a:extLst>
          </p:cNvPr>
          <p:cNvGrpSpPr/>
          <p:nvPr/>
        </p:nvGrpSpPr>
        <p:grpSpPr>
          <a:xfrm>
            <a:off x="2520214" y="977901"/>
            <a:ext cx="4425490" cy="4735626"/>
            <a:chOff x="2522553" y="-891786"/>
            <a:chExt cx="4425490" cy="4735626"/>
          </a:xfrm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CE190176-3BF7-4487-B2C5-DC7269879ACC}"/>
                </a:ext>
              </a:extLst>
            </p:cNvPr>
            <p:cNvSpPr/>
            <p:nvPr/>
          </p:nvSpPr>
          <p:spPr>
            <a:xfrm>
              <a:off x="2522553" y="-891786"/>
              <a:ext cx="2746446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ru-RU" sz="6000" dirty="0">
                <a:solidFill>
                  <a:srgbClr val="0078D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8DC962C-5361-4DC6-884C-B046F2806A59}"/>
                </a:ext>
              </a:extLst>
            </p:cNvPr>
            <p:cNvSpPr/>
            <p:nvPr/>
          </p:nvSpPr>
          <p:spPr>
            <a:xfrm>
              <a:off x="2522553" y="2229031"/>
              <a:ext cx="2731838" cy="126188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600" b="1" dirty="0">
                  <a:solidFill>
                    <a:srgbClr val="0078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,6%</a:t>
              </a:r>
              <a:r>
                <a:rPr lang="ru-RU" sz="7600" b="1" dirty="0">
                  <a:solidFill>
                    <a:srgbClr val="0078DC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0CDBE2D2-C3C2-48C2-95D5-219CC9A9D123}"/>
                </a:ext>
              </a:extLst>
            </p:cNvPr>
            <p:cNvSpPr/>
            <p:nvPr/>
          </p:nvSpPr>
          <p:spPr>
            <a:xfrm>
              <a:off x="2543685" y="3334918"/>
              <a:ext cx="4404358" cy="5089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ru-RU" sz="1200" dirty="0">
                  <a:solidFill>
                    <a:srgbClr val="0078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ля в установленной </a:t>
              </a:r>
            </a:p>
            <a:p>
              <a:pPr>
                <a:lnSpc>
                  <a:spcPts val="1700"/>
                </a:lnSpc>
              </a:pPr>
              <a:r>
                <a:rPr lang="ru-RU" sz="1200" dirty="0">
                  <a:solidFill>
                    <a:srgbClr val="0078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щности ЕЭС России </a:t>
              </a:r>
            </a:p>
          </p:txBody>
        </p:sp>
      </p:grp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5D25C2C-1FB9-4563-89E1-0E88AF76A7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24413" y="6252446"/>
            <a:ext cx="2070024" cy="310500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* </a:t>
            </a:r>
            <a:r>
              <a:rPr lang="ru-RU" sz="1000" dirty="0"/>
              <a:t>по итогам 2022 года</a:t>
            </a:r>
            <a:endParaRPr lang="de-DE" sz="1000" dirty="0"/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AC943D85-3807-4280-B445-EDE28C0BD289}"/>
              </a:ext>
            </a:extLst>
          </p:cNvPr>
          <p:cNvSpPr txBox="1">
            <a:spLocks/>
          </p:cNvSpPr>
          <p:nvPr/>
        </p:nvSpPr>
        <p:spPr>
          <a:xfrm>
            <a:off x="2520215" y="3403412"/>
            <a:ext cx="2940242" cy="50892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700"/>
              </a:lnSpc>
              <a:buFont typeface="Arial" panose="020B0604020202020204" pitchFamily="34" charset="0"/>
              <a:buNone/>
            </a:pPr>
            <a:r>
              <a:rPr lang="ru-RU" sz="1200" dirty="0">
                <a:solidFill>
                  <a:srgbClr val="0078DC"/>
                </a:solidFill>
              </a:rPr>
              <a:t>доля Юнипро в общероссийском производстве электроэнерги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A58AE63-7957-405D-A905-5C8ADA4B3B3E}"/>
              </a:ext>
            </a:extLst>
          </p:cNvPr>
          <p:cNvSpPr/>
          <p:nvPr/>
        </p:nvSpPr>
        <p:spPr>
          <a:xfrm>
            <a:off x="2520214" y="2293715"/>
            <a:ext cx="2419132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600" b="1" dirty="0">
                <a:solidFill>
                  <a:srgbClr val="0078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8%</a:t>
            </a:r>
            <a:r>
              <a:rPr lang="ru-RU" sz="7600" b="1" dirty="0">
                <a:solidFill>
                  <a:srgbClr val="0078DC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EAFAB42-C3E1-4C16-98E3-2932DA23BD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61" t="-58" r="-15861" b="58"/>
          <a:stretch/>
        </p:blipFill>
        <p:spPr>
          <a:xfrm>
            <a:off x="5518561" y="-4692"/>
            <a:ext cx="10292129" cy="6858739"/>
          </a:xfrm>
          <a:custGeom>
            <a:avLst/>
            <a:gdLst>
              <a:gd name="connsiteX0" fmla="*/ 2047176 w 8516562"/>
              <a:gd name="connsiteY0" fmla="*/ 0 h 6866313"/>
              <a:gd name="connsiteX1" fmla="*/ 7966832 w 8516562"/>
              <a:gd name="connsiteY1" fmla="*/ 0 h 6866313"/>
              <a:gd name="connsiteX2" fmla="*/ 8516562 w 8516562"/>
              <a:gd name="connsiteY2" fmla="*/ 163901 h 6866313"/>
              <a:gd name="connsiteX3" fmla="*/ 6518253 w 8516562"/>
              <a:gd name="connsiteY3" fmla="*/ 6866313 h 6866313"/>
              <a:gd name="connsiteX4" fmla="*/ 0 w 8516562"/>
              <a:gd name="connsiteY4" fmla="*/ 6866313 h 686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6562" h="6866313">
                <a:moveTo>
                  <a:pt x="2047176" y="0"/>
                </a:moveTo>
                <a:lnTo>
                  <a:pt x="7966832" y="0"/>
                </a:lnTo>
                <a:lnTo>
                  <a:pt x="8516562" y="163901"/>
                </a:lnTo>
                <a:lnTo>
                  <a:pt x="6518253" y="6866313"/>
                </a:lnTo>
                <a:lnTo>
                  <a:pt x="0" y="6866313"/>
                </a:lnTo>
                <a:close/>
              </a:path>
            </a:pathLst>
          </a:custGeom>
        </p:spPr>
      </p:pic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4B51CA0-3118-4085-AB83-AF35DA0E6186}"/>
              </a:ext>
            </a:extLst>
          </p:cNvPr>
          <p:cNvGraphicFramePr/>
          <p:nvPr/>
        </p:nvGraphicFramePr>
        <p:xfrm>
          <a:off x="698137" y="2351966"/>
          <a:ext cx="1763974" cy="1512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95724342-CDEF-47F3-95C2-6B311862270B}"/>
              </a:ext>
            </a:extLst>
          </p:cNvPr>
          <p:cNvGraphicFramePr/>
          <p:nvPr/>
        </p:nvGraphicFramePr>
        <p:xfrm>
          <a:off x="695682" y="4156469"/>
          <a:ext cx="1764688" cy="1510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161634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2358C2C-20DD-49E4-A535-D94FB8E98C3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582A547-F0A5-417A-ABA0-84CFA6B3D2A6}"/>
              </a:ext>
            </a:extLst>
          </p:cNvPr>
          <p:cNvSpPr/>
          <p:nvPr/>
        </p:nvSpPr>
        <p:spPr>
          <a:xfrm>
            <a:off x="0" y="3554222"/>
            <a:ext cx="2457069" cy="33037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31800" dir="5400000" sx="90000" sy="9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3041E811-FD42-4363-B63B-7BD0EED55A90}"/>
              </a:ext>
            </a:extLst>
          </p:cNvPr>
          <p:cNvSpPr/>
          <p:nvPr/>
        </p:nvSpPr>
        <p:spPr>
          <a:xfrm>
            <a:off x="7413575" y="4292600"/>
            <a:ext cx="2045664" cy="2565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31800" dir="5400000" sx="90000" sy="9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4F6D6B8D-E015-43CD-BEA3-5A5D20DC5D7F}"/>
              </a:ext>
            </a:extLst>
          </p:cNvPr>
          <p:cNvSpPr/>
          <p:nvPr/>
        </p:nvSpPr>
        <p:spPr>
          <a:xfrm>
            <a:off x="7549064" y="4244056"/>
            <a:ext cx="623887" cy="97087"/>
          </a:xfrm>
          <a:prstGeom prst="rect">
            <a:avLst/>
          </a:prstGeom>
          <a:solidFill>
            <a:srgbClr val="0043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9527A"/>
              </a:solidFill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89BD2932-F02B-4731-BB0F-3C0273A3ADBC}"/>
              </a:ext>
            </a:extLst>
          </p:cNvPr>
          <p:cNvSpPr/>
          <p:nvPr/>
        </p:nvSpPr>
        <p:spPr>
          <a:xfrm>
            <a:off x="9753980" y="3606800"/>
            <a:ext cx="2438020" cy="326068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31800" dir="5400000" sx="90000" sy="9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C894DB85-9FCD-4AFB-960C-E66597A263FA}"/>
              </a:ext>
            </a:extLst>
          </p:cNvPr>
          <p:cNvSpPr/>
          <p:nvPr/>
        </p:nvSpPr>
        <p:spPr>
          <a:xfrm>
            <a:off x="9889470" y="3558256"/>
            <a:ext cx="623887" cy="97087"/>
          </a:xfrm>
          <a:prstGeom prst="rect">
            <a:avLst/>
          </a:prstGeom>
          <a:solidFill>
            <a:srgbClr val="087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6F437010-3306-4E4B-AFCD-71DF9CA88FFE}"/>
              </a:ext>
            </a:extLst>
          </p:cNvPr>
          <p:cNvSpPr/>
          <p:nvPr/>
        </p:nvSpPr>
        <p:spPr>
          <a:xfrm>
            <a:off x="430769" y="3520423"/>
            <a:ext cx="623887" cy="97087"/>
          </a:xfrm>
          <a:prstGeom prst="rect">
            <a:avLst/>
          </a:prstGeom>
          <a:solidFill>
            <a:srgbClr val="0095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830525EF-BA0D-4A26-97E3-02559AFE3EA6}"/>
              </a:ext>
            </a:extLst>
          </p:cNvPr>
          <p:cNvSpPr/>
          <p:nvPr/>
        </p:nvSpPr>
        <p:spPr>
          <a:xfrm>
            <a:off x="5063415" y="4292600"/>
            <a:ext cx="2045664" cy="2565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31800" dir="5400000" sx="90000" sy="9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22768CDD-EEFB-4BFF-84A1-2FEC4D85A82A}"/>
              </a:ext>
            </a:extLst>
          </p:cNvPr>
          <p:cNvSpPr/>
          <p:nvPr/>
        </p:nvSpPr>
        <p:spPr>
          <a:xfrm>
            <a:off x="5198904" y="4244056"/>
            <a:ext cx="623887" cy="97087"/>
          </a:xfrm>
          <a:prstGeom prst="rect">
            <a:avLst/>
          </a:prstGeom>
          <a:solidFill>
            <a:srgbClr val="DE3A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F04CA53-4A67-43DA-BE9E-D7D58318519A}"/>
              </a:ext>
            </a:extLst>
          </p:cNvPr>
          <p:cNvSpPr/>
          <p:nvPr/>
        </p:nvSpPr>
        <p:spPr>
          <a:xfrm>
            <a:off x="2739315" y="4292600"/>
            <a:ext cx="2045664" cy="2565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31800" dir="5400000" sx="90000" sy="9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0E6D26E8-E55F-4A9A-AE88-FFE1F58702FE}"/>
              </a:ext>
            </a:extLst>
          </p:cNvPr>
          <p:cNvSpPr/>
          <p:nvPr/>
        </p:nvSpPr>
        <p:spPr>
          <a:xfrm>
            <a:off x="2874804" y="4244056"/>
            <a:ext cx="623887" cy="97087"/>
          </a:xfrm>
          <a:prstGeom prst="rect">
            <a:avLst/>
          </a:prstGeom>
          <a:solidFill>
            <a:srgbClr val="ED8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Соединитель: уступ 9">
            <a:extLst>
              <a:ext uri="{FF2B5EF4-FFF2-40B4-BE49-F238E27FC236}">
                <a16:creationId xmlns:a16="http://schemas.microsoft.com/office/drawing/2014/main" id="{29E8C24A-CA9E-4EE7-9EB3-0A04D0E3E3EB}"/>
              </a:ext>
            </a:extLst>
          </p:cNvPr>
          <p:cNvCxnSpPr>
            <a:cxnSpLocks/>
            <a:stCxn id="45" idx="0"/>
          </p:cNvCxnSpPr>
          <p:nvPr/>
        </p:nvCxnSpPr>
        <p:spPr>
          <a:xfrm rot="5400000" flipH="1" flipV="1">
            <a:off x="810714" y="2619078"/>
            <a:ext cx="833344" cy="969347"/>
          </a:xfrm>
          <a:prstGeom prst="bentConnector2">
            <a:avLst/>
          </a:prstGeom>
          <a:ln w="19050">
            <a:solidFill>
              <a:srgbClr val="00953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Соединитель: уступ 12">
            <a:extLst>
              <a:ext uri="{FF2B5EF4-FFF2-40B4-BE49-F238E27FC236}">
                <a16:creationId xmlns:a16="http://schemas.microsoft.com/office/drawing/2014/main" id="{36FCBC30-C029-441A-BF60-7BF4D4BD55DF}"/>
              </a:ext>
            </a:extLst>
          </p:cNvPr>
          <p:cNvCxnSpPr>
            <a:cxnSpLocks/>
            <a:stCxn id="47" idx="0"/>
          </p:cNvCxnSpPr>
          <p:nvPr/>
        </p:nvCxnSpPr>
        <p:spPr>
          <a:xfrm rot="16200000" flipV="1">
            <a:off x="2139362" y="3196670"/>
            <a:ext cx="1111728" cy="983044"/>
          </a:xfrm>
          <a:prstGeom prst="bentConnector3">
            <a:avLst>
              <a:gd name="adj1" fmla="val 65628"/>
            </a:avLst>
          </a:prstGeom>
          <a:ln w="19050">
            <a:solidFill>
              <a:srgbClr val="F391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: уступ 14">
            <a:extLst>
              <a:ext uri="{FF2B5EF4-FFF2-40B4-BE49-F238E27FC236}">
                <a16:creationId xmlns:a16="http://schemas.microsoft.com/office/drawing/2014/main" id="{7920D542-0556-4C46-878F-9EA4D2FEB052}"/>
              </a:ext>
            </a:extLst>
          </p:cNvPr>
          <p:cNvCxnSpPr>
            <a:cxnSpLocks/>
            <a:stCxn id="49" idx="0"/>
          </p:cNvCxnSpPr>
          <p:nvPr/>
        </p:nvCxnSpPr>
        <p:spPr>
          <a:xfrm rot="16200000" flipV="1">
            <a:off x="4458180" y="3191388"/>
            <a:ext cx="470949" cy="1634388"/>
          </a:xfrm>
          <a:prstGeom prst="bentConnector2">
            <a:avLst/>
          </a:prstGeom>
          <a:ln w="19050">
            <a:solidFill>
              <a:srgbClr val="DE006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44ADB44C-3A67-402F-988E-5AE3CF8CB7F0}"/>
              </a:ext>
            </a:extLst>
          </p:cNvPr>
          <p:cNvCxnSpPr/>
          <p:nvPr/>
        </p:nvCxnSpPr>
        <p:spPr>
          <a:xfrm flipV="1">
            <a:off x="3876460" y="3410054"/>
            <a:ext cx="0" cy="595209"/>
          </a:xfrm>
          <a:prstGeom prst="line">
            <a:avLst/>
          </a:prstGeom>
          <a:ln w="25400" cap="rnd">
            <a:solidFill>
              <a:srgbClr val="DE00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: уступ 18">
            <a:extLst>
              <a:ext uri="{FF2B5EF4-FFF2-40B4-BE49-F238E27FC236}">
                <a16:creationId xmlns:a16="http://schemas.microsoft.com/office/drawing/2014/main" id="{B66F193B-D3D9-4958-8698-1A87FE4775B5}"/>
              </a:ext>
            </a:extLst>
          </p:cNvPr>
          <p:cNvCxnSpPr>
            <a:cxnSpLocks/>
            <a:stCxn id="51" idx="0"/>
          </p:cNvCxnSpPr>
          <p:nvPr/>
        </p:nvCxnSpPr>
        <p:spPr>
          <a:xfrm rot="16200000" flipV="1">
            <a:off x="6304092" y="2687140"/>
            <a:ext cx="744879" cy="2368954"/>
          </a:xfrm>
          <a:prstGeom prst="bentConnector2">
            <a:avLst/>
          </a:prstGeom>
          <a:ln w="19050">
            <a:solidFill>
              <a:srgbClr val="00436E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: уступ 22">
            <a:extLst>
              <a:ext uri="{FF2B5EF4-FFF2-40B4-BE49-F238E27FC236}">
                <a16:creationId xmlns:a16="http://schemas.microsoft.com/office/drawing/2014/main" id="{E54E20AD-8D61-4EC7-8287-E09C39B0006F}"/>
              </a:ext>
            </a:extLst>
          </p:cNvPr>
          <p:cNvCxnSpPr>
            <a:cxnSpLocks/>
            <a:stCxn id="53" idx="0"/>
          </p:cNvCxnSpPr>
          <p:nvPr/>
        </p:nvCxnSpPr>
        <p:spPr>
          <a:xfrm rot="16200000" flipV="1">
            <a:off x="8518003" y="1874845"/>
            <a:ext cx="714472" cy="2652350"/>
          </a:xfrm>
          <a:prstGeom prst="bentConnector2">
            <a:avLst/>
          </a:prstGeom>
          <a:ln w="19050">
            <a:solidFill>
              <a:srgbClr val="007FC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1F9890EF-8B62-46AB-8293-0FDBF9AA7402}"/>
              </a:ext>
            </a:extLst>
          </p:cNvPr>
          <p:cNvGrpSpPr/>
          <p:nvPr/>
        </p:nvGrpSpPr>
        <p:grpSpPr>
          <a:xfrm>
            <a:off x="327924" y="3910938"/>
            <a:ext cx="1924766" cy="520843"/>
            <a:chOff x="422194" y="4477866"/>
            <a:chExt cx="1924766" cy="520843"/>
          </a:xfrm>
        </p:grpSpPr>
        <p:sp>
          <p:nvSpPr>
            <p:cNvPr id="82" name="Прямоугольник 8">
              <a:extLst>
                <a:ext uri="{FF2B5EF4-FFF2-40B4-BE49-F238E27FC236}">
                  <a16:creationId xmlns:a16="http://schemas.microsoft.com/office/drawing/2014/main" id="{7E0C32B5-3F21-469F-B25E-54E4D85316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47786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моленская ГРЭС</a:t>
              </a:r>
            </a:p>
          </p:txBody>
        </p:sp>
        <p:sp>
          <p:nvSpPr>
            <p:cNvPr id="83" name="Прямоугольник 8">
              <a:extLst>
                <a:ext uri="{FF2B5EF4-FFF2-40B4-BE49-F238E27FC236}">
                  <a16:creationId xmlns:a16="http://schemas.microsoft.com/office/drawing/2014/main" id="{35D06C4E-9876-479D-A925-8CBFA650C7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737099"/>
              <a:ext cx="1386941" cy="261610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en-US" altLang="ru-RU" sz="1050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[ </a:t>
              </a:r>
              <a:r>
                <a:rPr lang="ru-RU" altLang="ru-RU" sz="1050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з, уголь </a:t>
              </a:r>
              <a:r>
                <a:rPr lang="en-US" altLang="ru-RU" sz="1050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</a:t>
              </a:r>
              <a:endParaRPr lang="ru-RU" altLang="ru-RU" sz="1100" dirty="0">
                <a:solidFill>
                  <a:srgbClr val="00944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780B1AE6-44FD-498B-9262-2B223597F001}"/>
              </a:ext>
            </a:extLst>
          </p:cNvPr>
          <p:cNvGrpSpPr/>
          <p:nvPr/>
        </p:nvGrpSpPr>
        <p:grpSpPr>
          <a:xfrm>
            <a:off x="327924" y="4418947"/>
            <a:ext cx="1924766" cy="444408"/>
            <a:chOff x="422194" y="5023975"/>
            <a:chExt cx="1924766" cy="444408"/>
          </a:xfrm>
        </p:grpSpPr>
        <p:sp>
          <p:nvSpPr>
            <p:cNvPr id="84" name="Прямоугольник 8">
              <a:extLst>
                <a:ext uri="{FF2B5EF4-FFF2-40B4-BE49-F238E27FC236}">
                  <a16:creationId xmlns:a16="http://schemas.microsoft.com/office/drawing/2014/main" id="{E7D9B95D-5B40-4024-906A-532BCD9251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0239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ы ввода (включение в сеть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Прямоугольник 8">
              <a:extLst>
                <a:ext uri="{FF2B5EF4-FFF2-40B4-BE49-F238E27FC236}">
                  <a16:creationId xmlns:a16="http://schemas.microsoft.com/office/drawing/2014/main" id="{0C6084D4-F22F-40C0-BB44-F1EF7A5256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1606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78-1985</a:t>
              </a:r>
            </a:p>
          </p:txBody>
        </p: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D1501803-06ED-4C54-A6F8-533D647967E1}"/>
              </a:ext>
            </a:extLst>
          </p:cNvPr>
          <p:cNvGrpSpPr/>
          <p:nvPr/>
        </p:nvGrpSpPr>
        <p:grpSpPr>
          <a:xfrm>
            <a:off x="327924" y="4831697"/>
            <a:ext cx="1924766" cy="444408"/>
            <a:chOff x="422194" y="5436725"/>
            <a:chExt cx="1924766" cy="444408"/>
          </a:xfrm>
        </p:grpSpPr>
        <p:sp>
          <p:nvSpPr>
            <p:cNvPr id="108" name="Прямоугольник 8">
              <a:extLst>
                <a:ext uri="{FF2B5EF4-FFF2-40B4-BE49-F238E27FC236}">
                  <a16:creationId xmlns:a16="http://schemas.microsoft.com/office/drawing/2014/main" id="{E725FE6B-A963-464C-A3CB-7DF965312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43672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тановленная мощность (МВт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Прямоугольник 8">
              <a:extLst>
                <a:ext uri="{FF2B5EF4-FFF2-40B4-BE49-F238E27FC236}">
                  <a16:creationId xmlns:a16="http://schemas.microsoft.com/office/drawing/2014/main" id="{D587B6F5-75F0-4CC3-82BC-12F75C026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57335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30</a:t>
              </a: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03DC5125-68B7-49C3-B18C-A225BD8CE43E}"/>
              </a:ext>
            </a:extLst>
          </p:cNvPr>
          <p:cNvGrpSpPr/>
          <p:nvPr/>
        </p:nvGrpSpPr>
        <p:grpSpPr>
          <a:xfrm>
            <a:off x="327924" y="5257147"/>
            <a:ext cx="1924766" cy="444408"/>
            <a:chOff x="422194" y="5824075"/>
            <a:chExt cx="1924766" cy="444408"/>
          </a:xfrm>
        </p:grpSpPr>
        <p:sp>
          <p:nvSpPr>
            <p:cNvPr id="110" name="Прямоугольник 8">
              <a:extLst>
                <a:ext uri="{FF2B5EF4-FFF2-40B4-BE49-F238E27FC236}">
                  <a16:creationId xmlns:a16="http://schemas.microsoft.com/office/drawing/2014/main" id="{7EA92744-6198-4ACA-91CD-BAB2B678D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8240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ИУМ, %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Прямоугольник 8">
              <a:extLst>
                <a:ext uri="{FF2B5EF4-FFF2-40B4-BE49-F238E27FC236}">
                  <a16:creationId xmlns:a16="http://schemas.microsoft.com/office/drawing/2014/main" id="{1BDF32EC-84BB-463F-856E-7C7D881BEA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9607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,5</a:t>
              </a: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AA7E8DB2-B023-4F91-A227-C853D837CE53}"/>
              </a:ext>
            </a:extLst>
          </p:cNvPr>
          <p:cNvGrpSpPr/>
          <p:nvPr/>
        </p:nvGrpSpPr>
        <p:grpSpPr>
          <a:xfrm>
            <a:off x="327924" y="5663547"/>
            <a:ext cx="2408180" cy="444408"/>
            <a:chOff x="422194" y="6230475"/>
            <a:chExt cx="2408180" cy="444408"/>
          </a:xfrm>
        </p:grpSpPr>
        <p:sp>
          <p:nvSpPr>
            <p:cNvPr id="112" name="Прямоугольник 8">
              <a:extLst>
                <a:ext uri="{FF2B5EF4-FFF2-40B4-BE49-F238E27FC236}">
                  <a16:creationId xmlns:a16="http://schemas.microsoft.com/office/drawing/2014/main" id="{80840350-5CE7-4028-8C91-B701B9385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230475"/>
              <a:ext cx="2408180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работка электроэнергии, млн кВт</a:t>
              </a:r>
              <a:r>
                <a:rPr lang="ru-RU" altLang="ru-RU" sz="800" dirty="0">
                  <a:solidFill>
                    <a:srgbClr val="5E5E5E"/>
                  </a:solidFill>
                  <a:latin typeface="YS Text"/>
                  <a:cs typeface="Arial" panose="020B0604020202020204" pitchFamily="34" charset="0"/>
                </a:rPr>
                <a:t>/</a:t>
              </a:r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Прямоугольник 8">
              <a:extLst>
                <a:ext uri="{FF2B5EF4-FFF2-40B4-BE49-F238E27FC236}">
                  <a16:creationId xmlns:a16="http://schemas.microsoft.com/office/drawing/2014/main" id="{B68C74BF-AAA4-44C1-9DB1-C02A2B430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3671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094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65</a:t>
              </a: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76DA5ED2-9CFE-4AB1-AAE2-BD1E9A21A90E}"/>
              </a:ext>
            </a:extLst>
          </p:cNvPr>
          <p:cNvGrpSpPr/>
          <p:nvPr/>
        </p:nvGrpSpPr>
        <p:grpSpPr>
          <a:xfrm>
            <a:off x="2784394" y="4477866"/>
            <a:ext cx="1984279" cy="513149"/>
            <a:chOff x="422194" y="4477866"/>
            <a:chExt cx="1984279" cy="513149"/>
          </a:xfrm>
        </p:grpSpPr>
        <p:sp>
          <p:nvSpPr>
            <p:cNvPr id="115" name="Прямоугольник 8">
              <a:extLst>
                <a:ext uri="{FF2B5EF4-FFF2-40B4-BE49-F238E27FC236}">
                  <a16:creationId xmlns:a16="http://schemas.microsoft.com/office/drawing/2014/main" id="{24B0B187-2203-452A-B0A0-0C80E7DDC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47786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атурская ГРЭС</a:t>
              </a:r>
            </a:p>
          </p:txBody>
        </p:sp>
        <p:sp>
          <p:nvSpPr>
            <p:cNvPr id="116" name="Прямоугольник 8">
              <a:extLst>
                <a:ext uri="{FF2B5EF4-FFF2-40B4-BE49-F238E27FC236}">
                  <a16:creationId xmlns:a16="http://schemas.microsoft.com/office/drawing/2014/main" id="{4BC20737-2E88-4F4E-938D-27DE7E72FF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737099"/>
              <a:ext cx="1984279" cy="253916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en-US" altLang="ru-RU" sz="1050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[ </a:t>
              </a:r>
              <a:r>
                <a:rPr lang="ru-RU" altLang="ru-RU" sz="1050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з, уголь, торф, мазут </a:t>
              </a:r>
              <a:r>
                <a:rPr lang="en-US" altLang="ru-RU" sz="1050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</a:t>
              </a:r>
              <a:endParaRPr lang="ru-RU" altLang="ru-RU" sz="1100" dirty="0">
                <a:solidFill>
                  <a:srgbClr val="ED8C1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id="{AFA5B288-124D-44E1-B07C-940FD19DA7C8}"/>
              </a:ext>
            </a:extLst>
          </p:cNvPr>
          <p:cNvGrpSpPr/>
          <p:nvPr/>
        </p:nvGrpSpPr>
        <p:grpSpPr>
          <a:xfrm>
            <a:off x="2784394" y="4985875"/>
            <a:ext cx="1924766" cy="444408"/>
            <a:chOff x="422194" y="5023975"/>
            <a:chExt cx="1924766" cy="444408"/>
          </a:xfrm>
        </p:grpSpPr>
        <p:sp>
          <p:nvSpPr>
            <p:cNvPr id="118" name="Прямоугольник 8">
              <a:extLst>
                <a:ext uri="{FF2B5EF4-FFF2-40B4-BE49-F238E27FC236}">
                  <a16:creationId xmlns:a16="http://schemas.microsoft.com/office/drawing/2014/main" id="{558084B0-D64A-4DD6-8983-76B76792F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0239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ы ввода (включение в сеть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Прямоугольник 8">
              <a:extLst>
                <a:ext uri="{FF2B5EF4-FFF2-40B4-BE49-F238E27FC236}">
                  <a16:creationId xmlns:a16="http://schemas.microsoft.com/office/drawing/2014/main" id="{E9FC56A5-E74A-47C3-A757-C64C4B805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1606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71-2010</a:t>
              </a:r>
            </a:p>
          </p:txBody>
        </p:sp>
      </p:grp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id="{509058E5-94A0-4C9C-BA85-C37D31293962}"/>
              </a:ext>
            </a:extLst>
          </p:cNvPr>
          <p:cNvGrpSpPr/>
          <p:nvPr/>
        </p:nvGrpSpPr>
        <p:grpSpPr>
          <a:xfrm>
            <a:off x="2784394" y="5398625"/>
            <a:ext cx="1924766" cy="444408"/>
            <a:chOff x="422194" y="5436725"/>
            <a:chExt cx="1924766" cy="444408"/>
          </a:xfrm>
        </p:grpSpPr>
        <p:sp>
          <p:nvSpPr>
            <p:cNvPr id="121" name="Прямоугольник 8">
              <a:extLst>
                <a:ext uri="{FF2B5EF4-FFF2-40B4-BE49-F238E27FC236}">
                  <a16:creationId xmlns:a16="http://schemas.microsoft.com/office/drawing/2014/main" id="{E53D1E37-CBB0-42B8-A948-5315FA31A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43672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тановленная мощность (МВт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Прямоугольник 8">
              <a:extLst>
                <a:ext uri="{FF2B5EF4-FFF2-40B4-BE49-F238E27FC236}">
                  <a16:creationId xmlns:a16="http://schemas.microsoft.com/office/drawing/2014/main" id="{8519C020-B422-4B3A-9155-508E033FBE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57335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00</a:t>
              </a:r>
            </a:p>
          </p:txBody>
        </p: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7EC9092C-C937-4F77-A76B-E44B8A62E1E7}"/>
              </a:ext>
            </a:extLst>
          </p:cNvPr>
          <p:cNvGrpSpPr/>
          <p:nvPr/>
        </p:nvGrpSpPr>
        <p:grpSpPr>
          <a:xfrm>
            <a:off x="2784394" y="5824075"/>
            <a:ext cx="1924766" cy="444408"/>
            <a:chOff x="422194" y="5824075"/>
            <a:chExt cx="1924766" cy="444408"/>
          </a:xfrm>
        </p:grpSpPr>
        <p:sp>
          <p:nvSpPr>
            <p:cNvPr id="124" name="Прямоугольник 8">
              <a:extLst>
                <a:ext uri="{FF2B5EF4-FFF2-40B4-BE49-F238E27FC236}">
                  <a16:creationId xmlns:a16="http://schemas.microsoft.com/office/drawing/2014/main" id="{062D376A-E8FF-4671-AB49-67EC2D0AE5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8240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ИУМ, %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Прямоугольник 8">
              <a:extLst>
                <a:ext uri="{FF2B5EF4-FFF2-40B4-BE49-F238E27FC236}">
                  <a16:creationId xmlns:a16="http://schemas.microsoft.com/office/drawing/2014/main" id="{6582A7E5-5B9C-44A1-8E70-16C296F4F3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9607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9,5</a:t>
              </a:r>
            </a:p>
          </p:txBody>
        </p:sp>
      </p:grp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BB2C9584-42AE-43A2-8431-8CECB043B6E4}"/>
              </a:ext>
            </a:extLst>
          </p:cNvPr>
          <p:cNvGrpSpPr/>
          <p:nvPr/>
        </p:nvGrpSpPr>
        <p:grpSpPr>
          <a:xfrm>
            <a:off x="2784394" y="6230475"/>
            <a:ext cx="2408180" cy="444408"/>
            <a:chOff x="422194" y="6230475"/>
            <a:chExt cx="2408180" cy="444408"/>
          </a:xfrm>
        </p:grpSpPr>
        <p:sp>
          <p:nvSpPr>
            <p:cNvPr id="127" name="Прямоугольник 8">
              <a:extLst>
                <a:ext uri="{FF2B5EF4-FFF2-40B4-BE49-F238E27FC236}">
                  <a16:creationId xmlns:a16="http://schemas.microsoft.com/office/drawing/2014/main" id="{66B8236A-88E1-4719-B723-AA60EAC89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230475"/>
              <a:ext cx="2408180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работка электроэнергии, млн кВт</a:t>
              </a:r>
              <a:r>
                <a:rPr lang="ru-RU" altLang="ru-RU" sz="800" dirty="0">
                  <a:solidFill>
                    <a:srgbClr val="5E5E5E"/>
                  </a:solidFill>
                  <a:latin typeface="YS Text"/>
                  <a:cs typeface="Arial" panose="020B0604020202020204" pitchFamily="34" charset="0"/>
                </a:rPr>
                <a:t>/</a:t>
              </a:r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Прямоугольник 8">
              <a:extLst>
                <a:ext uri="{FF2B5EF4-FFF2-40B4-BE49-F238E27FC236}">
                  <a16:creationId xmlns:a16="http://schemas.microsoft.com/office/drawing/2014/main" id="{ABBD792D-48FD-405F-AA9F-D429545DA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3671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ED8C1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507</a:t>
              </a:r>
            </a:p>
          </p:txBody>
        </p:sp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id="{72B4C516-31C5-4A10-B628-4B5104AD929A}"/>
              </a:ext>
            </a:extLst>
          </p:cNvPr>
          <p:cNvGrpSpPr/>
          <p:nvPr/>
        </p:nvGrpSpPr>
        <p:grpSpPr>
          <a:xfrm>
            <a:off x="5127544" y="4477866"/>
            <a:ext cx="1924766" cy="520843"/>
            <a:chOff x="422194" y="4477866"/>
            <a:chExt cx="1924766" cy="520843"/>
          </a:xfrm>
        </p:grpSpPr>
        <p:sp>
          <p:nvSpPr>
            <p:cNvPr id="130" name="Прямоугольник 8">
              <a:extLst>
                <a:ext uri="{FF2B5EF4-FFF2-40B4-BE49-F238E27FC236}">
                  <a16:creationId xmlns:a16="http://schemas.microsoft.com/office/drawing/2014/main" id="{E1643989-6941-4530-B14D-17F1EABCB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47786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 err="1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Яйвинская</a:t>
              </a:r>
              <a:r>
                <a:rPr lang="ru-RU" altLang="ru-RU" sz="1400" b="1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ГРЭС</a:t>
              </a:r>
            </a:p>
          </p:txBody>
        </p:sp>
        <p:sp>
          <p:nvSpPr>
            <p:cNvPr id="131" name="Прямоугольник 8">
              <a:extLst>
                <a:ext uri="{FF2B5EF4-FFF2-40B4-BE49-F238E27FC236}">
                  <a16:creationId xmlns:a16="http://schemas.microsoft.com/office/drawing/2014/main" id="{CA192992-ACCF-4AB5-A207-D676BDABD4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737099"/>
              <a:ext cx="1386941" cy="261610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en-US" altLang="ru-RU" sz="1050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[ </a:t>
              </a:r>
              <a:r>
                <a:rPr lang="ru-RU" altLang="ru-RU" sz="1050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з, уголь </a:t>
              </a:r>
              <a:r>
                <a:rPr lang="en-US" altLang="ru-RU" sz="1050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</a:t>
              </a:r>
              <a:endParaRPr lang="ru-RU" altLang="ru-RU" sz="1100" dirty="0">
                <a:solidFill>
                  <a:srgbClr val="DE3A6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id="{585463E7-695E-477F-94D5-43E32D517812}"/>
              </a:ext>
            </a:extLst>
          </p:cNvPr>
          <p:cNvGrpSpPr/>
          <p:nvPr/>
        </p:nvGrpSpPr>
        <p:grpSpPr>
          <a:xfrm>
            <a:off x="5127544" y="4985875"/>
            <a:ext cx="1924766" cy="444408"/>
            <a:chOff x="422194" y="5023975"/>
            <a:chExt cx="1924766" cy="444408"/>
          </a:xfrm>
        </p:grpSpPr>
        <p:sp>
          <p:nvSpPr>
            <p:cNvPr id="133" name="Прямоугольник 8">
              <a:extLst>
                <a:ext uri="{FF2B5EF4-FFF2-40B4-BE49-F238E27FC236}">
                  <a16:creationId xmlns:a16="http://schemas.microsoft.com/office/drawing/2014/main" id="{3446BB3A-5ACE-4278-9DC2-E7A4286B5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0239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ы ввода (включение в сеть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Прямоугольник 8">
              <a:extLst>
                <a:ext uri="{FF2B5EF4-FFF2-40B4-BE49-F238E27FC236}">
                  <a16:creationId xmlns:a16="http://schemas.microsoft.com/office/drawing/2014/main" id="{020892BD-1CF6-476B-8EBE-1B58D99A23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1606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63-2011</a:t>
              </a:r>
            </a:p>
          </p:txBody>
        </p:sp>
      </p:grpSp>
      <p:grpSp>
        <p:nvGrpSpPr>
          <p:cNvPr id="135" name="Группа 134">
            <a:extLst>
              <a:ext uri="{FF2B5EF4-FFF2-40B4-BE49-F238E27FC236}">
                <a16:creationId xmlns:a16="http://schemas.microsoft.com/office/drawing/2014/main" id="{70333BAF-110F-4D41-9DE2-329AA875ED74}"/>
              </a:ext>
            </a:extLst>
          </p:cNvPr>
          <p:cNvGrpSpPr/>
          <p:nvPr/>
        </p:nvGrpSpPr>
        <p:grpSpPr>
          <a:xfrm>
            <a:off x="5127544" y="5398625"/>
            <a:ext cx="1924766" cy="444408"/>
            <a:chOff x="422194" y="5436725"/>
            <a:chExt cx="1924766" cy="444408"/>
          </a:xfrm>
        </p:grpSpPr>
        <p:sp>
          <p:nvSpPr>
            <p:cNvPr id="136" name="Прямоугольник 8">
              <a:extLst>
                <a:ext uri="{FF2B5EF4-FFF2-40B4-BE49-F238E27FC236}">
                  <a16:creationId xmlns:a16="http://schemas.microsoft.com/office/drawing/2014/main" id="{0DEAE4C6-8802-4F03-8EB0-DFCA65E3FC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43672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тановленная мощность (МВт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Прямоугольник 8">
              <a:extLst>
                <a:ext uri="{FF2B5EF4-FFF2-40B4-BE49-F238E27FC236}">
                  <a16:creationId xmlns:a16="http://schemas.microsoft.com/office/drawing/2014/main" id="{91ABEAEF-02A7-4270-9997-BD50ED538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57335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48</a:t>
              </a:r>
            </a:p>
          </p:txBody>
        </p:sp>
      </p:grpSp>
      <p:grpSp>
        <p:nvGrpSpPr>
          <p:cNvPr id="138" name="Группа 137">
            <a:extLst>
              <a:ext uri="{FF2B5EF4-FFF2-40B4-BE49-F238E27FC236}">
                <a16:creationId xmlns:a16="http://schemas.microsoft.com/office/drawing/2014/main" id="{C0A81FB2-0D98-43A3-AD0A-534D2BC6EE28}"/>
              </a:ext>
            </a:extLst>
          </p:cNvPr>
          <p:cNvGrpSpPr/>
          <p:nvPr/>
        </p:nvGrpSpPr>
        <p:grpSpPr>
          <a:xfrm>
            <a:off x="5127544" y="5824075"/>
            <a:ext cx="1924766" cy="444408"/>
            <a:chOff x="422194" y="5824075"/>
            <a:chExt cx="1924766" cy="444408"/>
          </a:xfrm>
        </p:grpSpPr>
        <p:sp>
          <p:nvSpPr>
            <p:cNvPr id="139" name="Прямоугольник 8">
              <a:extLst>
                <a:ext uri="{FF2B5EF4-FFF2-40B4-BE49-F238E27FC236}">
                  <a16:creationId xmlns:a16="http://schemas.microsoft.com/office/drawing/2014/main" id="{71F93BC2-F1B7-4274-A16C-3045133E7F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8240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ИУМ, %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Прямоугольник 8">
              <a:extLst>
                <a:ext uri="{FF2B5EF4-FFF2-40B4-BE49-F238E27FC236}">
                  <a16:creationId xmlns:a16="http://schemas.microsoft.com/office/drawing/2014/main" id="{50C7D18C-D80C-4CF6-AF99-79DCEF24E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9607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,4</a:t>
              </a:r>
            </a:p>
          </p:txBody>
        </p:sp>
      </p:grp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id="{910019D2-4E63-4A9B-AA69-C845A52E1B75}"/>
              </a:ext>
            </a:extLst>
          </p:cNvPr>
          <p:cNvGrpSpPr/>
          <p:nvPr/>
        </p:nvGrpSpPr>
        <p:grpSpPr>
          <a:xfrm>
            <a:off x="5127544" y="6230475"/>
            <a:ext cx="2408180" cy="444408"/>
            <a:chOff x="422194" y="6230475"/>
            <a:chExt cx="2408180" cy="444408"/>
          </a:xfrm>
        </p:grpSpPr>
        <p:sp>
          <p:nvSpPr>
            <p:cNvPr id="142" name="Прямоугольник 8">
              <a:extLst>
                <a:ext uri="{FF2B5EF4-FFF2-40B4-BE49-F238E27FC236}">
                  <a16:creationId xmlns:a16="http://schemas.microsoft.com/office/drawing/2014/main" id="{C7683678-C5A8-401E-ADC3-4F6ADCBEFC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230475"/>
              <a:ext cx="2408180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работка электроэнергии, млн кВт</a:t>
              </a:r>
              <a:r>
                <a:rPr lang="ru-RU" altLang="ru-RU" sz="800" dirty="0">
                  <a:solidFill>
                    <a:srgbClr val="5E5E5E"/>
                  </a:solidFill>
                  <a:latin typeface="YS Text"/>
                  <a:cs typeface="Arial" panose="020B0604020202020204" pitchFamily="34" charset="0"/>
                </a:rPr>
                <a:t>/</a:t>
              </a:r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Прямоугольник 8">
              <a:extLst>
                <a:ext uri="{FF2B5EF4-FFF2-40B4-BE49-F238E27FC236}">
                  <a16:creationId xmlns:a16="http://schemas.microsoft.com/office/drawing/2014/main" id="{16F7DFD4-0A5D-4303-A747-D298A28A2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3671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DE3A6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26</a:t>
              </a:r>
            </a:p>
          </p:txBody>
        </p:sp>
      </p:grpSp>
      <p:grpSp>
        <p:nvGrpSpPr>
          <p:cNvPr id="144" name="Группа 143">
            <a:extLst>
              <a:ext uri="{FF2B5EF4-FFF2-40B4-BE49-F238E27FC236}">
                <a16:creationId xmlns:a16="http://schemas.microsoft.com/office/drawing/2014/main" id="{F8FF1BA6-0740-4D1C-86FF-D25525B0A887}"/>
              </a:ext>
            </a:extLst>
          </p:cNvPr>
          <p:cNvGrpSpPr/>
          <p:nvPr/>
        </p:nvGrpSpPr>
        <p:grpSpPr>
          <a:xfrm>
            <a:off x="7504984" y="4477866"/>
            <a:ext cx="1924766" cy="520843"/>
            <a:chOff x="422194" y="4477866"/>
            <a:chExt cx="1924766" cy="520843"/>
          </a:xfrm>
        </p:grpSpPr>
        <p:sp>
          <p:nvSpPr>
            <p:cNvPr id="145" name="Прямоугольник 8">
              <a:extLst>
                <a:ext uri="{FF2B5EF4-FFF2-40B4-BE49-F238E27FC236}">
                  <a16:creationId xmlns:a16="http://schemas.microsoft.com/office/drawing/2014/main" id="{36258145-3A8F-46AF-AE10-1610EF6D65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47786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ргутская ГРЭС-2</a:t>
              </a:r>
            </a:p>
          </p:txBody>
        </p:sp>
        <p:sp>
          <p:nvSpPr>
            <p:cNvPr id="146" name="Прямоугольник 8">
              <a:extLst>
                <a:ext uri="{FF2B5EF4-FFF2-40B4-BE49-F238E27FC236}">
                  <a16:creationId xmlns:a16="http://schemas.microsoft.com/office/drawing/2014/main" id="{19E20DAA-9F5A-49F4-851C-3C911318E3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737099"/>
              <a:ext cx="1386941" cy="261610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en-US" altLang="ru-RU" sz="1050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[ </a:t>
              </a:r>
              <a:r>
                <a:rPr lang="ru-RU" altLang="ru-RU" sz="1050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з </a:t>
              </a:r>
              <a:r>
                <a:rPr lang="en-US" altLang="ru-RU" sz="1050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</a:t>
              </a:r>
              <a:endParaRPr lang="ru-RU" altLang="ru-RU" sz="1100" dirty="0">
                <a:solidFill>
                  <a:srgbClr val="29527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Группа 146">
            <a:extLst>
              <a:ext uri="{FF2B5EF4-FFF2-40B4-BE49-F238E27FC236}">
                <a16:creationId xmlns:a16="http://schemas.microsoft.com/office/drawing/2014/main" id="{03988F62-648C-4324-B22F-8502E66ACA64}"/>
              </a:ext>
            </a:extLst>
          </p:cNvPr>
          <p:cNvGrpSpPr/>
          <p:nvPr/>
        </p:nvGrpSpPr>
        <p:grpSpPr>
          <a:xfrm>
            <a:off x="7504984" y="4985875"/>
            <a:ext cx="1924766" cy="444408"/>
            <a:chOff x="422194" y="5023975"/>
            <a:chExt cx="1924766" cy="444408"/>
          </a:xfrm>
        </p:grpSpPr>
        <p:sp>
          <p:nvSpPr>
            <p:cNvPr id="148" name="Прямоугольник 8">
              <a:extLst>
                <a:ext uri="{FF2B5EF4-FFF2-40B4-BE49-F238E27FC236}">
                  <a16:creationId xmlns:a16="http://schemas.microsoft.com/office/drawing/2014/main" id="{142AEC98-4B44-45AA-A156-050ECD056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0239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ы ввода (включение в сеть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Прямоугольник 8">
              <a:extLst>
                <a:ext uri="{FF2B5EF4-FFF2-40B4-BE49-F238E27FC236}">
                  <a16:creationId xmlns:a16="http://schemas.microsoft.com/office/drawing/2014/main" id="{875CFE4D-7C25-4733-BCF2-40C788B4D6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1606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85-2011</a:t>
              </a:r>
            </a:p>
          </p:txBody>
        </p:sp>
      </p:grp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023B1753-5435-4E59-8574-D8288CDEC09C}"/>
              </a:ext>
            </a:extLst>
          </p:cNvPr>
          <p:cNvGrpSpPr/>
          <p:nvPr/>
        </p:nvGrpSpPr>
        <p:grpSpPr>
          <a:xfrm>
            <a:off x="7504984" y="5398625"/>
            <a:ext cx="1924766" cy="444408"/>
            <a:chOff x="422194" y="5436725"/>
            <a:chExt cx="1924766" cy="444408"/>
          </a:xfrm>
        </p:grpSpPr>
        <p:sp>
          <p:nvSpPr>
            <p:cNvPr id="151" name="Прямоугольник 8">
              <a:extLst>
                <a:ext uri="{FF2B5EF4-FFF2-40B4-BE49-F238E27FC236}">
                  <a16:creationId xmlns:a16="http://schemas.microsoft.com/office/drawing/2014/main" id="{A7423537-D103-43DD-9BCF-6FDC2376D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43672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тановленная мощность (МВт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Прямоугольник 8">
              <a:extLst>
                <a:ext uri="{FF2B5EF4-FFF2-40B4-BE49-F238E27FC236}">
                  <a16:creationId xmlns:a16="http://schemas.microsoft.com/office/drawing/2014/main" id="{61D22842-8CD2-4A30-8BCF-197BAFB928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57335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687</a:t>
              </a:r>
            </a:p>
          </p:txBody>
        </p:sp>
      </p:grpSp>
      <p:grpSp>
        <p:nvGrpSpPr>
          <p:cNvPr id="153" name="Группа 152">
            <a:extLst>
              <a:ext uri="{FF2B5EF4-FFF2-40B4-BE49-F238E27FC236}">
                <a16:creationId xmlns:a16="http://schemas.microsoft.com/office/drawing/2014/main" id="{A66904B3-672C-4251-BB51-1B2E4859FBAD}"/>
              </a:ext>
            </a:extLst>
          </p:cNvPr>
          <p:cNvGrpSpPr/>
          <p:nvPr/>
        </p:nvGrpSpPr>
        <p:grpSpPr>
          <a:xfrm>
            <a:off x="7504984" y="5824075"/>
            <a:ext cx="1924766" cy="444408"/>
            <a:chOff x="422194" y="5824075"/>
            <a:chExt cx="1924766" cy="444408"/>
          </a:xfrm>
        </p:grpSpPr>
        <p:sp>
          <p:nvSpPr>
            <p:cNvPr id="154" name="Прямоугольник 8">
              <a:extLst>
                <a:ext uri="{FF2B5EF4-FFF2-40B4-BE49-F238E27FC236}">
                  <a16:creationId xmlns:a16="http://schemas.microsoft.com/office/drawing/2014/main" id="{DD274713-1FE9-4780-A83C-F805FE50B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8240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ИУМ, %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Прямоугольник 8">
              <a:extLst>
                <a:ext uri="{FF2B5EF4-FFF2-40B4-BE49-F238E27FC236}">
                  <a16:creationId xmlns:a16="http://schemas.microsoft.com/office/drawing/2014/main" id="{343E9091-30A6-4FFE-8883-58D999A4A8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9607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1,1</a:t>
              </a:r>
            </a:p>
          </p:txBody>
        </p:sp>
      </p:grpSp>
      <p:grpSp>
        <p:nvGrpSpPr>
          <p:cNvPr id="156" name="Группа 155">
            <a:extLst>
              <a:ext uri="{FF2B5EF4-FFF2-40B4-BE49-F238E27FC236}">
                <a16:creationId xmlns:a16="http://schemas.microsoft.com/office/drawing/2014/main" id="{B01E2F24-EBEE-4C0D-80F1-1C5C8BE18EF8}"/>
              </a:ext>
            </a:extLst>
          </p:cNvPr>
          <p:cNvGrpSpPr/>
          <p:nvPr/>
        </p:nvGrpSpPr>
        <p:grpSpPr>
          <a:xfrm>
            <a:off x="7504984" y="6230475"/>
            <a:ext cx="2408180" cy="444408"/>
            <a:chOff x="422194" y="6230475"/>
            <a:chExt cx="2408180" cy="444408"/>
          </a:xfrm>
        </p:grpSpPr>
        <p:sp>
          <p:nvSpPr>
            <p:cNvPr id="157" name="Прямоугольник 8">
              <a:extLst>
                <a:ext uri="{FF2B5EF4-FFF2-40B4-BE49-F238E27FC236}">
                  <a16:creationId xmlns:a16="http://schemas.microsoft.com/office/drawing/2014/main" id="{B9950DF7-6221-4FEA-81B6-774CEBAB2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230475"/>
              <a:ext cx="2408180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работка электроэнергии, млн кВт</a:t>
              </a:r>
              <a:r>
                <a:rPr lang="ru-RU" altLang="ru-RU" sz="800" dirty="0">
                  <a:solidFill>
                    <a:srgbClr val="5E5E5E"/>
                  </a:solidFill>
                  <a:latin typeface="YS Text"/>
                  <a:cs typeface="Arial" panose="020B0604020202020204" pitchFamily="34" charset="0"/>
                </a:rPr>
                <a:t>/</a:t>
              </a:r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Прямоугольник 8">
              <a:extLst>
                <a:ext uri="{FF2B5EF4-FFF2-40B4-BE49-F238E27FC236}">
                  <a16:creationId xmlns:a16="http://schemas.microsoft.com/office/drawing/2014/main" id="{20F40F3C-3F5A-48BD-A238-CEE6925752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3671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2952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414</a:t>
              </a:r>
            </a:p>
          </p:txBody>
        </p:sp>
      </p:grpSp>
      <p:grpSp>
        <p:nvGrpSpPr>
          <p:cNvPr id="159" name="Группа 158">
            <a:extLst>
              <a:ext uri="{FF2B5EF4-FFF2-40B4-BE49-F238E27FC236}">
                <a16:creationId xmlns:a16="http://schemas.microsoft.com/office/drawing/2014/main" id="{4AD7179B-0AC8-45D3-80AE-A33039FF73F7}"/>
              </a:ext>
            </a:extLst>
          </p:cNvPr>
          <p:cNvGrpSpPr/>
          <p:nvPr/>
        </p:nvGrpSpPr>
        <p:grpSpPr>
          <a:xfrm>
            <a:off x="9805272" y="3792066"/>
            <a:ext cx="1924766" cy="520843"/>
            <a:chOff x="422194" y="4477866"/>
            <a:chExt cx="1924766" cy="520843"/>
          </a:xfrm>
        </p:grpSpPr>
        <p:sp>
          <p:nvSpPr>
            <p:cNvPr id="160" name="Прямоугольник 8">
              <a:extLst>
                <a:ext uri="{FF2B5EF4-FFF2-40B4-BE49-F238E27FC236}">
                  <a16:creationId xmlns:a16="http://schemas.microsoft.com/office/drawing/2014/main" id="{7D7E907B-4FF6-45BB-926D-3B72232879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47786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езовская ГРЭС</a:t>
              </a:r>
            </a:p>
          </p:txBody>
        </p:sp>
        <p:sp>
          <p:nvSpPr>
            <p:cNvPr id="161" name="Прямоугольник 8">
              <a:extLst>
                <a:ext uri="{FF2B5EF4-FFF2-40B4-BE49-F238E27FC236}">
                  <a16:creationId xmlns:a16="http://schemas.microsoft.com/office/drawing/2014/main" id="{9A7C6553-1C54-4568-9CB1-2C397C843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4737099"/>
              <a:ext cx="1386941" cy="261610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en-US" altLang="ru-RU" sz="1050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[ </a:t>
              </a:r>
              <a:r>
                <a:rPr lang="ru-RU" altLang="ru-RU" sz="1050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голь </a:t>
              </a:r>
              <a:r>
                <a:rPr lang="en-US" altLang="ru-RU" sz="1050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</a:t>
              </a:r>
              <a:endParaRPr lang="ru-RU" altLang="ru-RU" sz="1100" dirty="0">
                <a:solidFill>
                  <a:srgbClr val="0875BB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2" name="Группа 161">
            <a:extLst>
              <a:ext uri="{FF2B5EF4-FFF2-40B4-BE49-F238E27FC236}">
                <a16:creationId xmlns:a16="http://schemas.microsoft.com/office/drawing/2014/main" id="{6D54A1B7-525B-48D0-9B90-AAAD8F5E722A}"/>
              </a:ext>
            </a:extLst>
          </p:cNvPr>
          <p:cNvGrpSpPr/>
          <p:nvPr/>
        </p:nvGrpSpPr>
        <p:grpSpPr>
          <a:xfrm>
            <a:off x="9805272" y="4300075"/>
            <a:ext cx="1924766" cy="444408"/>
            <a:chOff x="422194" y="5023975"/>
            <a:chExt cx="1924766" cy="444408"/>
          </a:xfrm>
        </p:grpSpPr>
        <p:sp>
          <p:nvSpPr>
            <p:cNvPr id="163" name="Прямоугольник 8">
              <a:extLst>
                <a:ext uri="{FF2B5EF4-FFF2-40B4-BE49-F238E27FC236}">
                  <a16:creationId xmlns:a16="http://schemas.microsoft.com/office/drawing/2014/main" id="{DB26B682-8666-49BD-B580-470FD02AF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0239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ы ввода (включение в сеть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Прямоугольник 8">
              <a:extLst>
                <a:ext uri="{FF2B5EF4-FFF2-40B4-BE49-F238E27FC236}">
                  <a16:creationId xmlns:a16="http://schemas.microsoft.com/office/drawing/2014/main" id="{80F140A9-5952-4E27-82DC-4367098BA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1606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87-2015</a:t>
              </a:r>
            </a:p>
          </p:txBody>
        </p:sp>
      </p:grpSp>
      <p:grpSp>
        <p:nvGrpSpPr>
          <p:cNvPr id="165" name="Группа 164">
            <a:extLst>
              <a:ext uri="{FF2B5EF4-FFF2-40B4-BE49-F238E27FC236}">
                <a16:creationId xmlns:a16="http://schemas.microsoft.com/office/drawing/2014/main" id="{5DB28582-31FB-4214-930E-224DB5361A24}"/>
              </a:ext>
            </a:extLst>
          </p:cNvPr>
          <p:cNvGrpSpPr/>
          <p:nvPr/>
        </p:nvGrpSpPr>
        <p:grpSpPr>
          <a:xfrm>
            <a:off x="9805272" y="4712825"/>
            <a:ext cx="1975529" cy="1664225"/>
            <a:chOff x="422194" y="5436725"/>
            <a:chExt cx="1975529" cy="1664225"/>
          </a:xfrm>
        </p:grpSpPr>
        <p:sp>
          <p:nvSpPr>
            <p:cNvPr id="166" name="Прямоугольник 8">
              <a:extLst>
                <a:ext uri="{FF2B5EF4-FFF2-40B4-BE49-F238E27FC236}">
                  <a16:creationId xmlns:a16="http://schemas.microsoft.com/office/drawing/2014/main" id="{09C37972-9FF1-43A9-A767-70DF04D74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43672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тановленная мощность (МВт)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Прямоугольник 8">
              <a:extLst>
                <a:ext uri="{FF2B5EF4-FFF2-40B4-BE49-F238E27FC236}">
                  <a16:creationId xmlns:a16="http://schemas.microsoft.com/office/drawing/2014/main" id="{DE050F0F-9482-4866-8CC8-978E438783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57335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420**</a:t>
              </a:r>
            </a:p>
          </p:txBody>
        </p:sp>
        <p:sp>
          <p:nvSpPr>
            <p:cNvPr id="192" name="Прямоугольник 8">
              <a:extLst>
                <a:ext uri="{FF2B5EF4-FFF2-40B4-BE49-F238E27FC236}">
                  <a16:creationId xmlns:a16="http://schemas.microsoft.com/office/drawing/2014/main" id="{0DE8A2F0-AB9A-49E3-B5CE-C6F76B796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957" y="6885506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* с октября 2023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8" name="Группа 167">
            <a:extLst>
              <a:ext uri="{FF2B5EF4-FFF2-40B4-BE49-F238E27FC236}">
                <a16:creationId xmlns:a16="http://schemas.microsoft.com/office/drawing/2014/main" id="{658FA075-1B36-4AC3-989A-D3CD825C29D4}"/>
              </a:ext>
            </a:extLst>
          </p:cNvPr>
          <p:cNvGrpSpPr/>
          <p:nvPr/>
        </p:nvGrpSpPr>
        <p:grpSpPr>
          <a:xfrm>
            <a:off x="9805272" y="5138275"/>
            <a:ext cx="1924766" cy="444408"/>
            <a:chOff x="422194" y="5824075"/>
            <a:chExt cx="1924766" cy="444408"/>
          </a:xfrm>
        </p:grpSpPr>
        <p:sp>
          <p:nvSpPr>
            <p:cNvPr id="169" name="Прямоугольник 8">
              <a:extLst>
                <a:ext uri="{FF2B5EF4-FFF2-40B4-BE49-F238E27FC236}">
                  <a16:creationId xmlns:a16="http://schemas.microsoft.com/office/drawing/2014/main" id="{A2A15A77-456F-4823-A4B9-F76FA7F96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824075"/>
              <a:ext cx="1924766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ИУМ, %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Прямоугольник 8">
              <a:extLst>
                <a:ext uri="{FF2B5EF4-FFF2-40B4-BE49-F238E27FC236}">
                  <a16:creationId xmlns:a16="http://schemas.microsoft.com/office/drawing/2014/main" id="{97DA566D-792B-4202-A96F-40E88199A9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59607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1,9</a:t>
              </a:r>
            </a:p>
          </p:txBody>
        </p:sp>
      </p:grpSp>
      <p:grpSp>
        <p:nvGrpSpPr>
          <p:cNvPr id="171" name="Группа 170">
            <a:extLst>
              <a:ext uri="{FF2B5EF4-FFF2-40B4-BE49-F238E27FC236}">
                <a16:creationId xmlns:a16="http://schemas.microsoft.com/office/drawing/2014/main" id="{4A051183-9A85-4A08-8E30-A8670F526325}"/>
              </a:ext>
            </a:extLst>
          </p:cNvPr>
          <p:cNvGrpSpPr/>
          <p:nvPr/>
        </p:nvGrpSpPr>
        <p:grpSpPr>
          <a:xfrm>
            <a:off x="9805272" y="5544675"/>
            <a:ext cx="2408180" cy="444408"/>
            <a:chOff x="422194" y="6230475"/>
            <a:chExt cx="2408180" cy="444408"/>
          </a:xfrm>
        </p:grpSpPr>
        <p:sp>
          <p:nvSpPr>
            <p:cNvPr id="172" name="Прямоугольник 8">
              <a:extLst>
                <a:ext uri="{FF2B5EF4-FFF2-40B4-BE49-F238E27FC236}">
                  <a16:creationId xmlns:a16="http://schemas.microsoft.com/office/drawing/2014/main" id="{F790D6CE-6214-4F8F-AB5E-DB7612ED5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230475"/>
              <a:ext cx="2408180" cy="215444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работка электроэнергии, млн кВт</a:t>
              </a:r>
              <a:r>
                <a:rPr lang="ru-RU" altLang="ru-RU" sz="800" dirty="0">
                  <a:solidFill>
                    <a:srgbClr val="5E5E5E"/>
                  </a:solidFill>
                  <a:latin typeface="YS Text"/>
                  <a:cs typeface="Arial" panose="020B0604020202020204" pitchFamily="34" charset="0"/>
                </a:rPr>
                <a:t>/</a:t>
              </a:r>
              <a:r>
                <a:rPr lang="ru-RU" altLang="ru-RU" sz="800" dirty="0">
                  <a:solidFill>
                    <a:srgbClr val="5E5E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</a:t>
              </a:r>
              <a:endParaRPr lang="ru-RU" altLang="ru-RU" sz="12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Прямоугольник 8">
              <a:extLst>
                <a:ext uri="{FF2B5EF4-FFF2-40B4-BE49-F238E27FC236}">
                  <a16:creationId xmlns:a16="http://schemas.microsoft.com/office/drawing/2014/main" id="{3562AA22-6E97-402D-8908-B07C25490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94" y="6367106"/>
              <a:ext cx="1924766" cy="307777"/>
            </a:xfrm>
            <a:prstGeom prst="rect">
              <a:avLst/>
            </a:prstGeom>
            <a:noFill/>
            <a:ln>
              <a:noFill/>
            </a:ln>
            <a:effectLst>
              <a:outerShdw blurRad="266700" dist="50800" dir="5400000" algn="ctr" rotWithShape="0">
                <a:schemeClr val="tx1">
                  <a:alpha val="20000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Polo" panose="02000400000000000000" pitchFamily="2" charset="0"/>
                </a:defRPr>
              </a:lvl9pPr>
            </a:lstStyle>
            <a:p>
              <a:r>
                <a:rPr lang="ru-RU" altLang="ru-RU" sz="1400" b="1" dirty="0">
                  <a:solidFill>
                    <a:srgbClr val="0875B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941</a:t>
              </a:r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0B32F955-51F5-40F0-AA51-5305F0B5B705}"/>
              </a:ext>
            </a:extLst>
          </p:cNvPr>
          <p:cNvGrpSpPr/>
          <p:nvPr/>
        </p:nvGrpSpPr>
        <p:grpSpPr>
          <a:xfrm>
            <a:off x="401057" y="440944"/>
            <a:ext cx="6432843" cy="937628"/>
            <a:chOff x="401057" y="440944"/>
            <a:chExt cx="6432843" cy="937628"/>
          </a:xfrm>
        </p:grpSpPr>
        <p:sp>
          <p:nvSpPr>
            <p:cNvPr id="175" name="Прямоугольник 174">
              <a:extLst>
                <a:ext uri="{FF2B5EF4-FFF2-40B4-BE49-F238E27FC236}">
                  <a16:creationId xmlns:a16="http://schemas.microsoft.com/office/drawing/2014/main" id="{947B39D0-4C32-4138-8B75-CA5AAC304507}"/>
                </a:ext>
              </a:extLst>
            </p:cNvPr>
            <p:cNvSpPr/>
            <p:nvPr/>
          </p:nvSpPr>
          <p:spPr>
            <a:xfrm>
              <a:off x="401057" y="440944"/>
              <a:ext cx="6295018" cy="937628"/>
            </a:xfrm>
            <a:prstGeom prst="rect">
              <a:avLst/>
            </a:prstGeom>
            <a:solidFill>
              <a:srgbClr val="0078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76" name="Текст 1">
              <a:extLst>
                <a:ext uri="{FF2B5EF4-FFF2-40B4-BE49-F238E27FC236}">
                  <a16:creationId xmlns:a16="http://schemas.microsoft.com/office/drawing/2014/main" id="{4EB293B1-7871-487E-99C0-9F6083CF33C9}"/>
                </a:ext>
              </a:extLst>
            </p:cNvPr>
            <p:cNvSpPr txBox="1">
              <a:spLocks/>
            </p:cNvSpPr>
            <p:nvPr/>
          </p:nvSpPr>
          <p:spPr>
            <a:xfrm>
              <a:off x="740928" y="511031"/>
              <a:ext cx="6092972" cy="755457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defPPr>
                <a:defRPr lang="ru-RU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ru-RU" sz="3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еография ПАО «</a:t>
              </a:r>
              <a:r>
                <a:rPr lang="ru-RU" sz="32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нипро</a:t>
              </a:r>
              <a:r>
                <a:rPr lang="ru-RU" sz="3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</p:txBody>
        </p:sp>
      </p:grpSp>
      <p:grpSp>
        <p:nvGrpSpPr>
          <p:cNvPr id="178" name="Группа 177">
            <a:extLst>
              <a:ext uri="{FF2B5EF4-FFF2-40B4-BE49-F238E27FC236}">
                <a16:creationId xmlns:a16="http://schemas.microsoft.com/office/drawing/2014/main" id="{5338B06F-A7DD-4D32-85D6-9E15E0A00F8B}"/>
              </a:ext>
            </a:extLst>
          </p:cNvPr>
          <p:cNvGrpSpPr/>
          <p:nvPr/>
        </p:nvGrpSpPr>
        <p:grpSpPr>
          <a:xfrm>
            <a:off x="7455508" y="440944"/>
            <a:ext cx="4230419" cy="1916493"/>
            <a:chOff x="7455508" y="440944"/>
            <a:chExt cx="4230419" cy="1916493"/>
          </a:xfrm>
        </p:grpSpPr>
        <p:sp>
          <p:nvSpPr>
            <p:cNvPr id="179" name="Прямоугольник 178">
              <a:extLst>
                <a:ext uri="{FF2B5EF4-FFF2-40B4-BE49-F238E27FC236}">
                  <a16:creationId xmlns:a16="http://schemas.microsoft.com/office/drawing/2014/main" id="{7AE72457-6810-40B7-918C-75B1F7822DEC}"/>
                </a:ext>
              </a:extLst>
            </p:cNvPr>
            <p:cNvSpPr/>
            <p:nvPr/>
          </p:nvSpPr>
          <p:spPr>
            <a:xfrm>
              <a:off x="7504984" y="440944"/>
              <a:ext cx="4180943" cy="19164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431800" dir="5400000" sx="90000" sy="90000" algn="ctr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0" name="Прямоугольник 179">
              <a:extLst>
                <a:ext uri="{FF2B5EF4-FFF2-40B4-BE49-F238E27FC236}">
                  <a16:creationId xmlns:a16="http://schemas.microsoft.com/office/drawing/2014/main" id="{D4E967E6-477A-49E8-9F0F-6EDA52AB12AA}"/>
                </a:ext>
              </a:extLst>
            </p:cNvPr>
            <p:cNvSpPr/>
            <p:nvPr/>
          </p:nvSpPr>
          <p:spPr>
            <a:xfrm rot="16200000">
              <a:off x="7093928" y="1350647"/>
              <a:ext cx="820247" cy="97087"/>
            </a:xfrm>
            <a:prstGeom prst="rect">
              <a:avLst/>
            </a:prstGeom>
            <a:solidFill>
              <a:srgbClr val="69AB4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B5D05D"/>
                </a:solidFill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E8EF8AE-FF28-450A-8C61-C6C2C49A3509}"/>
              </a:ext>
            </a:extLst>
          </p:cNvPr>
          <p:cNvGrpSpPr/>
          <p:nvPr/>
        </p:nvGrpSpPr>
        <p:grpSpPr>
          <a:xfrm>
            <a:off x="7806231" y="911347"/>
            <a:ext cx="4385769" cy="975687"/>
            <a:chOff x="7806231" y="771649"/>
            <a:chExt cx="4385769" cy="975687"/>
          </a:xfrm>
        </p:grpSpPr>
        <p:sp>
          <p:nvSpPr>
            <p:cNvPr id="182" name="Прямоугольник 181">
              <a:extLst>
                <a:ext uri="{FF2B5EF4-FFF2-40B4-BE49-F238E27FC236}">
                  <a16:creationId xmlns:a16="http://schemas.microsoft.com/office/drawing/2014/main" id="{83451EBC-48E4-4185-BC5A-22790B376FE9}"/>
                </a:ext>
              </a:extLst>
            </p:cNvPr>
            <p:cNvSpPr/>
            <p:nvPr/>
          </p:nvSpPr>
          <p:spPr>
            <a:xfrm>
              <a:off x="7806231" y="771649"/>
              <a:ext cx="438576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C"/>
                  </a:solidFill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1 2</a:t>
              </a:r>
              <a:r>
                <a:rPr kumimoji="0" lang="ru-RU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C"/>
                  </a:solidFill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8DC"/>
                  </a:solidFill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 </a:t>
              </a:r>
              <a:r>
                <a:rPr lang="ru-RU" sz="4800" b="1" dirty="0">
                  <a:solidFill>
                    <a:srgbClr val="0078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Вт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78DC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Текст 2">
              <a:extLst>
                <a:ext uri="{FF2B5EF4-FFF2-40B4-BE49-F238E27FC236}">
                  <a16:creationId xmlns:a16="http://schemas.microsoft.com/office/drawing/2014/main" id="{17F6F9A9-BDFA-4DC1-95E2-B80116A51E46}"/>
                </a:ext>
              </a:extLst>
            </p:cNvPr>
            <p:cNvSpPr txBox="1">
              <a:spLocks/>
            </p:cNvSpPr>
            <p:nvPr/>
          </p:nvSpPr>
          <p:spPr>
            <a:xfrm>
              <a:off x="7853856" y="1447551"/>
              <a:ext cx="2520315" cy="299785"/>
            </a:xfrm>
            <a:prstGeom prst="rect">
              <a:avLst/>
            </a:prstGeom>
          </p:spPr>
          <p:txBody>
            <a:bodyPr/>
            <a:lstStyle>
              <a:lvl1pPr marL="180975" indent="-180975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Clr>
                  <a:srgbClr val="0078DC"/>
                </a:buClr>
                <a:buFont typeface="Arial" panose="020B0604020202020204" pitchFamily="34" charset="0"/>
                <a:buChar char="•"/>
                <a:defRPr kumimoji="0" lang="ru-RU" sz="1800" b="0" i="0" u="none" strike="noStrike" kern="1200" cap="none" spc="0" normalizeH="0" baseline="0" dirty="0" smtClean="0">
                  <a:ln>
                    <a:noFill/>
                  </a:ln>
                  <a:solidFill>
                    <a:srgbClr val="5E5E5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0078DC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ru-RU" sz="1400" dirty="0">
                  <a:solidFill>
                    <a:srgbClr val="0078DC"/>
                  </a:solidFill>
                </a:rPr>
                <a:t>установленная мощность**</a:t>
              </a:r>
              <a:endPara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0078DC"/>
                </a:solidFill>
                <a:uLnTx/>
                <a:uFillTx/>
              </a:endParaRPr>
            </a:p>
          </p:txBody>
        </p:sp>
      </p:grpSp>
      <p:pic>
        <p:nvPicPr>
          <p:cNvPr id="184" name="Рисунок 183">
            <a:extLst>
              <a:ext uri="{FF2B5EF4-FFF2-40B4-BE49-F238E27FC236}">
                <a16:creationId xmlns:a16="http://schemas.microsoft.com/office/drawing/2014/main" id="{B345A4F4-2644-45A5-B414-81C74066E2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55070" y="631444"/>
            <a:ext cx="207205" cy="270421"/>
          </a:xfrm>
          <a:prstGeom prst="rect">
            <a:avLst/>
          </a:prstGeom>
        </p:spPr>
      </p:pic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id="{8255CC7A-7C0F-43D6-8BCC-F961333763FC}"/>
              </a:ext>
            </a:extLst>
          </p:cNvPr>
          <p:cNvSpPr/>
          <p:nvPr/>
        </p:nvSpPr>
        <p:spPr>
          <a:xfrm>
            <a:off x="11734578" y="6400578"/>
            <a:ext cx="339438" cy="339438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88" name="Прямоугольник 187">
            <a:extLst>
              <a:ext uri="{FF2B5EF4-FFF2-40B4-BE49-F238E27FC236}">
                <a16:creationId xmlns:a16="http://schemas.microsoft.com/office/drawing/2014/main" id="{EBE178C6-FE4D-4D16-AE61-541B110938CD}"/>
              </a:ext>
            </a:extLst>
          </p:cNvPr>
          <p:cNvSpPr/>
          <p:nvPr/>
        </p:nvSpPr>
        <p:spPr>
          <a:xfrm>
            <a:off x="635420" y="1246278"/>
            <a:ext cx="3341741" cy="539750"/>
          </a:xfrm>
          <a:prstGeom prst="rect">
            <a:avLst/>
          </a:prstGeom>
          <a:solidFill>
            <a:srgbClr val="009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9" name="Прямоугольник 188">
            <a:extLst>
              <a:ext uri="{FF2B5EF4-FFF2-40B4-BE49-F238E27FC236}">
                <a16:creationId xmlns:a16="http://schemas.microsoft.com/office/drawing/2014/main" id="{E353F1AA-2B6B-413F-812E-5BCA21CC7E50}"/>
              </a:ext>
            </a:extLst>
          </p:cNvPr>
          <p:cNvSpPr/>
          <p:nvPr/>
        </p:nvSpPr>
        <p:spPr>
          <a:xfrm>
            <a:off x="744373" y="1349705"/>
            <a:ext cx="76679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работка и КИУМ* за 2022 год</a:t>
            </a:r>
          </a:p>
        </p:txBody>
      </p:sp>
      <p:sp>
        <p:nvSpPr>
          <p:cNvPr id="177" name="Текст 2">
            <a:extLst>
              <a:ext uri="{FF2B5EF4-FFF2-40B4-BE49-F238E27FC236}">
                <a16:creationId xmlns:a16="http://schemas.microsoft.com/office/drawing/2014/main" id="{A04B8CF1-992C-4687-81E9-A5B8D4EA5776}"/>
              </a:ext>
            </a:extLst>
          </p:cNvPr>
          <p:cNvSpPr txBox="1">
            <a:spLocks/>
          </p:cNvSpPr>
          <p:nvPr/>
        </p:nvSpPr>
        <p:spPr>
          <a:xfrm>
            <a:off x="9781784" y="6377885"/>
            <a:ext cx="2520315" cy="299785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8DC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uLnTx/>
              <a:uFillTx/>
            </a:endParaRPr>
          </a:p>
        </p:txBody>
      </p:sp>
      <p:sp>
        <p:nvSpPr>
          <p:cNvPr id="185" name="Текст 2">
            <a:extLst>
              <a:ext uri="{FF2B5EF4-FFF2-40B4-BE49-F238E27FC236}">
                <a16:creationId xmlns:a16="http://schemas.microsoft.com/office/drawing/2014/main" id="{FAC433D9-BB10-4AAD-97FF-D03B51FFF77D}"/>
              </a:ext>
            </a:extLst>
          </p:cNvPr>
          <p:cNvSpPr txBox="1">
            <a:spLocks/>
          </p:cNvSpPr>
          <p:nvPr/>
        </p:nvSpPr>
        <p:spPr>
          <a:xfrm>
            <a:off x="557671" y="1771476"/>
            <a:ext cx="3630154" cy="299785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78D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000" i="0" dirty="0">
                <a:effectLst/>
              </a:rPr>
              <a:t>Коэффициент использования установленной мощности</a:t>
            </a:r>
            <a:endParaRPr kumimoji="0" lang="ru-RU" sz="10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uLnTx/>
              <a:uFillTx/>
            </a:endParaRPr>
          </a:p>
        </p:txBody>
      </p:sp>
      <p:sp>
        <p:nvSpPr>
          <p:cNvPr id="181" name="Прямоугольник 180">
            <a:extLst>
              <a:ext uri="{FF2B5EF4-FFF2-40B4-BE49-F238E27FC236}">
                <a16:creationId xmlns:a16="http://schemas.microsoft.com/office/drawing/2014/main" id="{B205D1C4-91DF-4709-BD1F-12EC6E98EE93}"/>
              </a:ext>
            </a:extLst>
          </p:cNvPr>
          <p:cNvSpPr/>
          <p:nvPr/>
        </p:nvSpPr>
        <p:spPr>
          <a:xfrm>
            <a:off x="430771" y="3520423"/>
            <a:ext cx="623887" cy="97087"/>
          </a:xfrm>
          <a:prstGeom prst="rect">
            <a:avLst/>
          </a:prstGeom>
          <a:solidFill>
            <a:srgbClr val="0095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86" name="Соединитель: уступ 185">
            <a:extLst>
              <a:ext uri="{FF2B5EF4-FFF2-40B4-BE49-F238E27FC236}">
                <a16:creationId xmlns:a16="http://schemas.microsoft.com/office/drawing/2014/main" id="{0BCE6BBF-50AC-470A-8D26-F85E22B665CA}"/>
              </a:ext>
            </a:extLst>
          </p:cNvPr>
          <p:cNvCxnSpPr>
            <a:cxnSpLocks/>
            <a:stCxn id="181" idx="0"/>
          </p:cNvCxnSpPr>
          <p:nvPr/>
        </p:nvCxnSpPr>
        <p:spPr>
          <a:xfrm rot="5400000" flipH="1" flipV="1">
            <a:off x="810716" y="2619078"/>
            <a:ext cx="833344" cy="969347"/>
          </a:xfrm>
          <a:prstGeom prst="bentConnector2">
            <a:avLst/>
          </a:prstGeom>
          <a:ln w="19050">
            <a:solidFill>
              <a:srgbClr val="00953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14881D7A-E29F-441A-9FB1-CF01C18FA1B4}"/>
              </a:ext>
            </a:extLst>
          </p:cNvPr>
          <p:cNvSpPr/>
          <p:nvPr/>
        </p:nvSpPr>
        <p:spPr>
          <a:xfrm>
            <a:off x="430772" y="3520423"/>
            <a:ext cx="623887" cy="97087"/>
          </a:xfrm>
          <a:prstGeom prst="rect">
            <a:avLst/>
          </a:prstGeom>
          <a:solidFill>
            <a:srgbClr val="009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91" name="Соединитель: уступ 190">
            <a:extLst>
              <a:ext uri="{FF2B5EF4-FFF2-40B4-BE49-F238E27FC236}">
                <a16:creationId xmlns:a16="http://schemas.microsoft.com/office/drawing/2014/main" id="{5E12D402-0E25-4938-A3D4-EC7D80438A40}"/>
              </a:ext>
            </a:extLst>
          </p:cNvPr>
          <p:cNvCxnSpPr>
            <a:cxnSpLocks/>
            <a:stCxn id="190" idx="0"/>
          </p:cNvCxnSpPr>
          <p:nvPr/>
        </p:nvCxnSpPr>
        <p:spPr>
          <a:xfrm rot="5400000" flipH="1" flipV="1">
            <a:off x="810717" y="2619078"/>
            <a:ext cx="833344" cy="969347"/>
          </a:xfrm>
          <a:prstGeom prst="bentConnector2">
            <a:avLst/>
          </a:prstGeom>
          <a:ln w="19050">
            <a:solidFill>
              <a:srgbClr val="00953C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300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98D90B1-6FB5-4FE0-B487-0F82E5CA7F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300" r="40340"/>
          <a:stretch/>
        </p:blipFill>
        <p:spPr>
          <a:xfrm>
            <a:off x="6052134" y="0"/>
            <a:ext cx="6139866" cy="6905767"/>
          </a:xfrm>
          <a:custGeom>
            <a:avLst/>
            <a:gdLst>
              <a:gd name="connsiteX0" fmla="*/ 1129079 w 6139866"/>
              <a:gd name="connsiteY0" fmla="*/ 0 h 6905767"/>
              <a:gd name="connsiteX1" fmla="*/ 6139866 w 6139866"/>
              <a:gd name="connsiteY1" fmla="*/ 0 h 6905767"/>
              <a:gd name="connsiteX2" fmla="*/ 6139866 w 6139866"/>
              <a:gd name="connsiteY2" fmla="*/ 6905767 h 6905767"/>
              <a:gd name="connsiteX3" fmla="*/ 0 w 6139866"/>
              <a:gd name="connsiteY3" fmla="*/ 6905767 h 6905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39866" h="6905767">
                <a:moveTo>
                  <a:pt x="1129079" y="0"/>
                </a:moveTo>
                <a:lnTo>
                  <a:pt x="6139866" y="0"/>
                </a:lnTo>
                <a:lnTo>
                  <a:pt x="6139866" y="6905767"/>
                </a:lnTo>
                <a:lnTo>
                  <a:pt x="0" y="6905767"/>
                </a:lnTo>
                <a:close/>
              </a:path>
            </a:pathLst>
          </a:custGeom>
        </p:spPr>
      </p:pic>
      <p:sp>
        <p:nvSpPr>
          <p:cNvPr id="13" name="Параллелограмм 9">
            <a:extLst>
              <a:ext uri="{FF2B5EF4-FFF2-40B4-BE49-F238E27FC236}">
                <a16:creationId xmlns:a16="http://schemas.microsoft.com/office/drawing/2014/main" id="{6136A76E-7FDB-4AB3-9B5B-4680F347D425}"/>
              </a:ext>
            </a:extLst>
          </p:cNvPr>
          <p:cNvSpPr/>
          <p:nvPr/>
        </p:nvSpPr>
        <p:spPr>
          <a:xfrm rot="16760118">
            <a:off x="2874411" y="3393000"/>
            <a:ext cx="7485856" cy="72000"/>
          </a:xfrm>
          <a:custGeom>
            <a:avLst/>
            <a:gdLst>
              <a:gd name="connsiteX0" fmla="*/ 0 w 3868380"/>
              <a:gd name="connsiteY0" fmla="*/ 74429 h 74429"/>
              <a:gd name="connsiteX1" fmla="*/ 18607 w 3868380"/>
              <a:gd name="connsiteY1" fmla="*/ 0 h 74429"/>
              <a:gd name="connsiteX2" fmla="*/ 3868380 w 3868380"/>
              <a:gd name="connsiteY2" fmla="*/ 0 h 74429"/>
              <a:gd name="connsiteX3" fmla="*/ 3849773 w 3868380"/>
              <a:gd name="connsiteY3" fmla="*/ 74429 h 74429"/>
              <a:gd name="connsiteX4" fmla="*/ 0 w 3868380"/>
              <a:gd name="connsiteY4" fmla="*/ 74429 h 74429"/>
              <a:gd name="connsiteX0" fmla="*/ 27454 w 3849773"/>
              <a:gd name="connsiteY0" fmla="*/ 93193 h 93193"/>
              <a:gd name="connsiteX1" fmla="*/ 0 w 3849773"/>
              <a:gd name="connsiteY1" fmla="*/ 0 h 93193"/>
              <a:gd name="connsiteX2" fmla="*/ 3849773 w 3849773"/>
              <a:gd name="connsiteY2" fmla="*/ 0 h 93193"/>
              <a:gd name="connsiteX3" fmla="*/ 3831166 w 3849773"/>
              <a:gd name="connsiteY3" fmla="*/ 74429 h 93193"/>
              <a:gd name="connsiteX4" fmla="*/ 27454 w 3849773"/>
              <a:gd name="connsiteY4" fmla="*/ 93193 h 93193"/>
              <a:gd name="connsiteX0" fmla="*/ 32084 w 3849773"/>
              <a:gd name="connsiteY0" fmla="*/ 91243 h 91243"/>
              <a:gd name="connsiteX1" fmla="*/ 0 w 3849773"/>
              <a:gd name="connsiteY1" fmla="*/ 0 h 91243"/>
              <a:gd name="connsiteX2" fmla="*/ 3849773 w 3849773"/>
              <a:gd name="connsiteY2" fmla="*/ 0 h 91243"/>
              <a:gd name="connsiteX3" fmla="*/ 3831166 w 3849773"/>
              <a:gd name="connsiteY3" fmla="*/ 74429 h 91243"/>
              <a:gd name="connsiteX4" fmla="*/ 32084 w 3849773"/>
              <a:gd name="connsiteY4" fmla="*/ 91243 h 91243"/>
              <a:gd name="connsiteX0" fmla="*/ 45976 w 3849773"/>
              <a:gd name="connsiteY0" fmla="*/ 85393 h 85393"/>
              <a:gd name="connsiteX1" fmla="*/ 0 w 3849773"/>
              <a:gd name="connsiteY1" fmla="*/ 0 h 85393"/>
              <a:gd name="connsiteX2" fmla="*/ 3849773 w 3849773"/>
              <a:gd name="connsiteY2" fmla="*/ 0 h 85393"/>
              <a:gd name="connsiteX3" fmla="*/ 3831166 w 3849773"/>
              <a:gd name="connsiteY3" fmla="*/ 74429 h 85393"/>
              <a:gd name="connsiteX4" fmla="*/ 45976 w 3849773"/>
              <a:gd name="connsiteY4" fmla="*/ 85393 h 85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9773" h="85393">
                <a:moveTo>
                  <a:pt x="45976" y="85393"/>
                </a:moveTo>
                <a:lnTo>
                  <a:pt x="0" y="0"/>
                </a:lnTo>
                <a:lnTo>
                  <a:pt x="3849773" y="0"/>
                </a:lnTo>
                <a:lnTo>
                  <a:pt x="3831166" y="74429"/>
                </a:lnTo>
                <a:lnTo>
                  <a:pt x="45976" y="85393"/>
                </a:lnTo>
                <a:close/>
              </a:path>
            </a:pathLst>
          </a:custGeom>
          <a:solidFill>
            <a:srgbClr val="009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84804EB2-9D2A-4DE4-8044-8E5450C81ED6}"/>
              </a:ext>
            </a:extLst>
          </p:cNvPr>
          <p:cNvSpPr txBox="1">
            <a:spLocks/>
          </p:cNvSpPr>
          <p:nvPr/>
        </p:nvSpPr>
        <p:spPr>
          <a:xfrm>
            <a:off x="492078" y="508961"/>
            <a:ext cx="11161597" cy="987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800" b="1" dirty="0">
                <a:solidFill>
                  <a:srgbClr val="0078DC"/>
                </a:solidFill>
              </a:rPr>
              <a:t>Активы – </a:t>
            </a:r>
          </a:p>
          <a:p>
            <a:pPr algn="l"/>
            <a:r>
              <a:rPr lang="ru-RU" sz="2800" b="1" dirty="0">
                <a:solidFill>
                  <a:srgbClr val="0078DC"/>
                </a:solidFill>
              </a:rPr>
              <a:t>Сургутская ГРЭС-2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04FA2731-DF77-4F03-A462-490BDA71D67C}"/>
              </a:ext>
            </a:extLst>
          </p:cNvPr>
          <p:cNvSpPr txBox="1">
            <a:spLocks/>
          </p:cNvSpPr>
          <p:nvPr/>
        </p:nvSpPr>
        <p:spPr>
          <a:xfrm>
            <a:off x="492078" y="1456537"/>
            <a:ext cx="5748465" cy="43574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ложена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. Сургут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нты-Мансийского автономного округа – Югры</a:t>
            </a:r>
          </a:p>
          <a:p>
            <a:pPr algn="l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я большая тепловая станция в мир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установленной мощности, работающая на газе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ргутская ГРЭС-2 – одна из самых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ых тепловых станций,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ый крупный производитель электроэнергии в России</a:t>
            </a:r>
          </a:p>
          <a:p>
            <a:pPr algn="l"/>
            <a:endParaRPr lang="ru-RU" sz="6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ый блок станции был пущен в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5 году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стой энергоблок был включен в сеть в сентябре 1988 года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1 году запущены в эксплуатацию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а новых парогазовых энергоблока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уммарной мощностью 797,1 МВт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6 году за счет </a:t>
            </a:r>
            <a:r>
              <a:rPr lang="ru-RU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маркировки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нергоблоков ПСУ 800 МВт Сургутская ГРЭС-2 официально получила суммарную прибавку мощности в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МВт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7 году Сургутская ГРЭС-2 выработала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триллион кВт</a:t>
            </a:r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 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9 году мощность парогазового блока № 8 выросла на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МВт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ять паросиловых блоков Сургутской ГРЭС-2 отобраны </a:t>
            </a:r>
          </a:p>
          <a:p>
            <a:pPr algn="l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участия в программе модернизации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ация блока № 1 закончена в 2022 году, его мощность увеличена на 20 МВт и составляет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0 МВт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A553C25-F199-4FA5-B814-CCBAD2B6D36B}"/>
              </a:ext>
            </a:extLst>
          </p:cNvPr>
          <p:cNvSpPr/>
          <p:nvPr/>
        </p:nvSpPr>
        <p:spPr>
          <a:xfrm>
            <a:off x="0" y="6032310"/>
            <a:ext cx="12192000" cy="873457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931027C-E899-4C32-AA85-A1B0FD81F5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6024" y="452804"/>
            <a:ext cx="951836" cy="57110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8F511E8-8F01-4E92-817B-A5379D0A92BE}"/>
              </a:ext>
            </a:extLst>
          </p:cNvPr>
          <p:cNvSpPr txBox="1"/>
          <p:nvPr/>
        </p:nvSpPr>
        <p:spPr>
          <a:xfrm>
            <a:off x="1715803" y="6130098"/>
            <a:ext cx="24092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 топлива: газ</a:t>
            </a: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ценовая зон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777D18-0128-4A5D-A802-51B0F0F294E4}"/>
              </a:ext>
            </a:extLst>
          </p:cNvPr>
          <p:cNvSpPr txBox="1"/>
          <p:nvPr/>
        </p:nvSpPr>
        <p:spPr>
          <a:xfrm>
            <a:off x="3993910" y="6130098"/>
            <a:ext cx="30696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ная мощность: </a:t>
            </a:r>
            <a:b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687 МВ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0A5D1E-6977-4F72-9719-7B5F426B8F19}"/>
              </a:ext>
            </a:extLst>
          </p:cNvPr>
          <p:cNvSpPr txBox="1"/>
          <p:nvPr/>
        </p:nvSpPr>
        <p:spPr>
          <a:xfrm>
            <a:off x="7095108" y="6130098"/>
            <a:ext cx="49837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У-800 №№ 1-6 (годы ввода: 1985-1988)</a:t>
            </a: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ГУ-400 №№ 7, 8 (год ввода: 2011)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BF023CF-6591-4494-A83B-5725485F9E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85" y="6291398"/>
            <a:ext cx="588135" cy="352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335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670D916-E31C-4F71-8BB4-993FCD8789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9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101"/>
          <a:stretch>
            <a:fillRect/>
          </a:stretch>
        </p:blipFill>
        <p:spPr>
          <a:xfrm>
            <a:off x="6019756" y="9832"/>
            <a:ext cx="6208639" cy="6901474"/>
          </a:xfrm>
          <a:custGeom>
            <a:avLst/>
            <a:gdLst>
              <a:gd name="connsiteX0" fmla="*/ 1156532 w 6208639"/>
              <a:gd name="connsiteY0" fmla="*/ 0 h 6901474"/>
              <a:gd name="connsiteX1" fmla="*/ 6208639 w 6208639"/>
              <a:gd name="connsiteY1" fmla="*/ 0 h 6901474"/>
              <a:gd name="connsiteX2" fmla="*/ 6208639 w 6208639"/>
              <a:gd name="connsiteY2" fmla="*/ 6901474 h 6901474"/>
              <a:gd name="connsiteX3" fmla="*/ 0 w 6208639"/>
              <a:gd name="connsiteY3" fmla="*/ 6901474 h 6901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08639" h="6901474">
                <a:moveTo>
                  <a:pt x="1156532" y="0"/>
                </a:moveTo>
                <a:lnTo>
                  <a:pt x="6208639" y="0"/>
                </a:lnTo>
                <a:lnTo>
                  <a:pt x="6208639" y="6901474"/>
                </a:lnTo>
                <a:lnTo>
                  <a:pt x="0" y="6901474"/>
                </a:lnTo>
                <a:close/>
              </a:path>
            </a:pathLst>
          </a:custGeom>
        </p:spPr>
      </p:pic>
      <p:sp>
        <p:nvSpPr>
          <p:cNvPr id="17" name="Параллелограмм 9">
            <a:extLst>
              <a:ext uri="{FF2B5EF4-FFF2-40B4-BE49-F238E27FC236}">
                <a16:creationId xmlns:a16="http://schemas.microsoft.com/office/drawing/2014/main" id="{4046BB16-C3F6-47E9-801C-7AD26708E3FA}"/>
              </a:ext>
            </a:extLst>
          </p:cNvPr>
          <p:cNvSpPr/>
          <p:nvPr/>
        </p:nvSpPr>
        <p:spPr>
          <a:xfrm rot="16760118">
            <a:off x="2874411" y="3393000"/>
            <a:ext cx="7485856" cy="72000"/>
          </a:xfrm>
          <a:custGeom>
            <a:avLst/>
            <a:gdLst>
              <a:gd name="connsiteX0" fmla="*/ 0 w 3868380"/>
              <a:gd name="connsiteY0" fmla="*/ 74429 h 74429"/>
              <a:gd name="connsiteX1" fmla="*/ 18607 w 3868380"/>
              <a:gd name="connsiteY1" fmla="*/ 0 h 74429"/>
              <a:gd name="connsiteX2" fmla="*/ 3868380 w 3868380"/>
              <a:gd name="connsiteY2" fmla="*/ 0 h 74429"/>
              <a:gd name="connsiteX3" fmla="*/ 3849773 w 3868380"/>
              <a:gd name="connsiteY3" fmla="*/ 74429 h 74429"/>
              <a:gd name="connsiteX4" fmla="*/ 0 w 3868380"/>
              <a:gd name="connsiteY4" fmla="*/ 74429 h 74429"/>
              <a:gd name="connsiteX0" fmla="*/ 27454 w 3849773"/>
              <a:gd name="connsiteY0" fmla="*/ 93193 h 93193"/>
              <a:gd name="connsiteX1" fmla="*/ 0 w 3849773"/>
              <a:gd name="connsiteY1" fmla="*/ 0 h 93193"/>
              <a:gd name="connsiteX2" fmla="*/ 3849773 w 3849773"/>
              <a:gd name="connsiteY2" fmla="*/ 0 h 93193"/>
              <a:gd name="connsiteX3" fmla="*/ 3831166 w 3849773"/>
              <a:gd name="connsiteY3" fmla="*/ 74429 h 93193"/>
              <a:gd name="connsiteX4" fmla="*/ 27454 w 3849773"/>
              <a:gd name="connsiteY4" fmla="*/ 93193 h 93193"/>
              <a:gd name="connsiteX0" fmla="*/ 32084 w 3849773"/>
              <a:gd name="connsiteY0" fmla="*/ 91243 h 91243"/>
              <a:gd name="connsiteX1" fmla="*/ 0 w 3849773"/>
              <a:gd name="connsiteY1" fmla="*/ 0 h 91243"/>
              <a:gd name="connsiteX2" fmla="*/ 3849773 w 3849773"/>
              <a:gd name="connsiteY2" fmla="*/ 0 h 91243"/>
              <a:gd name="connsiteX3" fmla="*/ 3831166 w 3849773"/>
              <a:gd name="connsiteY3" fmla="*/ 74429 h 91243"/>
              <a:gd name="connsiteX4" fmla="*/ 32084 w 3849773"/>
              <a:gd name="connsiteY4" fmla="*/ 91243 h 91243"/>
              <a:gd name="connsiteX0" fmla="*/ 45976 w 3849773"/>
              <a:gd name="connsiteY0" fmla="*/ 85393 h 85393"/>
              <a:gd name="connsiteX1" fmla="*/ 0 w 3849773"/>
              <a:gd name="connsiteY1" fmla="*/ 0 h 85393"/>
              <a:gd name="connsiteX2" fmla="*/ 3849773 w 3849773"/>
              <a:gd name="connsiteY2" fmla="*/ 0 h 85393"/>
              <a:gd name="connsiteX3" fmla="*/ 3831166 w 3849773"/>
              <a:gd name="connsiteY3" fmla="*/ 74429 h 85393"/>
              <a:gd name="connsiteX4" fmla="*/ 45976 w 3849773"/>
              <a:gd name="connsiteY4" fmla="*/ 85393 h 85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9773" h="85393">
                <a:moveTo>
                  <a:pt x="45976" y="85393"/>
                </a:moveTo>
                <a:lnTo>
                  <a:pt x="0" y="0"/>
                </a:lnTo>
                <a:lnTo>
                  <a:pt x="3849773" y="0"/>
                </a:lnTo>
                <a:lnTo>
                  <a:pt x="3831166" y="74429"/>
                </a:lnTo>
                <a:lnTo>
                  <a:pt x="45976" y="85393"/>
                </a:lnTo>
                <a:close/>
              </a:path>
            </a:pathLst>
          </a:custGeom>
          <a:solidFill>
            <a:srgbClr val="0094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84804EB2-9D2A-4DE4-8044-8E5450C81ED6}"/>
              </a:ext>
            </a:extLst>
          </p:cNvPr>
          <p:cNvSpPr txBox="1">
            <a:spLocks/>
          </p:cNvSpPr>
          <p:nvPr/>
        </p:nvSpPr>
        <p:spPr>
          <a:xfrm>
            <a:off x="473222" y="523368"/>
            <a:ext cx="11213316" cy="987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800" b="1" dirty="0">
                <a:solidFill>
                  <a:srgbClr val="0078DC"/>
                </a:solidFill>
              </a:rPr>
              <a:t>Активы – </a:t>
            </a:r>
          </a:p>
          <a:p>
            <a:pPr algn="l"/>
            <a:r>
              <a:rPr lang="ru-RU" sz="2800" b="1" dirty="0">
                <a:solidFill>
                  <a:srgbClr val="0078DC"/>
                </a:solidFill>
              </a:rPr>
              <a:t>Березовская ГРЭС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04FA2731-DF77-4F03-A462-490BDA71D67C}"/>
              </a:ext>
            </a:extLst>
          </p:cNvPr>
          <p:cNvSpPr txBox="1">
            <a:spLocks/>
          </p:cNvSpPr>
          <p:nvPr/>
        </p:nvSpPr>
        <p:spPr>
          <a:xfrm>
            <a:off x="473221" y="1531431"/>
            <a:ext cx="5842737" cy="43574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ложена в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ыповском район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ярского края. Установленная мощность – 2420 МВт 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я мощная тепловая электростанция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ярского края</a:t>
            </a:r>
          </a:p>
          <a:p>
            <a:pPr algn="l"/>
            <a:endParaRPr lang="ru-RU" sz="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зовская ГРЭС имеет уникальную схему поставки топлива Основной объем угля поступает на электростанцию непосредственно с Березовского месторождения Канско-Ачинского бассейна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умя 14-километровыми открытыми конвейерами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ный пуск первого энергоблока состоялся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декабря 1987 года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блок включен в сеть в марте 1988 года, второй – 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апреле 1991 года</a:t>
            </a:r>
          </a:p>
          <a:p>
            <a:pPr algn="l"/>
            <a:endParaRPr lang="ru-RU" sz="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строительству на Березовской ГРЭС третьего энергоблока мощностью 800 МВт компания приступила в мае 2011 года </a:t>
            </a: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 был введен в эксплуатацию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2015 году.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2 году мощность блока была увеличена до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810 МВт</a:t>
            </a:r>
          </a:p>
          <a:p>
            <a:pPr algn="l"/>
            <a:endParaRPr lang="ru-RU" sz="8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ымовая труба Березовской ГРЭС – самый высокий технологический объект в России. Ее высота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0 м</a:t>
            </a:r>
          </a:p>
          <a:p>
            <a:pPr algn="l"/>
            <a:endParaRPr lang="ru-RU" sz="1400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A553C25-F199-4FA5-B814-CCBAD2B6D36B}"/>
              </a:ext>
            </a:extLst>
          </p:cNvPr>
          <p:cNvSpPr/>
          <p:nvPr/>
        </p:nvSpPr>
        <p:spPr>
          <a:xfrm>
            <a:off x="0" y="6032310"/>
            <a:ext cx="12228394" cy="873457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8F511E8-8F01-4E92-817B-A5379D0A92BE}"/>
              </a:ext>
            </a:extLst>
          </p:cNvPr>
          <p:cNvSpPr txBox="1"/>
          <p:nvPr/>
        </p:nvSpPr>
        <p:spPr>
          <a:xfrm>
            <a:off x="1708271" y="6130098"/>
            <a:ext cx="24092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 топлива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оль</a:t>
            </a:r>
            <a:endParaRPr lang="en-US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овая зон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777D18-0128-4A5D-A802-51B0F0F294E4}"/>
              </a:ext>
            </a:extLst>
          </p:cNvPr>
          <p:cNvSpPr txBox="1"/>
          <p:nvPr/>
        </p:nvSpPr>
        <p:spPr>
          <a:xfrm>
            <a:off x="3989107" y="6130098"/>
            <a:ext cx="30696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ная мощность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В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0A5D1E-6977-4F72-9719-7B5F426B8F19}"/>
              </a:ext>
            </a:extLst>
          </p:cNvPr>
          <p:cNvSpPr txBox="1"/>
          <p:nvPr/>
        </p:nvSpPr>
        <p:spPr>
          <a:xfrm>
            <a:off x="7095108" y="6130098"/>
            <a:ext cx="49837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У-800 №№ 1, 2 (годы ввода: 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7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91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У-800 № 3 (год ввода: 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)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6F7AEBA2-70F1-44A0-8053-98364214D961}"/>
              </a:ext>
            </a:extLst>
          </p:cNvPr>
          <p:cNvSpPr/>
          <p:nvPr/>
        </p:nvSpPr>
        <p:spPr>
          <a:xfrm>
            <a:off x="11734578" y="6390746"/>
            <a:ext cx="339438" cy="339438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533E3D9-5670-4006-A27F-CC2FA92EEFA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85" y="6291398"/>
            <a:ext cx="588135" cy="352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6053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ject 10">
            <a:extLst>
              <a:ext uri="{FF2B5EF4-FFF2-40B4-BE49-F238E27FC236}">
                <a16:creationId xmlns:a16="http://schemas.microsoft.com/office/drawing/2014/main" id="{DC222AF7-525F-48CC-90C4-EAFB712C9660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864621" y="1446204"/>
            <a:ext cx="2280131" cy="227822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4AEBD016-440F-48E7-AA31-68726D99F89C}"/>
              </a:ext>
            </a:extLst>
          </p:cNvPr>
          <p:cNvPicPr/>
          <p:nvPr/>
        </p:nvPicPr>
        <p:blipFill>
          <a:blip r:embed="rId3" cstate="print"/>
          <a:srcRect l="20209" t="28957"/>
          <a:stretch>
            <a:fillRect/>
          </a:stretch>
        </p:blipFill>
        <p:spPr>
          <a:xfrm>
            <a:off x="4954391" y="1425388"/>
            <a:ext cx="2246368" cy="2250450"/>
          </a:xfrm>
          <a:custGeom>
            <a:avLst/>
            <a:gdLst>
              <a:gd name="connsiteX0" fmla="*/ 1188000 w 2246368"/>
              <a:gd name="connsiteY0" fmla="*/ 0 h 2250450"/>
              <a:gd name="connsiteX1" fmla="*/ 2232615 w 2246368"/>
              <a:gd name="connsiteY1" fmla="*/ 621729 h 2250450"/>
              <a:gd name="connsiteX2" fmla="*/ 2246368 w 2246368"/>
              <a:gd name="connsiteY2" fmla="*/ 650279 h 2250450"/>
              <a:gd name="connsiteX3" fmla="*/ 2246368 w 2246368"/>
              <a:gd name="connsiteY3" fmla="*/ 1725721 h 2250450"/>
              <a:gd name="connsiteX4" fmla="*/ 2232615 w 2246368"/>
              <a:gd name="connsiteY4" fmla="*/ 1754271 h 2250450"/>
              <a:gd name="connsiteX5" fmla="*/ 1754271 w 2246368"/>
              <a:gd name="connsiteY5" fmla="*/ 2232615 h 2250450"/>
              <a:gd name="connsiteX6" fmla="*/ 1717248 w 2246368"/>
              <a:gd name="connsiteY6" fmla="*/ 2250450 h 2250450"/>
              <a:gd name="connsiteX7" fmla="*/ 658753 w 2246368"/>
              <a:gd name="connsiteY7" fmla="*/ 2250450 h 2250450"/>
              <a:gd name="connsiteX8" fmla="*/ 621729 w 2246368"/>
              <a:gd name="connsiteY8" fmla="*/ 2232615 h 2250450"/>
              <a:gd name="connsiteX9" fmla="*/ 0 w 2246368"/>
              <a:gd name="connsiteY9" fmla="*/ 1188000 h 2250450"/>
              <a:gd name="connsiteX10" fmla="*/ 1188000 w 2246368"/>
              <a:gd name="connsiteY10" fmla="*/ 0 h 225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46368" h="2250450">
                <a:moveTo>
                  <a:pt x="1188000" y="0"/>
                </a:moveTo>
                <a:cubicBezTo>
                  <a:pt x="1639079" y="0"/>
                  <a:pt x="2031440" y="251399"/>
                  <a:pt x="2232615" y="621729"/>
                </a:cubicBezTo>
                <a:lnTo>
                  <a:pt x="2246368" y="650279"/>
                </a:lnTo>
                <a:lnTo>
                  <a:pt x="2246368" y="1725721"/>
                </a:lnTo>
                <a:lnTo>
                  <a:pt x="2232615" y="1754271"/>
                </a:lnTo>
                <a:cubicBezTo>
                  <a:pt x="2122883" y="1956269"/>
                  <a:pt x="1956269" y="2122883"/>
                  <a:pt x="1754271" y="2232615"/>
                </a:cubicBezTo>
                <a:lnTo>
                  <a:pt x="1717248" y="2250450"/>
                </a:lnTo>
                <a:lnTo>
                  <a:pt x="658753" y="2250450"/>
                </a:lnTo>
                <a:lnTo>
                  <a:pt x="621729" y="2232615"/>
                </a:lnTo>
                <a:cubicBezTo>
                  <a:pt x="251400" y="2031440"/>
                  <a:pt x="0" y="1639078"/>
                  <a:pt x="0" y="1188000"/>
                </a:cubicBezTo>
                <a:cubicBezTo>
                  <a:pt x="0" y="531886"/>
                  <a:pt x="531886" y="0"/>
                  <a:pt x="1188000" y="0"/>
                </a:cubicBezTo>
                <a:close/>
              </a:path>
            </a:pathLst>
          </a:custGeom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74F8D28F-2DF9-473D-8EE3-97C07BB90979}"/>
              </a:ext>
            </a:extLst>
          </p:cNvPr>
          <p:cNvSpPr/>
          <p:nvPr/>
        </p:nvSpPr>
        <p:spPr>
          <a:xfrm>
            <a:off x="5003282" y="1475612"/>
            <a:ext cx="2278219" cy="2278219"/>
          </a:xfrm>
          <a:prstGeom prst="ellipse">
            <a:avLst/>
          </a:prstGeom>
          <a:noFill/>
          <a:ln w="209550">
            <a:solidFill>
              <a:srgbClr val="007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769FB4F5-CD7F-44E8-B62D-A1E53CC27441}"/>
              </a:ext>
            </a:extLst>
          </p:cNvPr>
          <p:cNvSpPr/>
          <p:nvPr/>
        </p:nvSpPr>
        <p:spPr>
          <a:xfrm>
            <a:off x="8875935" y="1475612"/>
            <a:ext cx="2278219" cy="2278219"/>
          </a:xfrm>
          <a:prstGeom prst="ellipse">
            <a:avLst/>
          </a:prstGeom>
          <a:noFill/>
          <a:ln w="209550">
            <a:solidFill>
              <a:srgbClr val="007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C4899A0-1002-45C7-83C4-F8E32C0C84C5}"/>
              </a:ext>
            </a:extLst>
          </p:cNvPr>
          <p:cNvPicPr/>
          <p:nvPr/>
        </p:nvPicPr>
        <p:blipFill>
          <a:blip r:embed="rId4" cstate="print"/>
          <a:srcRect l="1941" t="28807" r="20411" b="2185"/>
          <a:stretch>
            <a:fillRect/>
          </a:stretch>
        </p:blipFill>
        <p:spPr>
          <a:xfrm>
            <a:off x="1117106" y="1407388"/>
            <a:ext cx="2412000" cy="2412000"/>
          </a:xfrm>
          <a:custGeom>
            <a:avLst/>
            <a:gdLst>
              <a:gd name="connsiteX0" fmla="*/ 1206000 w 2412000"/>
              <a:gd name="connsiteY0" fmla="*/ 0 h 2412000"/>
              <a:gd name="connsiteX1" fmla="*/ 2412000 w 2412000"/>
              <a:gd name="connsiteY1" fmla="*/ 1206000 h 2412000"/>
              <a:gd name="connsiteX2" fmla="*/ 1206000 w 2412000"/>
              <a:gd name="connsiteY2" fmla="*/ 2412000 h 2412000"/>
              <a:gd name="connsiteX3" fmla="*/ 0 w 2412000"/>
              <a:gd name="connsiteY3" fmla="*/ 1206000 h 2412000"/>
              <a:gd name="connsiteX4" fmla="*/ 1206000 w 2412000"/>
              <a:gd name="connsiteY4" fmla="*/ 0 h 241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12000" h="2412000">
                <a:moveTo>
                  <a:pt x="1206000" y="0"/>
                </a:moveTo>
                <a:cubicBezTo>
                  <a:pt x="1872055" y="0"/>
                  <a:pt x="2412000" y="539945"/>
                  <a:pt x="2412000" y="1206000"/>
                </a:cubicBezTo>
                <a:cubicBezTo>
                  <a:pt x="2412000" y="1872055"/>
                  <a:pt x="1872055" y="2412000"/>
                  <a:pt x="1206000" y="2412000"/>
                </a:cubicBezTo>
                <a:cubicBezTo>
                  <a:pt x="539945" y="2412000"/>
                  <a:pt x="0" y="1872055"/>
                  <a:pt x="0" y="1206000"/>
                </a:cubicBezTo>
                <a:cubicBezTo>
                  <a:pt x="0" y="539945"/>
                  <a:pt x="539945" y="0"/>
                  <a:pt x="1206000" y="0"/>
                </a:cubicBezTo>
                <a:close/>
              </a:path>
            </a:pathLst>
          </a:custGeom>
        </p:spPr>
      </p:pic>
      <p:sp>
        <p:nvSpPr>
          <p:cNvPr id="5" name="Овал 4">
            <a:extLst>
              <a:ext uri="{FF2B5EF4-FFF2-40B4-BE49-F238E27FC236}">
                <a16:creationId xmlns:a16="http://schemas.microsoft.com/office/drawing/2014/main" id="{DFA411BF-58D4-4E0F-B03A-93937D38A950}"/>
              </a:ext>
            </a:extLst>
          </p:cNvPr>
          <p:cNvSpPr/>
          <p:nvPr/>
        </p:nvSpPr>
        <p:spPr>
          <a:xfrm>
            <a:off x="1183891" y="1475612"/>
            <a:ext cx="2278219" cy="2278219"/>
          </a:xfrm>
          <a:prstGeom prst="ellipse">
            <a:avLst/>
          </a:prstGeom>
          <a:noFill/>
          <a:ln w="209550">
            <a:solidFill>
              <a:srgbClr val="0078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84804EB2-9D2A-4DE4-8044-8E5450C81ED6}"/>
              </a:ext>
            </a:extLst>
          </p:cNvPr>
          <p:cNvSpPr txBox="1">
            <a:spLocks/>
          </p:cNvSpPr>
          <p:nvPr/>
        </p:nvSpPr>
        <p:spPr>
          <a:xfrm>
            <a:off x="784310" y="400536"/>
            <a:ext cx="11213316" cy="987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3200" b="1" dirty="0">
                <a:solidFill>
                  <a:srgbClr val="0078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ы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A553C25-F199-4FA5-B814-CCBAD2B6D36B}"/>
              </a:ext>
            </a:extLst>
          </p:cNvPr>
          <p:cNvSpPr/>
          <p:nvPr/>
        </p:nvSpPr>
        <p:spPr>
          <a:xfrm>
            <a:off x="-6165" y="3429000"/>
            <a:ext cx="12198165" cy="2714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931027C-E899-4C32-AA85-A1B0FD81F5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6024" y="452804"/>
            <a:ext cx="951836" cy="57110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8F511E8-8F01-4E92-817B-A5379D0A92BE}"/>
              </a:ext>
            </a:extLst>
          </p:cNvPr>
          <p:cNvSpPr txBox="1"/>
          <p:nvPr/>
        </p:nvSpPr>
        <p:spPr>
          <a:xfrm>
            <a:off x="779824" y="3635241"/>
            <a:ext cx="3508250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F21C0A"/>
              </a:buClr>
              <a:buSzPct val="100000"/>
              <a:defRPr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Шатурская ГРЭС</a:t>
            </a:r>
          </a:p>
          <a:p>
            <a:pPr>
              <a:buClr>
                <a:srgbClr val="F21C0A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осковская область, </a:t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. Шатура</a:t>
            </a:r>
          </a:p>
          <a:p>
            <a:pPr>
              <a:buClr>
                <a:srgbClr val="F21C0A"/>
              </a:buClr>
              <a:buSzPct val="100000"/>
              <a:defRPr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Вид топлива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аз, уголь, торф, мазут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ценовая зона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становленная мощность:</a:t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500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Вт</a:t>
            </a: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СУ №№ 1-6 (годы ввода: 1971-1986)</a:t>
            </a: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ГУ-400 (год ввода: 2010)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0" name="Textfeld 15">
            <a:extLst>
              <a:ext uri="{FF2B5EF4-FFF2-40B4-BE49-F238E27FC236}">
                <a16:creationId xmlns:a16="http://schemas.microsoft.com/office/drawing/2014/main" id="{F6AEA00D-6943-452E-8842-440D3BAAFA08}"/>
              </a:ext>
            </a:extLst>
          </p:cNvPr>
          <p:cNvSpPr txBox="1"/>
          <p:nvPr/>
        </p:nvSpPr>
        <p:spPr>
          <a:xfrm>
            <a:off x="4699659" y="3634298"/>
            <a:ext cx="3377589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F21C0A"/>
              </a:buClr>
              <a:buSzPct val="100000"/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Яйвинская ГРЭС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ермский край, Александровский муниципальный округ, пос. Яйва</a:t>
            </a:r>
          </a:p>
        </p:txBody>
      </p:sp>
      <p:sp>
        <p:nvSpPr>
          <p:cNvPr id="21" name="Textfeld 16">
            <a:extLst>
              <a:ext uri="{FF2B5EF4-FFF2-40B4-BE49-F238E27FC236}">
                <a16:creationId xmlns:a16="http://schemas.microsoft.com/office/drawing/2014/main" id="{692538F6-FCEC-4D2D-BC33-4634602B34D9}"/>
              </a:ext>
            </a:extLst>
          </p:cNvPr>
          <p:cNvSpPr txBox="1"/>
          <p:nvPr/>
        </p:nvSpPr>
        <p:spPr>
          <a:xfrm>
            <a:off x="8374858" y="3634298"/>
            <a:ext cx="3377588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F21C0A"/>
              </a:buClr>
              <a:buSzPct val="100000"/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моленская ГРЭС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моленская область, Духовщинский район, пос. Озерный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BF5815-C9CC-442A-8931-C6F3E40FFAD6}"/>
              </a:ext>
            </a:extLst>
          </p:cNvPr>
          <p:cNvSpPr txBox="1"/>
          <p:nvPr/>
        </p:nvSpPr>
        <p:spPr>
          <a:xfrm>
            <a:off x="4699659" y="4616168"/>
            <a:ext cx="350825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Вид топлива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аз, уголь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ценовая зона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становленная мощность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48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Вт</a:t>
            </a: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СУ №№ 1-4 (годы ввода: 1963-1965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ГУ-400 (год ввода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011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9BFC05-EDC8-494A-A3E9-57B20C59E419}"/>
              </a:ext>
            </a:extLst>
          </p:cNvPr>
          <p:cNvSpPr txBox="1"/>
          <p:nvPr/>
        </p:nvSpPr>
        <p:spPr>
          <a:xfrm>
            <a:off x="8374858" y="4613181"/>
            <a:ext cx="371308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100000"/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Вид топлива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аз, уголь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ценовая зона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становленная мощность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630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Вт</a:t>
            </a:r>
          </a:p>
          <a:p>
            <a:pPr>
              <a:buClr>
                <a:srgbClr val="0070C0"/>
              </a:buClr>
              <a:buSzPct val="100000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СУ №№ 1-3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годы ввода:1978-1985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7" name="Параллелограмм 9">
            <a:extLst>
              <a:ext uri="{FF2B5EF4-FFF2-40B4-BE49-F238E27FC236}">
                <a16:creationId xmlns:a16="http://schemas.microsoft.com/office/drawing/2014/main" id="{0B9C77A3-17C0-4F93-B7C9-C48B2D9D3C2E}"/>
              </a:ext>
            </a:extLst>
          </p:cNvPr>
          <p:cNvSpPr/>
          <p:nvPr/>
        </p:nvSpPr>
        <p:spPr>
          <a:xfrm>
            <a:off x="-240628" y="3409573"/>
            <a:ext cx="12540915" cy="54521"/>
          </a:xfrm>
          <a:custGeom>
            <a:avLst/>
            <a:gdLst>
              <a:gd name="connsiteX0" fmla="*/ 0 w 3868380"/>
              <a:gd name="connsiteY0" fmla="*/ 74429 h 74429"/>
              <a:gd name="connsiteX1" fmla="*/ 18607 w 3868380"/>
              <a:gd name="connsiteY1" fmla="*/ 0 h 74429"/>
              <a:gd name="connsiteX2" fmla="*/ 3868380 w 3868380"/>
              <a:gd name="connsiteY2" fmla="*/ 0 h 74429"/>
              <a:gd name="connsiteX3" fmla="*/ 3849773 w 3868380"/>
              <a:gd name="connsiteY3" fmla="*/ 74429 h 74429"/>
              <a:gd name="connsiteX4" fmla="*/ 0 w 3868380"/>
              <a:gd name="connsiteY4" fmla="*/ 74429 h 74429"/>
              <a:gd name="connsiteX0" fmla="*/ 27454 w 3849773"/>
              <a:gd name="connsiteY0" fmla="*/ 93193 h 93193"/>
              <a:gd name="connsiteX1" fmla="*/ 0 w 3849773"/>
              <a:gd name="connsiteY1" fmla="*/ 0 h 93193"/>
              <a:gd name="connsiteX2" fmla="*/ 3849773 w 3849773"/>
              <a:gd name="connsiteY2" fmla="*/ 0 h 93193"/>
              <a:gd name="connsiteX3" fmla="*/ 3831166 w 3849773"/>
              <a:gd name="connsiteY3" fmla="*/ 74429 h 93193"/>
              <a:gd name="connsiteX4" fmla="*/ 27454 w 3849773"/>
              <a:gd name="connsiteY4" fmla="*/ 93193 h 93193"/>
              <a:gd name="connsiteX0" fmla="*/ 32084 w 3849773"/>
              <a:gd name="connsiteY0" fmla="*/ 91243 h 91243"/>
              <a:gd name="connsiteX1" fmla="*/ 0 w 3849773"/>
              <a:gd name="connsiteY1" fmla="*/ 0 h 91243"/>
              <a:gd name="connsiteX2" fmla="*/ 3849773 w 3849773"/>
              <a:gd name="connsiteY2" fmla="*/ 0 h 91243"/>
              <a:gd name="connsiteX3" fmla="*/ 3831166 w 3849773"/>
              <a:gd name="connsiteY3" fmla="*/ 74429 h 91243"/>
              <a:gd name="connsiteX4" fmla="*/ 32084 w 3849773"/>
              <a:gd name="connsiteY4" fmla="*/ 91243 h 91243"/>
              <a:gd name="connsiteX0" fmla="*/ 45976 w 3849773"/>
              <a:gd name="connsiteY0" fmla="*/ 85393 h 85393"/>
              <a:gd name="connsiteX1" fmla="*/ 0 w 3849773"/>
              <a:gd name="connsiteY1" fmla="*/ 0 h 85393"/>
              <a:gd name="connsiteX2" fmla="*/ 3849773 w 3849773"/>
              <a:gd name="connsiteY2" fmla="*/ 0 h 85393"/>
              <a:gd name="connsiteX3" fmla="*/ 3831166 w 3849773"/>
              <a:gd name="connsiteY3" fmla="*/ 74429 h 85393"/>
              <a:gd name="connsiteX4" fmla="*/ 45976 w 3849773"/>
              <a:gd name="connsiteY4" fmla="*/ 85393 h 85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9773" h="85393">
                <a:moveTo>
                  <a:pt x="45976" y="85393"/>
                </a:moveTo>
                <a:lnTo>
                  <a:pt x="0" y="0"/>
                </a:lnTo>
                <a:lnTo>
                  <a:pt x="3849773" y="0"/>
                </a:lnTo>
                <a:lnTo>
                  <a:pt x="3831166" y="74429"/>
                </a:lnTo>
                <a:lnTo>
                  <a:pt x="45976" y="85393"/>
                </a:lnTo>
                <a:close/>
              </a:path>
            </a:pathLst>
          </a:cu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2402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8B39E677-6BBE-4B6F-A0DB-A83687480357}"/>
              </a:ext>
            </a:extLst>
          </p:cNvPr>
          <p:cNvCxnSpPr>
            <a:cxnSpLocks/>
          </p:cNvCxnSpPr>
          <p:nvPr/>
        </p:nvCxnSpPr>
        <p:spPr>
          <a:xfrm flipV="1">
            <a:off x="3677701" y="3975856"/>
            <a:ext cx="2604112" cy="12564"/>
          </a:xfrm>
          <a:prstGeom prst="line">
            <a:avLst/>
          </a:prstGeom>
          <a:ln w="28575">
            <a:solidFill>
              <a:srgbClr val="0078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711683A1-0A0E-4387-90DF-121C3A66AC21}"/>
              </a:ext>
            </a:extLst>
          </p:cNvPr>
          <p:cNvCxnSpPr>
            <a:cxnSpLocks/>
          </p:cNvCxnSpPr>
          <p:nvPr/>
        </p:nvCxnSpPr>
        <p:spPr>
          <a:xfrm>
            <a:off x="6416952" y="2057130"/>
            <a:ext cx="4924338" cy="0"/>
          </a:xfrm>
          <a:prstGeom prst="line">
            <a:avLst/>
          </a:prstGeom>
          <a:ln w="28575">
            <a:solidFill>
              <a:srgbClr val="0078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Understanding the future">
            <a:extLst>
              <a:ext uri="{FF2B5EF4-FFF2-40B4-BE49-F238E27FC236}">
                <a16:creationId xmlns:a16="http://schemas.microsoft.com/office/drawing/2014/main" id="{832C793A-ABA4-4793-A189-A59D074C082D}"/>
              </a:ext>
            </a:extLst>
          </p:cNvPr>
          <p:cNvSpPr txBox="1"/>
          <p:nvPr/>
        </p:nvSpPr>
        <p:spPr>
          <a:xfrm>
            <a:off x="884195" y="2415447"/>
            <a:ext cx="10562002" cy="58172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3729" tIns="13729" rIns="13729" bIns="13729">
            <a:spAutoFit/>
          </a:bodyPr>
          <a:lstStyle>
            <a:lvl1pPr defTabSz="2438400">
              <a:lnSpc>
                <a:spcPct val="80000"/>
              </a:lnSpc>
              <a:defRPr sz="10800">
                <a:solidFill>
                  <a:srgbClr val="FFFFFF"/>
                </a:solidFill>
                <a:latin typeface="DIN Next LT Pro Regular"/>
                <a:ea typeface="DIN Next LT Pro Regular"/>
                <a:cs typeface="DIN Next LT Pro Regular"/>
                <a:sym typeface="DIN Next LT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правление действующими мощностями </a:t>
            </a:r>
            <a:b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пяти субъектах Российской Федерации</a:t>
            </a:r>
            <a:endParaRPr lang="en-GB" sz="1800" dirty="0">
              <a:solidFill>
                <a:srgbClr val="5E5E5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Implementing our strategy">
            <a:extLst>
              <a:ext uri="{FF2B5EF4-FFF2-40B4-BE49-F238E27FC236}">
                <a16:creationId xmlns:a16="http://schemas.microsoft.com/office/drawing/2014/main" id="{3B3090DF-5A69-4005-8EE2-CED7909B0CE8}"/>
              </a:ext>
            </a:extLst>
          </p:cNvPr>
          <p:cNvSpPr txBox="1"/>
          <p:nvPr/>
        </p:nvSpPr>
        <p:spPr>
          <a:xfrm>
            <a:off x="3677701" y="4389072"/>
            <a:ext cx="9848676" cy="141272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3729" tIns="13729" rIns="13729" bIns="13729">
            <a:spAutoFit/>
          </a:bodyPr>
          <a:lstStyle>
            <a:lvl1pPr defTabSz="2438400">
              <a:lnSpc>
                <a:spcPct val="80000"/>
              </a:lnSpc>
              <a:defRPr sz="10800">
                <a:solidFill>
                  <a:srgbClr val="FFFFFF"/>
                </a:solidFill>
                <a:latin typeface="DIN Next LT Pro Regular"/>
                <a:ea typeface="DIN Next LT Pro Regular"/>
                <a:cs typeface="DIN Next LT Pro Regular"/>
                <a:sym typeface="DIN Next LT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своим клиентам </a:t>
            </a:r>
            <a:b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х решений </a:t>
            </a:r>
            <a:b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ласти распределенной генерации </a:t>
            </a:r>
            <a:b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тем нового строительства или модернизации </a:t>
            </a:r>
          </a:p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ществующих энергетических мощностей </a:t>
            </a:r>
            <a:endParaRPr lang="de-DE" sz="18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1ED446B7-D267-41FA-9730-2FAAB4867220}"/>
              </a:ext>
            </a:extLst>
          </p:cNvPr>
          <p:cNvSpPr txBox="1">
            <a:spLocks/>
          </p:cNvSpPr>
          <p:nvPr/>
        </p:nvSpPr>
        <p:spPr>
          <a:xfrm>
            <a:off x="419685" y="415824"/>
            <a:ext cx="11219749" cy="4741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75557420-8C53-4351-81AA-6C2FE5F0DAF4}"/>
              </a:ext>
            </a:extLst>
          </p:cNvPr>
          <p:cNvCxnSpPr>
            <a:cxnSpLocks/>
          </p:cNvCxnSpPr>
          <p:nvPr/>
        </p:nvCxnSpPr>
        <p:spPr>
          <a:xfrm>
            <a:off x="874713" y="2082565"/>
            <a:ext cx="4924338" cy="0"/>
          </a:xfrm>
          <a:prstGeom prst="line">
            <a:avLst/>
          </a:prstGeom>
          <a:ln w="28575">
            <a:solidFill>
              <a:srgbClr val="0078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50B5A0CA-0740-43BF-8B2C-5546766915FF}"/>
              </a:ext>
            </a:extLst>
          </p:cNvPr>
          <p:cNvCxnSpPr>
            <a:cxnSpLocks/>
          </p:cNvCxnSpPr>
          <p:nvPr/>
        </p:nvCxnSpPr>
        <p:spPr>
          <a:xfrm flipV="1">
            <a:off x="7165075" y="3988420"/>
            <a:ext cx="4162567" cy="212"/>
          </a:xfrm>
          <a:prstGeom prst="line">
            <a:avLst/>
          </a:prstGeom>
          <a:ln w="28575">
            <a:solidFill>
              <a:srgbClr val="0078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E12EAEBA-3512-43B4-939A-3294442F4E82}"/>
              </a:ext>
            </a:extLst>
          </p:cNvPr>
          <p:cNvCxnSpPr>
            <a:cxnSpLocks/>
          </p:cNvCxnSpPr>
          <p:nvPr/>
        </p:nvCxnSpPr>
        <p:spPr>
          <a:xfrm flipV="1">
            <a:off x="11327642" y="2055269"/>
            <a:ext cx="0" cy="1933363"/>
          </a:xfrm>
          <a:prstGeom prst="line">
            <a:avLst/>
          </a:prstGeom>
          <a:ln w="28575">
            <a:solidFill>
              <a:srgbClr val="0078D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631F3773-EEC5-437D-83F1-736E8038FE1A}"/>
              </a:ext>
            </a:extLst>
          </p:cNvPr>
          <p:cNvSpPr/>
          <p:nvPr/>
        </p:nvSpPr>
        <p:spPr>
          <a:xfrm>
            <a:off x="874713" y="1850379"/>
            <a:ext cx="3096786" cy="470922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B98CC1E-5765-4ADF-AA57-3509D5842208}"/>
              </a:ext>
            </a:extLst>
          </p:cNvPr>
          <p:cNvSpPr txBox="1"/>
          <p:nvPr/>
        </p:nvSpPr>
        <p:spPr>
          <a:xfrm>
            <a:off x="1048663" y="1908085"/>
            <a:ext cx="27488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ГЕНЕРАЦИЯ ЭНЕРГИИ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716156E8-21A3-42AB-8CBE-921A9658A88A}"/>
              </a:ext>
            </a:extLst>
          </p:cNvPr>
          <p:cNvSpPr/>
          <p:nvPr/>
        </p:nvSpPr>
        <p:spPr>
          <a:xfrm>
            <a:off x="6201505" y="1850379"/>
            <a:ext cx="3096786" cy="470922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2D69F45-6A4A-4939-BDD8-404F59D45FA4}"/>
              </a:ext>
            </a:extLst>
          </p:cNvPr>
          <p:cNvSpPr txBox="1"/>
          <p:nvPr/>
        </p:nvSpPr>
        <p:spPr>
          <a:xfrm>
            <a:off x="6860894" y="1908085"/>
            <a:ext cx="27488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НЖИНИРИНГ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AFE0A5E8-D572-4D96-83D1-9098C3475F85}"/>
              </a:ext>
            </a:extLst>
          </p:cNvPr>
          <p:cNvSpPr/>
          <p:nvPr/>
        </p:nvSpPr>
        <p:spPr>
          <a:xfrm>
            <a:off x="3526880" y="3778703"/>
            <a:ext cx="4765978" cy="470922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589877-A4FE-4430-A549-4E56F010C7A5}"/>
              </a:ext>
            </a:extLst>
          </p:cNvPr>
          <p:cNvSpPr txBox="1"/>
          <p:nvPr/>
        </p:nvSpPr>
        <p:spPr>
          <a:xfrm>
            <a:off x="3691348" y="3836409"/>
            <a:ext cx="46579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АСПРЕДЕЛЕННАЯ ГЕНЕРАЦИЯ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DD2C8E2-1F0B-4FD9-910D-B9A71B8CAB79}"/>
              </a:ext>
            </a:extLst>
          </p:cNvPr>
          <p:cNvSpPr/>
          <p:nvPr/>
        </p:nvSpPr>
        <p:spPr>
          <a:xfrm>
            <a:off x="424997" y="1612697"/>
            <a:ext cx="73120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DIN Next W1G Black" panose="020B0A03020203050203" pitchFamily="34" charset="0"/>
                <a:cs typeface="Arial" panose="020B0604020202020204" pitchFamily="34" charset="0"/>
              </a:rPr>
              <a:t>1</a:t>
            </a:r>
            <a:endParaRPr lang="ru-RU" sz="5400" dirty="0">
              <a:solidFill>
                <a:schemeClr val="tx1">
                  <a:lumMod val="85000"/>
                  <a:lumOff val="15000"/>
                </a:schemeClr>
              </a:solidFill>
              <a:latin typeface="DIN Next W1G Black" panose="020B0A03020203050203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293192E9-A709-4DF6-84E3-659E28AED60E}"/>
              </a:ext>
            </a:extLst>
          </p:cNvPr>
          <p:cNvSpPr/>
          <p:nvPr/>
        </p:nvSpPr>
        <p:spPr>
          <a:xfrm>
            <a:off x="5694355" y="1612697"/>
            <a:ext cx="7312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DIN Next W1G Black" panose="020B0A03020203050203" pitchFamily="34" charset="0"/>
                <a:cs typeface="Arial" panose="020B0604020202020204" pitchFamily="34" charset="0"/>
              </a:rPr>
              <a:t>2</a:t>
            </a:r>
            <a:endParaRPr lang="ru-RU" sz="5400" dirty="0">
              <a:solidFill>
                <a:schemeClr val="tx1">
                  <a:lumMod val="85000"/>
                  <a:lumOff val="15000"/>
                </a:schemeClr>
              </a:solidFill>
              <a:latin typeface="DIN Next W1G Black" panose="020B0A03020203050203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B39D5AEA-532C-44E4-BF66-246591D1CE62}"/>
              </a:ext>
            </a:extLst>
          </p:cNvPr>
          <p:cNvSpPr/>
          <p:nvPr/>
        </p:nvSpPr>
        <p:spPr>
          <a:xfrm>
            <a:off x="2999313" y="3559410"/>
            <a:ext cx="7312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DIN Next W1G Black" panose="020B0A03020203050203" pitchFamily="34" charset="0"/>
                <a:cs typeface="Arial" panose="020B0604020202020204" pitchFamily="34" charset="0"/>
              </a:rPr>
              <a:t>3</a:t>
            </a:r>
            <a:endParaRPr lang="ru-RU" sz="5400" dirty="0">
              <a:solidFill>
                <a:schemeClr val="tx1">
                  <a:lumMod val="85000"/>
                  <a:lumOff val="15000"/>
                </a:schemeClr>
              </a:solidFill>
              <a:latin typeface="DIN Next W1G Black" panose="020B0A03020203050203" pitchFamily="34" charset="0"/>
              <a:cs typeface="Arial" panose="020B0604020202020204" pitchFamily="34" charset="0"/>
            </a:endParaRP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447F8C58-C421-4A68-823C-D803EF39F16D}"/>
              </a:ext>
            </a:extLst>
          </p:cNvPr>
          <p:cNvCxnSpPr>
            <a:stCxn id="39" idx="2"/>
          </p:cNvCxnSpPr>
          <p:nvPr/>
        </p:nvCxnSpPr>
        <p:spPr>
          <a:xfrm>
            <a:off x="2423106" y="2321301"/>
            <a:ext cx="1548393" cy="0"/>
          </a:xfrm>
          <a:prstGeom prst="line">
            <a:avLst/>
          </a:prstGeom>
          <a:ln w="57150">
            <a:solidFill>
              <a:srgbClr val="0094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F995299E-643C-432C-9E19-E7F5DCCD88F7}"/>
              </a:ext>
            </a:extLst>
          </p:cNvPr>
          <p:cNvCxnSpPr/>
          <p:nvPr/>
        </p:nvCxnSpPr>
        <p:spPr>
          <a:xfrm>
            <a:off x="7749898" y="2321301"/>
            <a:ext cx="1548393" cy="0"/>
          </a:xfrm>
          <a:prstGeom prst="line">
            <a:avLst/>
          </a:prstGeom>
          <a:ln w="57150">
            <a:solidFill>
              <a:srgbClr val="0094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C1E8F113-AAD5-43F3-978D-AAE7FDB0B136}"/>
              </a:ext>
            </a:extLst>
          </p:cNvPr>
          <p:cNvCxnSpPr/>
          <p:nvPr/>
        </p:nvCxnSpPr>
        <p:spPr>
          <a:xfrm>
            <a:off x="6744465" y="4249625"/>
            <a:ext cx="1548393" cy="0"/>
          </a:xfrm>
          <a:prstGeom prst="line">
            <a:avLst/>
          </a:prstGeom>
          <a:ln w="57150">
            <a:solidFill>
              <a:srgbClr val="0094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3A879FB9-D1FF-4C47-BEA5-7A3D4241C48A}"/>
              </a:ext>
            </a:extLst>
          </p:cNvPr>
          <p:cNvSpPr/>
          <p:nvPr/>
        </p:nvSpPr>
        <p:spPr>
          <a:xfrm>
            <a:off x="11734578" y="6400578"/>
            <a:ext cx="339438" cy="339438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85" name="Текст 1">
            <a:extLst>
              <a:ext uri="{FF2B5EF4-FFF2-40B4-BE49-F238E27FC236}">
                <a16:creationId xmlns:a16="http://schemas.microsoft.com/office/drawing/2014/main" id="{9B59E290-C772-4A4A-BD85-82ACEA62F4AD}"/>
              </a:ext>
            </a:extLst>
          </p:cNvPr>
          <p:cNvSpPr txBox="1">
            <a:spLocks/>
          </p:cNvSpPr>
          <p:nvPr/>
        </p:nvSpPr>
        <p:spPr>
          <a:xfrm>
            <a:off x="784310" y="400536"/>
            <a:ext cx="11213316" cy="9874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800" b="1" dirty="0">
                <a:solidFill>
                  <a:srgbClr val="0078DC"/>
                </a:solidFill>
                <a:latin typeface="+mj-lt"/>
              </a:rPr>
              <a:t>Приоритетные направления деятельности</a:t>
            </a:r>
          </a:p>
        </p:txBody>
      </p:sp>
      <p:sp>
        <p:nvSpPr>
          <p:cNvPr id="86" name="Leading…">
            <a:extLst>
              <a:ext uri="{FF2B5EF4-FFF2-40B4-BE49-F238E27FC236}">
                <a16:creationId xmlns:a16="http://schemas.microsoft.com/office/drawing/2014/main" id="{AA244B11-43EB-4DFE-9D33-33AE5F588CA1}"/>
              </a:ext>
            </a:extLst>
          </p:cNvPr>
          <p:cNvSpPr txBox="1"/>
          <p:nvPr/>
        </p:nvSpPr>
        <p:spPr>
          <a:xfrm>
            <a:off x="6291632" y="2411344"/>
            <a:ext cx="10117697" cy="30472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3729" tIns="13729" rIns="13729" bIns="13729">
            <a:spAutoFit/>
          </a:bodyPr>
          <a:lstStyle/>
          <a:p>
            <a:r>
              <a:rPr lang="ru-RU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внутренних проектов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0F93A57-E1B5-402A-B053-96F8123770FF}"/>
              </a:ext>
            </a:extLst>
          </p:cNvPr>
          <p:cNvSpPr txBox="1"/>
          <p:nvPr/>
        </p:nvSpPr>
        <p:spPr>
          <a:xfrm>
            <a:off x="6183682" y="2750835"/>
            <a:ext cx="52608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и реконструкция </a:t>
            </a:r>
          </a:p>
          <a:p>
            <a:r>
              <a:rPr lang="ru-RU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ов генерации для внешних клиентов</a:t>
            </a:r>
            <a:endParaRPr lang="de-DE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2377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2">
            <a:extLst>
              <a:ext uri="{FF2B5EF4-FFF2-40B4-BE49-F238E27FC236}">
                <a16:creationId xmlns:a16="http://schemas.microsoft.com/office/drawing/2014/main" id="{9E30502E-E4D9-4D62-9C03-1AF46D0BDCD5}"/>
              </a:ext>
            </a:extLst>
          </p:cNvPr>
          <p:cNvSpPr txBox="1">
            <a:spLocks/>
          </p:cNvSpPr>
          <p:nvPr/>
        </p:nvSpPr>
        <p:spPr>
          <a:xfrm>
            <a:off x="691621" y="6200729"/>
            <a:ext cx="7344000" cy="288000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ABD382AC-66E8-4D99-AF6E-9AE095381AB8}"/>
              </a:ext>
            </a:extLst>
          </p:cNvPr>
          <p:cNvSpPr txBox="1">
            <a:spLocks/>
          </p:cNvSpPr>
          <p:nvPr/>
        </p:nvSpPr>
        <p:spPr>
          <a:xfrm>
            <a:off x="400222" y="716476"/>
            <a:ext cx="11791778" cy="9001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пендиальная программа  для студентов </a:t>
            </a:r>
            <a:br>
              <a:rPr lang="ru-RU" sz="3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4 курсов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3283626-C730-4918-89DD-2FF9951BD8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858" y="1866507"/>
            <a:ext cx="7093431" cy="47194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255059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_Юнипро 1">
  <a:themeElements>
    <a:clrScheme name="Юнипро для пресс-службы">
      <a:dk1>
        <a:srgbClr val="0078DC"/>
      </a:dk1>
      <a:lt1>
        <a:srgbClr val="FFFFFF"/>
      </a:lt1>
      <a:dk2>
        <a:srgbClr val="0078DC"/>
      </a:dk2>
      <a:lt2>
        <a:srgbClr val="FFFFFF"/>
      </a:lt2>
      <a:accent1>
        <a:srgbClr val="FF87BB"/>
      </a:accent1>
      <a:accent2>
        <a:srgbClr val="E6252E"/>
      </a:accent2>
      <a:accent3>
        <a:srgbClr val="00944A"/>
      </a:accent3>
      <a:accent4>
        <a:srgbClr val="ED8C1C"/>
      </a:accent4>
      <a:accent5>
        <a:srgbClr val="876C59"/>
      </a:accent5>
      <a:accent6>
        <a:srgbClr val="70AD47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Юнипро-белый" id="{87BE7EC7-D91E-4347-983F-58EAD57A7883}" vid="{8595E0D5-905F-4EEE-BA1E-C005CC42D338}"/>
    </a:ext>
  </a:extLst>
</a:theme>
</file>

<file path=ppt/theme/theme2.xml><?xml version="1.0" encoding="utf-8"?>
<a:theme xmlns:a="http://schemas.openxmlformats.org/drawingml/2006/main" name="Тема_Юнипро2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Юнипро" id="{74C704B5-6C73-4428-A591-FF90587E153E}" vid="{BD4F8E63-5AF2-4643-BF5D-E442836B90E6}"/>
    </a:ext>
  </a:extLst>
</a:theme>
</file>

<file path=ppt/theme/theme3.xml><?xml version="1.0" encoding="utf-8"?>
<a:theme xmlns:a="http://schemas.openxmlformats.org/drawingml/2006/main" name="1_Тема_Юнипро2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Юнипро" id="{74C704B5-6C73-4428-A591-FF90587E153E}" vid="{BD4F8E63-5AF2-4643-BF5D-E442836B90E6}"/>
    </a:ext>
  </a:extLst>
</a:theme>
</file>

<file path=ppt/theme/theme4.xml><?xml version="1.0" encoding="utf-8"?>
<a:theme xmlns:a="http://schemas.openxmlformats.org/drawingml/2006/main" name="2_Тема_Юнипро2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Юнипро" id="{74C704B5-6C73-4428-A591-FF90587E153E}" vid="{BD4F8E63-5AF2-4643-BF5D-E442836B90E6}"/>
    </a:ext>
  </a:extLst>
</a:theme>
</file>

<file path=ppt/theme/theme5.xml><?xml version="1.0" encoding="utf-8"?>
<a:theme xmlns:a="http://schemas.openxmlformats.org/drawingml/2006/main" name="2_Тема_Юнипро 1">
  <a:themeElements>
    <a:clrScheme name="Другая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70C0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Юнипро-белый" id="{87BE7EC7-D91E-4347-983F-58EAD57A7883}" vid="{8595E0D5-905F-4EEE-BA1E-C005CC42D338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BCC7AD77EDF7A4ABE8B3E69BF61B472" ma:contentTypeVersion="1" ma:contentTypeDescription="Создание документа." ma:contentTypeScope="" ma:versionID="cf0c2d81e384d1c32a930a2f17fbacfd">
  <xsd:schema xmlns:xsd="http://www.w3.org/2001/XMLSchema" xmlns:xs="http://www.w3.org/2001/XMLSchema" xmlns:p="http://schemas.microsoft.com/office/2006/metadata/properties" xmlns:ns2="cbea586f-808d-4923-ab69-236e03963137" targetNamespace="http://schemas.microsoft.com/office/2006/metadata/properties" ma:root="true" ma:fieldsID="91082bc41b0816a20593e4920aae46fe" ns2:_="">
    <xsd:import namespace="cbea586f-808d-4923-ab69-236e03963137"/>
    <xsd:element name="properties">
      <xsd:complexType>
        <xsd:sequence>
          <xsd:element name="documentManagement">
            <xsd:complexType>
              <xsd:all>
                <xsd:element ref="ns2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ea586f-808d-4923-ab69-236e0396313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8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e__x043f__x0438__x0441__x0430__x043d__x0438__x0435_ xmlns="cbea586f-808d-4923-ab69-236e03963137">Новый шаблон для подготовки презентаций в корпоративном стиле ПАО "Юнипро"</_x041e__x043f__x0438__x0441__x0430__x043d__x0438__x0435_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33B045-2B53-49F0-A096-BCB63591F7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ea586f-808d-4923-ab69-236e039631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11EEDDA-0881-46B7-8BAA-6EB794FC17E1}">
  <ds:schemaRefs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cbea586f-808d-4923-ab69-236e03963137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9DC9BEA-04BF-4EA7-B4E9-BDC95C00CB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Юнипро-синий</Template>
  <TotalTime>24140</TotalTime>
  <Words>952</Words>
  <Application>Microsoft Office PowerPoint</Application>
  <PresentationFormat>Широкоэкранный</PresentationFormat>
  <Paragraphs>246</Paragraphs>
  <Slides>2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3" baseType="lpstr">
      <vt:lpstr>Arial</vt:lpstr>
      <vt:lpstr>Arial Black</vt:lpstr>
      <vt:lpstr>Calibri</vt:lpstr>
      <vt:lpstr>DIN Next LT Pro Regular</vt:lpstr>
      <vt:lpstr>DIN Next W1G Black</vt:lpstr>
      <vt:lpstr>YS Text</vt:lpstr>
      <vt:lpstr>Тема_Юнипро 1</vt:lpstr>
      <vt:lpstr>Тема_Юнипро2</vt:lpstr>
      <vt:lpstr>1_Тема_Юнипро2</vt:lpstr>
      <vt:lpstr>2_Тема_Юнипро2</vt:lpstr>
      <vt:lpstr>2_Тема_Юнипро 1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ON Russ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льшакова Мария Игоревна</dc:creator>
  <cp:lastModifiedBy>User</cp:lastModifiedBy>
  <cp:revision>435</cp:revision>
  <cp:lastPrinted>2016-06-28T16:14:08Z</cp:lastPrinted>
  <dcterms:created xsi:type="dcterms:W3CDTF">2016-06-28T09:26:12Z</dcterms:created>
  <dcterms:modified xsi:type="dcterms:W3CDTF">2023-11-21T13:5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CC7AD77EDF7A4ABE8B3E69BF61B472</vt:lpwstr>
  </property>
</Properties>
</file>